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4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5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heme/theme6.xml" ContentType="application/vnd.openxmlformats-officedocument.them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7.xml" ContentType="application/vnd.openxmlformats-officedocument.them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theme/theme8.xml" ContentType="application/vnd.openxmlformats-officedocument.them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theme/theme9.xml" ContentType="application/vnd.openxmlformats-officedocument.them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theme/theme10.xml" ContentType="application/vnd.openxmlformats-officedocument.them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theme/theme11.xml" ContentType="application/vnd.openxmlformats-officedocument.them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theme/theme12.xml" ContentType="application/vnd.openxmlformats-officedocument.them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theme/theme13.xml" ContentType="application/vnd.openxmlformats-officedocument.theme+xml"/>
  <Override PartName="/ppt/tags/tag71.xml" ContentType="application/vnd.openxmlformats-officedocument.presentationml.tags+xml"/>
  <Override PartName="/ppt/theme/theme14.xml" ContentType="application/vnd.openxmlformats-officedocument.theme+xml"/>
  <Override PartName="/ppt/theme/theme15.xml" ContentType="application/vnd.openxmlformats-officedocument.theme+xml"/>
  <Override PartName="/ppt/tags/tag72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changesInfos/changesInfo1.xml" ContentType="application/vnd.ms-powerpoint.changesinfo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0" r:id="rId4"/>
    <p:sldMasterId id="2147484808" r:id="rId5"/>
    <p:sldMasterId id="2147484815" r:id="rId6"/>
    <p:sldMasterId id="2147484821" r:id="rId7"/>
    <p:sldMasterId id="2147484827" r:id="rId8"/>
    <p:sldMasterId id="2147484862" r:id="rId9"/>
    <p:sldMasterId id="2147484890" r:id="rId10"/>
    <p:sldMasterId id="2147484897" r:id="rId11"/>
    <p:sldMasterId id="2147484927" r:id="rId12"/>
    <p:sldMasterId id="2147484941" r:id="rId13"/>
    <p:sldMasterId id="2147484954" r:id="rId14"/>
    <p:sldMasterId id="2147484960" r:id="rId15"/>
    <p:sldMasterId id="2147484974" r:id="rId16"/>
  </p:sldMasterIdLst>
  <p:notesMasterIdLst>
    <p:notesMasterId r:id="rId26"/>
  </p:notesMasterIdLst>
  <p:handoutMasterIdLst>
    <p:handoutMasterId r:id="rId27"/>
  </p:handoutMasterIdLst>
  <p:sldIdLst>
    <p:sldId id="1782" r:id="rId17"/>
    <p:sldId id="2147473923" r:id="rId18"/>
    <p:sldId id="2147473924" r:id="rId19"/>
    <p:sldId id="2147473892" r:id="rId20"/>
    <p:sldId id="2147473933" r:id="rId21"/>
    <p:sldId id="2147473934" r:id="rId22"/>
    <p:sldId id="2147473935" r:id="rId23"/>
    <p:sldId id="2147473937" r:id="rId24"/>
    <p:sldId id="2147473936" r:id="rId25"/>
  </p:sldIdLst>
  <p:sldSz cx="14652625" cy="8243888"/>
  <p:notesSz cx="6865938" cy="9998075"/>
  <p:custDataLst>
    <p:tags r:id="rId28"/>
  </p:custDataLst>
  <p:defaultTextStyle>
    <a:defPPr>
      <a:defRPr lang="nl-NL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59297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1185939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778909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2371878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964847" algn="l" defTabSz="1185939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3557818" algn="l" defTabSz="1185939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4150788" algn="l" defTabSz="1185939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4743757" algn="l" defTabSz="1185939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4814" userDrawn="1">
          <p15:clr>
            <a:srgbClr val="A4A3A4"/>
          </p15:clr>
        </p15:guide>
        <p15:guide id="2" orient="horz" pos="1581" userDrawn="1">
          <p15:clr>
            <a:srgbClr val="A4A3A4"/>
          </p15:clr>
        </p15:guide>
        <p15:guide id="3" orient="horz" pos="1857" userDrawn="1">
          <p15:clr>
            <a:srgbClr val="A4A3A4"/>
          </p15:clr>
        </p15:guide>
        <p15:guide id="4" pos="8974" userDrawn="1">
          <p15:clr>
            <a:srgbClr val="A4A3A4"/>
          </p15:clr>
        </p15:guide>
        <p15:guide id="5" pos="4508" userDrawn="1">
          <p15:clr>
            <a:srgbClr val="A4A3A4"/>
          </p15:clr>
        </p15:guide>
        <p15:guide id="6" pos="408" userDrawn="1">
          <p15:clr>
            <a:srgbClr val="A4A3A4"/>
          </p15:clr>
        </p15:guide>
        <p15:guide id="7" pos="4723" userDrawn="1">
          <p15:clr>
            <a:srgbClr val="A4A3A4"/>
          </p15:clr>
        </p15:guide>
        <p15:guide id="8" pos="3284" userDrawn="1">
          <p15:clr>
            <a:srgbClr val="A4A3A4"/>
          </p15:clr>
        </p15:guide>
        <p15:guide id="9" pos="5944" userDrawn="1">
          <p15:clr>
            <a:srgbClr val="A4A3A4"/>
          </p15:clr>
        </p15:guide>
        <p15:guide id="10" pos="3066" userDrawn="1">
          <p15:clr>
            <a:srgbClr val="A4A3A4"/>
          </p15:clr>
        </p15:guide>
        <p15:guide id="11" pos="6165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dhulika Sharma" initials="MS" lastIdx="1" clrIdx="0">
    <p:extLst>
      <p:ext uri="{19B8F6BF-5375-455C-9EA6-DF929625EA0E}">
        <p15:presenceInfo xmlns:p15="http://schemas.microsoft.com/office/powerpoint/2012/main" userId="S::127816@tatasteel.com::38f18ab1-fb77-41be-8276-93d965e74c67" providerId="AD"/>
      </p:ext>
    </p:extLst>
  </p:cmAuthor>
  <p:cmAuthor id="2" name="Sanjiv Paul" initials="SP" lastIdx="2" clrIdx="1">
    <p:extLst>
      <p:ext uri="{19B8F6BF-5375-455C-9EA6-DF929625EA0E}">
        <p15:presenceInfo xmlns:p15="http://schemas.microsoft.com/office/powerpoint/2012/main" userId="Sanjiv Paul" providerId="None"/>
      </p:ext>
    </p:extLst>
  </p:cmAuthor>
  <p:cmAuthor id="3" name="Deepanwita Tripathy" initials="DT" lastIdx="1" clrIdx="2">
    <p:extLst>
      <p:ext uri="{19B8F6BF-5375-455C-9EA6-DF929625EA0E}">
        <p15:presenceInfo xmlns:p15="http://schemas.microsoft.com/office/powerpoint/2012/main" userId="S::197385@tatasteel.com::30ecb486-5106-4704-99c5-99fac48b3cd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CC"/>
    <a:srgbClr val="FFFF00"/>
    <a:srgbClr val="002B45"/>
    <a:srgbClr val="007770"/>
    <a:srgbClr val="FFFF99"/>
    <a:srgbClr val="E46C0A"/>
    <a:srgbClr val="FFFF66"/>
    <a:srgbClr val="0D7133"/>
    <a:srgbClr val="17672E"/>
    <a:srgbClr val="00002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4B26358-A613-4063-B917-BE27112D647B}" v="14" dt="2022-11-08T10:35:34.696"/>
  </p1510:revLst>
</p1510:revInfo>
</file>

<file path=ppt/tableStyles.xml><?xml version="1.0" encoding="utf-8"?>
<a:tblStyleLst xmlns:a="http://schemas.openxmlformats.org/drawingml/2006/main" def="{16D9F66E-5EB9-4882-86FB-DCBF35E3C3E4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054" autoAdjust="0"/>
    <p:restoredTop sz="93400" autoAdjust="0"/>
  </p:normalViewPr>
  <p:slideViewPr>
    <p:cSldViewPr snapToGrid="0">
      <p:cViewPr varScale="1">
        <p:scale>
          <a:sx n="68" d="100"/>
          <a:sy n="68" d="100"/>
        </p:scale>
        <p:origin x="782" y="72"/>
      </p:cViewPr>
      <p:guideLst>
        <p:guide orient="horz" pos="4814"/>
        <p:guide orient="horz" pos="1581"/>
        <p:guide orient="horz" pos="1857"/>
        <p:guide pos="8974"/>
        <p:guide pos="4508"/>
        <p:guide pos="408"/>
        <p:guide pos="4723"/>
        <p:guide pos="3284"/>
        <p:guide pos="5944"/>
        <p:guide pos="3066"/>
        <p:guide pos="616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45" d="100"/>
        <a:sy n="4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2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5.xml"/><Relationship Id="rId34" Type="http://schemas.microsoft.com/office/2016/11/relationships/changesInfo" Target="changesInfos/changesInfo1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1.xml"/><Relationship Id="rId25" Type="http://schemas.openxmlformats.org/officeDocument/2006/relationships/slide" Target="slides/slide9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" Target="slides/slide4.xml"/><Relationship Id="rId29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8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7.xml"/><Relationship Id="rId28" Type="http://schemas.openxmlformats.org/officeDocument/2006/relationships/tags" Target="tags/tag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3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6.xml"/><Relationship Id="rId27" Type="http://schemas.openxmlformats.org/officeDocument/2006/relationships/handoutMaster" Target="handoutMasters/handoutMaster1.xml"/><Relationship Id="rId30" Type="http://schemas.openxmlformats.org/officeDocument/2006/relationships/presProps" Target="presProps.xml"/><Relationship Id="rId35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eepanwita Tripathy" userId="30ecb486-5106-4704-99c5-99fac48b3cdd" providerId="ADAL" clId="{74B26358-A613-4063-B917-BE27112D647B}"/>
    <pc:docChg chg="custSel addSld delSld modSld">
      <pc:chgData name="Deepanwita Tripathy" userId="30ecb486-5106-4704-99c5-99fac48b3cdd" providerId="ADAL" clId="{74B26358-A613-4063-B917-BE27112D647B}" dt="2022-11-08T10:42:38.428" v="415" actId="1076"/>
      <pc:docMkLst>
        <pc:docMk/>
      </pc:docMkLst>
      <pc:sldChg chg="delSp modSp add mod">
        <pc:chgData name="Deepanwita Tripathy" userId="30ecb486-5106-4704-99c5-99fac48b3cdd" providerId="ADAL" clId="{74B26358-A613-4063-B917-BE27112D647B}" dt="2022-11-08T10:42:38.428" v="415" actId="1076"/>
        <pc:sldMkLst>
          <pc:docMk/>
          <pc:sldMk cId="2723459986" sldId="2147473892"/>
        </pc:sldMkLst>
        <pc:spChg chg="mod">
          <ac:chgData name="Deepanwita Tripathy" userId="30ecb486-5106-4704-99c5-99fac48b3cdd" providerId="ADAL" clId="{74B26358-A613-4063-B917-BE27112D647B}" dt="2022-11-08T10:42:38.428" v="415" actId="1076"/>
          <ac:spMkLst>
            <pc:docMk/>
            <pc:sldMk cId="2723459986" sldId="2147473892"/>
            <ac:spMk id="7" creationId="{10E8125B-5C14-48B8-81EC-5B0CC7AFE761}"/>
          </ac:spMkLst>
        </pc:spChg>
        <pc:spChg chg="mod">
          <ac:chgData name="Deepanwita Tripathy" userId="30ecb486-5106-4704-99c5-99fac48b3cdd" providerId="ADAL" clId="{74B26358-A613-4063-B917-BE27112D647B}" dt="2022-11-08T10:42:24.128" v="413" actId="1076"/>
          <ac:spMkLst>
            <pc:docMk/>
            <pc:sldMk cId="2723459986" sldId="2147473892"/>
            <ac:spMk id="8" creationId="{503C1BF9-FD50-4017-8173-AB07C8A74163}"/>
          </ac:spMkLst>
        </pc:spChg>
        <pc:spChg chg="mod">
          <ac:chgData name="Deepanwita Tripathy" userId="30ecb486-5106-4704-99c5-99fac48b3cdd" providerId="ADAL" clId="{74B26358-A613-4063-B917-BE27112D647B}" dt="2022-11-08T10:42:28.189" v="414" actId="1076"/>
          <ac:spMkLst>
            <pc:docMk/>
            <pc:sldMk cId="2723459986" sldId="2147473892"/>
            <ac:spMk id="9" creationId="{D35DDC12-7093-4869-BDE5-6076A5E72FD2}"/>
          </ac:spMkLst>
        </pc:spChg>
        <pc:spChg chg="mod">
          <ac:chgData name="Deepanwita Tripathy" userId="30ecb486-5106-4704-99c5-99fac48b3cdd" providerId="ADAL" clId="{74B26358-A613-4063-B917-BE27112D647B}" dt="2022-11-08T10:35:26.423" v="396" actId="120"/>
          <ac:spMkLst>
            <pc:docMk/>
            <pc:sldMk cId="2723459986" sldId="2147473892"/>
            <ac:spMk id="10" creationId="{B86B0884-9017-4CC1-9341-796DDFB0CB4A}"/>
          </ac:spMkLst>
        </pc:spChg>
        <pc:spChg chg="mod">
          <ac:chgData name="Deepanwita Tripathy" userId="30ecb486-5106-4704-99c5-99fac48b3cdd" providerId="ADAL" clId="{74B26358-A613-4063-B917-BE27112D647B}" dt="2022-11-08T10:35:40.456" v="399" actId="33524"/>
          <ac:spMkLst>
            <pc:docMk/>
            <pc:sldMk cId="2723459986" sldId="2147473892"/>
            <ac:spMk id="11" creationId="{6EE52881-6B48-4C9B-BB3E-70D2D961423E}"/>
          </ac:spMkLst>
        </pc:spChg>
        <pc:spChg chg="mod">
          <ac:chgData name="Deepanwita Tripathy" userId="30ecb486-5106-4704-99c5-99fac48b3cdd" providerId="ADAL" clId="{74B26358-A613-4063-B917-BE27112D647B}" dt="2022-11-08T10:35:30.275" v="397" actId="120"/>
          <ac:spMkLst>
            <pc:docMk/>
            <pc:sldMk cId="2723459986" sldId="2147473892"/>
            <ac:spMk id="12" creationId="{2264C5FC-63AA-44D5-9964-1A4E13DDA70F}"/>
          </ac:spMkLst>
        </pc:spChg>
        <pc:spChg chg="mod">
          <ac:chgData name="Deepanwita Tripathy" userId="30ecb486-5106-4704-99c5-99fac48b3cdd" providerId="ADAL" clId="{74B26358-A613-4063-B917-BE27112D647B}" dt="2022-11-08T10:31:35.617" v="307" actId="1076"/>
          <ac:spMkLst>
            <pc:docMk/>
            <pc:sldMk cId="2723459986" sldId="2147473892"/>
            <ac:spMk id="13" creationId="{27EE73AA-2EC1-4088-BA02-AE1357A13DD5}"/>
          </ac:spMkLst>
        </pc:spChg>
        <pc:spChg chg="mod">
          <ac:chgData name="Deepanwita Tripathy" userId="30ecb486-5106-4704-99c5-99fac48b3cdd" providerId="ADAL" clId="{74B26358-A613-4063-B917-BE27112D647B}" dt="2022-11-08T10:35:56.367" v="400" actId="1076"/>
          <ac:spMkLst>
            <pc:docMk/>
            <pc:sldMk cId="2723459986" sldId="2147473892"/>
            <ac:spMk id="14" creationId="{BC5F37F1-BCB8-4ED6-8EC2-E49B8F9CB20E}"/>
          </ac:spMkLst>
        </pc:spChg>
        <pc:spChg chg="mod">
          <ac:chgData name="Deepanwita Tripathy" userId="30ecb486-5106-4704-99c5-99fac48b3cdd" providerId="ADAL" clId="{74B26358-A613-4063-B917-BE27112D647B}" dt="2022-11-08T10:36:10.204" v="401" actId="14100"/>
          <ac:spMkLst>
            <pc:docMk/>
            <pc:sldMk cId="2723459986" sldId="2147473892"/>
            <ac:spMk id="15" creationId="{C453BE3F-7619-49B7-BEAC-6AA4487718A9}"/>
          </ac:spMkLst>
        </pc:spChg>
        <pc:spChg chg="del">
          <ac:chgData name="Deepanwita Tripathy" userId="30ecb486-5106-4704-99c5-99fac48b3cdd" providerId="ADAL" clId="{74B26358-A613-4063-B917-BE27112D647B}" dt="2022-11-08T07:40:47.677" v="9" actId="478"/>
          <ac:spMkLst>
            <pc:docMk/>
            <pc:sldMk cId="2723459986" sldId="2147473892"/>
            <ac:spMk id="26" creationId="{D9B5CA22-94B0-4100-B24C-D335A0B8BFC9}"/>
          </ac:spMkLst>
        </pc:spChg>
        <pc:spChg chg="del">
          <ac:chgData name="Deepanwita Tripathy" userId="30ecb486-5106-4704-99c5-99fac48b3cdd" providerId="ADAL" clId="{74B26358-A613-4063-B917-BE27112D647B}" dt="2022-11-08T07:40:49.409" v="10" actId="478"/>
          <ac:spMkLst>
            <pc:docMk/>
            <pc:sldMk cId="2723459986" sldId="2147473892"/>
            <ac:spMk id="27" creationId="{75E4BD8B-5E31-496B-BDCC-4656099A0A30}"/>
          </ac:spMkLst>
        </pc:spChg>
        <pc:spChg chg="del">
          <ac:chgData name="Deepanwita Tripathy" userId="30ecb486-5106-4704-99c5-99fac48b3cdd" providerId="ADAL" clId="{74B26358-A613-4063-B917-BE27112D647B}" dt="2022-11-08T07:40:51.333" v="11" actId="478"/>
          <ac:spMkLst>
            <pc:docMk/>
            <pc:sldMk cId="2723459986" sldId="2147473892"/>
            <ac:spMk id="28" creationId="{0EC319B4-B14A-41CC-B6CF-6FEA85810782}"/>
          </ac:spMkLst>
        </pc:spChg>
        <pc:spChg chg="del">
          <ac:chgData name="Deepanwita Tripathy" userId="30ecb486-5106-4704-99c5-99fac48b3cdd" providerId="ADAL" clId="{74B26358-A613-4063-B917-BE27112D647B}" dt="2022-11-08T07:40:45.630" v="8" actId="478"/>
          <ac:spMkLst>
            <pc:docMk/>
            <pc:sldMk cId="2723459986" sldId="2147473892"/>
            <ac:spMk id="29" creationId="{8E4CCF34-A040-4070-924E-6C6AD33CB737}"/>
          </ac:spMkLst>
        </pc:spChg>
        <pc:spChg chg="mod">
          <ac:chgData name="Deepanwita Tripathy" userId="30ecb486-5106-4704-99c5-99fac48b3cdd" providerId="ADAL" clId="{74B26358-A613-4063-B917-BE27112D647B}" dt="2022-11-08T07:40:55.577" v="12" actId="1076"/>
          <ac:spMkLst>
            <pc:docMk/>
            <pc:sldMk cId="2723459986" sldId="2147473892"/>
            <ac:spMk id="30" creationId="{283EFF24-8CE2-4094-A136-FE72E3DA969A}"/>
          </ac:spMkLst>
        </pc:spChg>
        <pc:spChg chg="mod">
          <ac:chgData name="Deepanwita Tripathy" userId="30ecb486-5106-4704-99c5-99fac48b3cdd" providerId="ADAL" clId="{74B26358-A613-4063-B917-BE27112D647B}" dt="2022-11-08T07:44:40.397" v="120" actId="122"/>
          <ac:spMkLst>
            <pc:docMk/>
            <pc:sldMk cId="2723459986" sldId="2147473892"/>
            <ac:spMk id="31" creationId="{A05ABCEC-1711-4426-B9D2-ECF8FFF81098}"/>
          </ac:spMkLst>
        </pc:spChg>
        <pc:spChg chg="mod">
          <ac:chgData name="Deepanwita Tripathy" userId="30ecb486-5106-4704-99c5-99fac48b3cdd" providerId="ADAL" clId="{74B26358-A613-4063-B917-BE27112D647B}" dt="2022-11-08T07:44:50.150" v="122" actId="1076"/>
          <ac:spMkLst>
            <pc:docMk/>
            <pc:sldMk cId="2723459986" sldId="2147473892"/>
            <ac:spMk id="32" creationId="{66BCC774-252A-49BA-B866-C7A512410DB8}"/>
          </ac:spMkLst>
        </pc:spChg>
        <pc:cxnChg chg="mod">
          <ac:chgData name="Deepanwita Tripathy" userId="30ecb486-5106-4704-99c5-99fac48b3cdd" providerId="ADAL" clId="{74B26358-A613-4063-B917-BE27112D647B}" dt="2022-11-08T10:32:27.191" v="321" actId="1076"/>
          <ac:cxnSpMkLst>
            <pc:docMk/>
            <pc:sldMk cId="2723459986" sldId="2147473892"/>
            <ac:cxnSpMk id="4" creationId="{6150DFBC-FABB-44C9-A393-E9DF5D4A414D}"/>
          </ac:cxnSpMkLst>
        </pc:cxnChg>
        <pc:cxnChg chg="mod">
          <ac:chgData name="Deepanwita Tripathy" userId="30ecb486-5106-4704-99c5-99fac48b3cdd" providerId="ADAL" clId="{74B26358-A613-4063-B917-BE27112D647B}" dt="2022-11-08T10:31:18.023" v="303" actId="1076"/>
          <ac:cxnSpMkLst>
            <pc:docMk/>
            <pc:sldMk cId="2723459986" sldId="2147473892"/>
            <ac:cxnSpMk id="22" creationId="{00FDF47C-BB29-4464-A2B0-89ED8AC5D816}"/>
          </ac:cxnSpMkLst>
        </pc:cxnChg>
      </pc:sldChg>
      <pc:sldChg chg="modSp mod">
        <pc:chgData name="Deepanwita Tripathy" userId="30ecb486-5106-4704-99c5-99fac48b3cdd" providerId="ADAL" clId="{74B26358-A613-4063-B917-BE27112D647B}" dt="2022-11-08T07:45:55.744" v="128" actId="14100"/>
        <pc:sldMkLst>
          <pc:docMk/>
          <pc:sldMk cId="55627673" sldId="2147473923"/>
        </pc:sldMkLst>
        <pc:spChg chg="mod">
          <ac:chgData name="Deepanwita Tripathy" userId="30ecb486-5106-4704-99c5-99fac48b3cdd" providerId="ADAL" clId="{74B26358-A613-4063-B917-BE27112D647B}" dt="2022-11-08T07:45:55.744" v="128" actId="14100"/>
          <ac:spMkLst>
            <pc:docMk/>
            <pc:sldMk cId="55627673" sldId="2147473923"/>
            <ac:spMk id="12" creationId="{927E6A60-D237-4C1F-9A1D-AB607F252E5D}"/>
          </ac:spMkLst>
        </pc:spChg>
      </pc:sldChg>
      <pc:sldChg chg="modSp mod">
        <pc:chgData name="Deepanwita Tripathy" userId="30ecb486-5106-4704-99c5-99fac48b3cdd" providerId="ADAL" clId="{74B26358-A613-4063-B917-BE27112D647B}" dt="2022-11-08T07:45:37.439" v="127" actId="1076"/>
        <pc:sldMkLst>
          <pc:docMk/>
          <pc:sldMk cId="627514636" sldId="2147473924"/>
        </pc:sldMkLst>
        <pc:spChg chg="mod">
          <ac:chgData name="Deepanwita Tripathy" userId="30ecb486-5106-4704-99c5-99fac48b3cdd" providerId="ADAL" clId="{74B26358-A613-4063-B917-BE27112D647B}" dt="2022-11-08T07:45:37.439" v="127" actId="1076"/>
          <ac:spMkLst>
            <pc:docMk/>
            <pc:sldMk cId="627514636" sldId="2147473924"/>
            <ac:spMk id="76" creationId="{E6A2EAEA-7BFC-460D-84E6-CAE04AC0B96F}"/>
          </ac:spMkLst>
        </pc:spChg>
        <pc:spChg chg="mod">
          <ac:chgData name="Deepanwita Tripathy" userId="30ecb486-5106-4704-99c5-99fac48b3cdd" providerId="ADAL" clId="{74B26358-A613-4063-B917-BE27112D647B}" dt="2022-11-08T07:45:28.742" v="125" actId="14100"/>
          <ac:spMkLst>
            <pc:docMk/>
            <pc:sldMk cId="627514636" sldId="2147473924"/>
            <ac:spMk id="101" creationId="{10F309E7-29E0-4162-8E0E-11523AB0A622}"/>
          </ac:spMkLst>
        </pc:spChg>
      </pc:sldChg>
      <pc:sldChg chg="del">
        <pc:chgData name="Deepanwita Tripathy" userId="30ecb486-5106-4704-99c5-99fac48b3cdd" providerId="ADAL" clId="{74B26358-A613-4063-B917-BE27112D647B}" dt="2022-11-08T07:39:15.396" v="1" actId="47"/>
        <pc:sldMkLst>
          <pc:docMk/>
          <pc:sldMk cId="671894784" sldId="2147473925"/>
        </pc:sldMkLst>
      </pc:sldChg>
      <pc:sldChg chg="del">
        <pc:chgData name="Deepanwita Tripathy" userId="30ecb486-5106-4704-99c5-99fac48b3cdd" providerId="ADAL" clId="{74B26358-A613-4063-B917-BE27112D647B}" dt="2022-11-08T07:39:16.835" v="2" actId="47"/>
        <pc:sldMkLst>
          <pc:docMk/>
          <pc:sldMk cId="1470060343" sldId="2147473926"/>
        </pc:sldMkLst>
      </pc:sldChg>
      <pc:sldChg chg="del">
        <pc:chgData name="Deepanwita Tripathy" userId="30ecb486-5106-4704-99c5-99fac48b3cdd" providerId="ADAL" clId="{74B26358-A613-4063-B917-BE27112D647B}" dt="2022-11-08T07:39:19.135" v="3" actId="47"/>
        <pc:sldMkLst>
          <pc:docMk/>
          <pc:sldMk cId="1912446349" sldId="2147473927"/>
        </pc:sldMkLst>
      </pc:sldChg>
      <pc:sldChg chg="del">
        <pc:chgData name="Deepanwita Tripathy" userId="30ecb486-5106-4704-99c5-99fac48b3cdd" providerId="ADAL" clId="{74B26358-A613-4063-B917-BE27112D647B}" dt="2022-11-08T07:39:21.402" v="4" actId="47"/>
        <pc:sldMkLst>
          <pc:docMk/>
          <pc:sldMk cId="1185355364" sldId="2147473928"/>
        </pc:sldMkLst>
      </pc:sldChg>
      <pc:sldChg chg="del">
        <pc:chgData name="Deepanwita Tripathy" userId="30ecb486-5106-4704-99c5-99fac48b3cdd" providerId="ADAL" clId="{74B26358-A613-4063-B917-BE27112D647B}" dt="2022-11-08T07:39:22.635" v="5" actId="47"/>
        <pc:sldMkLst>
          <pc:docMk/>
          <pc:sldMk cId="1211553829" sldId="2147473929"/>
        </pc:sldMkLst>
      </pc:sldChg>
      <pc:sldChg chg="del">
        <pc:chgData name="Deepanwita Tripathy" userId="30ecb486-5106-4704-99c5-99fac48b3cdd" providerId="ADAL" clId="{74B26358-A613-4063-B917-BE27112D647B}" dt="2022-11-08T07:39:23.558" v="6" actId="47"/>
        <pc:sldMkLst>
          <pc:docMk/>
          <pc:sldMk cId="3846026006" sldId="2147473930"/>
        </pc:sldMkLst>
      </pc:sldChg>
      <pc:sldChg chg="del">
        <pc:chgData name="Deepanwita Tripathy" userId="30ecb486-5106-4704-99c5-99fac48b3cdd" providerId="ADAL" clId="{74B26358-A613-4063-B917-BE27112D647B}" dt="2022-11-07T10:30:21.189" v="0" actId="47"/>
        <pc:sldMkLst>
          <pc:docMk/>
          <pc:sldMk cId="4175941405" sldId="2147473931"/>
        </pc:sldMkLst>
      </pc:sldChg>
      <pc:sldMasterChg chg="delSldLayout">
        <pc:chgData name="Deepanwita Tripathy" userId="30ecb486-5106-4704-99c5-99fac48b3cdd" providerId="ADAL" clId="{74B26358-A613-4063-B917-BE27112D647B}" dt="2022-11-08T07:39:23.558" v="6" actId="47"/>
        <pc:sldMasterMkLst>
          <pc:docMk/>
          <pc:sldMasterMk cId="0" sldId="2147483650"/>
        </pc:sldMasterMkLst>
        <pc:sldLayoutChg chg="del">
          <pc:chgData name="Deepanwita Tripathy" userId="30ecb486-5106-4704-99c5-99fac48b3cdd" providerId="ADAL" clId="{74B26358-A613-4063-B917-BE27112D647B}" dt="2022-11-08T07:39:21.402" v="4" actId="47"/>
          <pc:sldLayoutMkLst>
            <pc:docMk/>
            <pc:sldMasterMk cId="0" sldId="2147483650"/>
            <pc:sldLayoutMk cId="3768088681" sldId="2147484982"/>
          </pc:sldLayoutMkLst>
        </pc:sldLayoutChg>
        <pc:sldLayoutChg chg="del">
          <pc:chgData name="Deepanwita Tripathy" userId="30ecb486-5106-4704-99c5-99fac48b3cdd" providerId="ADAL" clId="{74B26358-A613-4063-B917-BE27112D647B}" dt="2022-11-08T07:39:23.558" v="6" actId="47"/>
          <pc:sldLayoutMkLst>
            <pc:docMk/>
            <pc:sldMasterMk cId="0" sldId="2147483650"/>
            <pc:sldLayoutMk cId="1067834098" sldId="2147484984"/>
          </pc:sldLayoutMkLst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161992\Desktop\1%20Compilation%20of%20Circulars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161992\Desktop\1%20Compilation%20of%20Circulars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9026449741279861E-3"/>
          <c:y val="0.19207638806833693"/>
          <c:w val="0.92017945804160206"/>
          <c:h val="0.70489384919788434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ln w="3810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Pt>
            <c:idx val="9"/>
            <c:marker>
              <c:symbol val="none"/>
            </c:marker>
            <c:bubble3D val="0"/>
            <c:spPr>
              <a:ln w="38100" cap="rnd">
                <a:solidFill>
                  <a:schemeClr val="accent1"/>
                </a:solidFill>
                <a:prstDash val="sysDash"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655E-42B8-8B99-6574F9CB6A9B}"/>
              </c:ext>
            </c:extLst>
          </c:dPt>
          <c:dLbls>
            <c:dLbl>
              <c:idx val="9"/>
              <c:layout>
                <c:manualLayout>
                  <c:x val="-1.1462547434701438E-2"/>
                  <c:y val="1.876801927997766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55E-42B8-8B99-6574F9CB6A9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FY06</c:v>
                </c:pt>
                <c:pt idx="1">
                  <c:v>FY08</c:v>
                </c:pt>
                <c:pt idx="2">
                  <c:v>FY10</c:v>
                </c:pt>
                <c:pt idx="3">
                  <c:v>FY12</c:v>
                </c:pt>
                <c:pt idx="4">
                  <c:v>FY14</c:v>
                </c:pt>
                <c:pt idx="5">
                  <c:v>FY16</c:v>
                </c:pt>
                <c:pt idx="6">
                  <c:v>FY18</c:v>
                </c:pt>
                <c:pt idx="7">
                  <c:v>FY20</c:v>
                </c:pt>
                <c:pt idx="8">
                  <c:v>FY22</c:v>
                </c:pt>
                <c:pt idx="9">
                  <c:v>FY25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3.11</c:v>
                </c:pt>
                <c:pt idx="1">
                  <c:v>2.66</c:v>
                </c:pt>
                <c:pt idx="2">
                  <c:v>2.5</c:v>
                </c:pt>
                <c:pt idx="3">
                  <c:v>2.5</c:v>
                </c:pt>
                <c:pt idx="4">
                  <c:v>2.4700000000000002</c:v>
                </c:pt>
                <c:pt idx="5">
                  <c:v>2.2999999999999998</c:v>
                </c:pt>
                <c:pt idx="6">
                  <c:v>2.37</c:v>
                </c:pt>
                <c:pt idx="7">
                  <c:v>2.4900000000000002</c:v>
                </c:pt>
                <c:pt idx="8">
                  <c:v>2.5099999999999998</c:v>
                </c:pt>
                <c:pt idx="9">
                  <c:v>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2-655E-42B8-8B99-6574F9CB6A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833260024"/>
        <c:axId val="833260680"/>
      </c:lineChart>
      <c:catAx>
        <c:axId val="8332600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2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833260680"/>
        <c:crosses val="autoZero"/>
        <c:auto val="1"/>
        <c:lblAlgn val="ctr"/>
        <c:lblOffset val="10"/>
        <c:noMultiLvlLbl val="0"/>
      </c:catAx>
      <c:valAx>
        <c:axId val="833260680"/>
        <c:scaling>
          <c:orientation val="minMax"/>
          <c:min val="1.5"/>
        </c:scaling>
        <c:delete val="1"/>
        <c:axPos val="l"/>
        <c:numFmt formatCode="General" sourceLinked="1"/>
        <c:majorTickMark val="out"/>
        <c:minorTickMark val="none"/>
        <c:tickLblPos val="nextTo"/>
        <c:crossAx val="833260024"/>
        <c:crossesAt val="1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6"/>
    </mc:Choice>
    <mc:Fallback>
      <c:style val="6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solidFill>
                <a:sysClr val="window" lastClr="FFFFFF"/>
              </a:solidFill>
              <a:ln>
                <a:solidFill>
                  <a:sysClr val="windowText" lastClr="000000">
                    <a:lumMod val="25000"/>
                    <a:lumOff val="75000"/>
                  </a:sysClr>
                </a:solidFill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  <c15:showLeaderLines val="0"/>
              </c:ext>
            </c:extLst>
          </c:dLbls>
          <c:cat>
            <c:strRef>
              <c:f>Sheet3!$H$8:$J$8</c:f>
              <c:strCache>
                <c:ptCount val="3"/>
                <c:pt idx="0">
                  <c:v>Baseline SEC</c:v>
                </c:pt>
                <c:pt idx="1">
                  <c:v>Target SEC</c:v>
                </c:pt>
                <c:pt idx="2">
                  <c:v>Actual SEC</c:v>
                </c:pt>
              </c:strCache>
            </c:strRef>
          </c:cat>
          <c:val>
            <c:numRef>
              <c:f>Sheet3!$H$9:$J$9</c:f>
              <c:numCache>
                <c:formatCode>General</c:formatCode>
                <c:ptCount val="3"/>
                <c:pt idx="0">
                  <c:v>6.46</c:v>
                </c:pt>
                <c:pt idx="1">
                  <c:v>6.07</c:v>
                </c:pt>
                <c:pt idx="2">
                  <c:v>5.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2EB-4DCC-82FD-99F2DB1741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30649311"/>
        <c:axId val="230647231"/>
      </c:barChart>
      <c:catAx>
        <c:axId val="230649311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230647231"/>
        <c:crosses val="autoZero"/>
        <c:auto val="1"/>
        <c:lblAlgn val="ctr"/>
        <c:lblOffset val="100"/>
        <c:noMultiLvlLbl val="0"/>
      </c:catAx>
      <c:valAx>
        <c:axId val="23064723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IN"/>
                  <a:t>Gcal/tc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3064931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512608314281528"/>
          <c:y val="5.0925925925925923E-2"/>
          <c:w val="0.84850101263942612"/>
          <c:h val="0.8416746864975212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dLbl>
              <c:idx val="1"/>
              <c:tx>
                <c:rich>
                  <a:bodyPr/>
                  <a:lstStyle/>
                  <a:p>
                    <a:r>
                      <a:rPr lang="en-US" dirty="0" smtClean="0"/>
                      <a:t>TSJ</a:t>
                    </a:r>
                    <a:r>
                      <a:rPr lang="en-US" baseline="0" dirty="0" smtClean="0"/>
                      <a:t>, 5.668</a:t>
                    </a:r>
                    <a:endParaRPr lang="en-US" dirty="0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7543099500601667"/>
                      <c:h val="0.10610119347084404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22B8-442F-9800-ECDD63D64DDB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baseline="0" dirty="0" smtClean="0"/>
                      <a:t>TSK, </a:t>
                    </a:r>
                    <a:fld id="{5897379B-1F7B-4B01-83D1-FCBA7B2892FF}" type="VALUE">
                      <a:rPr lang="en-US" baseline="0"/>
                      <a:pPr/>
                      <a:t>[VALUE]</a:t>
                    </a:fld>
                    <a:endParaRPr lang="en-US" baseline="0" dirty="0" smtClean="0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7849976340272672"/>
                      <c:h val="5.5705982206352235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22B8-442F-9800-ECDD63D64DDB}"/>
                </c:ext>
              </c:extLst>
            </c:dLbl>
            <c:spPr>
              <a:solidFill>
                <a:sysClr val="window" lastClr="FFFFFF"/>
              </a:solidFill>
              <a:ln>
                <a:solidFill>
                  <a:sysClr val="windowText" lastClr="000000">
                    <a:lumMod val="25000"/>
                    <a:lumOff val="75000"/>
                  </a:sysClr>
                </a:solidFill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  <c15:showLeaderLines val="0"/>
              </c:ext>
            </c:extLst>
          </c:dLbls>
          <c:cat>
            <c:strRef>
              <c:f>Sheet4!$C$3:$E$3</c:f>
              <c:strCache>
                <c:ptCount val="2"/>
                <c:pt idx="0">
                  <c:v>World Bench Mark</c:v>
                </c:pt>
                <c:pt idx="1">
                  <c:v>TSJ</c:v>
                </c:pt>
              </c:strCache>
            </c:strRef>
          </c:cat>
          <c:val>
            <c:numRef>
              <c:f>Sheet4!$C$4:$E$4</c:f>
              <c:numCache>
                <c:formatCode>General</c:formatCode>
                <c:ptCount val="3"/>
                <c:pt idx="0">
                  <c:v>4.3</c:v>
                </c:pt>
                <c:pt idx="1">
                  <c:v>5.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2B8-442F-9800-ECDD63D64D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56890431"/>
        <c:axId val="356888351"/>
      </c:barChart>
      <c:catAx>
        <c:axId val="35689043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56888351"/>
        <c:crosses val="autoZero"/>
        <c:auto val="1"/>
        <c:lblAlgn val="ctr"/>
        <c:lblOffset val="100"/>
        <c:noMultiLvlLbl val="0"/>
      </c:catAx>
      <c:valAx>
        <c:axId val="35688835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IN"/>
                  <a:t>Gcal/tc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5689043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withinLinearReversed" id="24">
  <a:schemeClr val="accent4"/>
</cs:colorStyle>
</file>

<file path=ppt/charts/colors3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AFA1F7A-CEDA-4B92-B41E-81A5AF4D1C16}" type="doc">
      <dgm:prSet loTypeId="urn:microsoft.com/office/officeart/2005/8/layout/pyramid1" loCatId="pyramid" qsTypeId="urn:microsoft.com/office/officeart/2005/8/quickstyle/simple1" qsCatId="simple" csTypeId="urn:microsoft.com/office/officeart/2005/8/colors/accent1_2" csCatId="accent1" phldr="1"/>
      <dgm:spPr/>
    </dgm:pt>
    <dgm:pt modelId="{036E05A6-C120-4561-B918-9672EC4DF212}">
      <dgm:prSet phldrT="[Text]" phldr="1" custT="1"/>
      <dgm:spPr>
        <a:solidFill>
          <a:schemeClr val="accent6">
            <a:lumMod val="10000"/>
            <a:lumOff val="90000"/>
          </a:schemeClr>
        </a:solidFill>
      </dgm:spPr>
      <dgm:t>
        <a:bodyPr/>
        <a:lstStyle/>
        <a:p>
          <a:endParaRPr lang="en-IN" sz="1600" b="1" dirty="0"/>
        </a:p>
      </dgm:t>
    </dgm:pt>
    <dgm:pt modelId="{54050488-FB99-4DFD-921F-BC7A2E7205D9}" type="parTrans" cxnId="{6B2E71EE-0818-4FD9-B55B-F7397C83565A}">
      <dgm:prSet/>
      <dgm:spPr/>
      <dgm:t>
        <a:bodyPr/>
        <a:lstStyle/>
        <a:p>
          <a:endParaRPr lang="en-IN" sz="1800"/>
        </a:p>
      </dgm:t>
    </dgm:pt>
    <dgm:pt modelId="{588A779F-B8A7-4620-8231-F2FEFD5F297E}" type="sibTrans" cxnId="{6B2E71EE-0818-4FD9-B55B-F7397C83565A}">
      <dgm:prSet/>
      <dgm:spPr/>
      <dgm:t>
        <a:bodyPr/>
        <a:lstStyle/>
        <a:p>
          <a:endParaRPr lang="en-IN" sz="1800"/>
        </a:p>
      </dgm:t>
    </dgm:pt>
    <dgm:pt modelId="{116DCCD3-8980-4A14-A986-ADAA36F9D871}">
      <dgm:prSet phldrT="[Text]" phldr="1" custT="1"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endParaRPr lang="en-IN" sz="1600" b="1" dirty="0"/>
        </a:p>
      </dgm:t>
    </dgm:pt>
    <dgm:pt modelId="{AC94EE97-4359-40A7-B929-13EB1E99C262}" type="parTrans" cxnId="{E4162A3A-810D-4193-9BD8-D008759540C1}">
      <dgm:prSet/>
      <dgm:spPr/>
      <dgm:t>
        <a:bodyPr/>
        <a:lstStyle/>
        <a:p>
          <a:endParaRPr lang="en-IN" sz="1800"/>
        </a:p>
      </dgm:t>
    </dgm:pt>
    <dgm:pt modelId="{C2272F06-EF5D-4C38-8E71-4268BFEF288A}" type="sibTrans" cxnId="{E4162A3A-810D-4193-9BD8-D008759540C1}">
      <dgm:prSet/>
      <dgm:spPr/>
      <dgm:t>
        <a:bodyPr/>
        <a:lstStyle/>
        <a:p>
          <a:endParaRPr lang="en-IN" sz="1800"/>
        </a:p>
      </dgm:t>
    </dgm:pt>
    <dgm:pt modelId="{358D9700-5E54-429B-99E5-321364A6C051}">
      <dgm:prSet phldrT="[Text]" phldr="1" custT="1"/>
      <dgm:spPr>
        <a:solidFill>
          <a:schemeClr val="tx2">
            <a:lumMod val="50000"/>
          </a:schemeClr>
        </a:solidFill>
      </dgm:spPr>
      <dgm:t>
        <a:bodyPr/>
        <a:lstStyle/>
        <a:p>
          <a:endParaRPr lang="en-IN" sz="1600" b="1" dirty="0"/>
        </a:p>
      </dgm:t>
    </dgm:pt>
    <dgm:pt modelId="{88377AD5-7DCE-4122-A9B4-179FF29D5107}" type="parTrans" cxnId="{6E7FB6F6-6BEC-43A1-A508-159FF33CDFD3}">
      <dgm:prSet/>
      <dgm:spPr/>
      <dgm:t>
        <a:bodyPr/>
        <a:lstStyle/>
        <a:p>
          <a:endParaRPr lang="en-IN" sz="1800"/>
        </a:p>
      </dgm:t>
    </dgm:pt>
    <dgm:pt modelId="{BEC2A4D9-652D-4F8F-80A4-F617854C21CE}" type="sibTrans" cxnId="{6E7FB6F6-6BEC-43A1-A508-159FF33CDFD3}">
      <dgm:prSet/>
      <dgm:spPr/>
      <dgm:t>
        <a:bodyPr/>
        <a:lstStyle/>
        <a:p>
          <a:endParaRPr lang="en-IN" sz="1800"/>
        </a:p>
      </dgm:t>
    </dgm:pt>
    <dgm:pt modelId="{D73CE0FD-9835-4BB9-9041-24EE4118EC29}" type="pres">
      <dgm:prSet presAssocID="{3AFA1F7A-CEDA-4B92-B41E-81A5AF4D1C16}" presName="Name0" presStyleCnt="0">
        <dgm:presLayoutVars>
          <dgm:dir/>
          <dgm:animLvl val="lvl"/>
          <dgm:resizeHandles val="exact"/>
        </dgm:presLayoutVars>
      </dgm:prSet>
      <dgm:spPr/>
    </dgm:pt>
    <dgm:pt modelId="{9AE5CF01-E2AE-49A2-B42F-1DA5CE4D59D2}" type="pres">
      <dgm:prSet presAssocID="{036E05A6-C120-4561-B918-9672EC4DF212}" presName="Name8" presStyleCnt="0"/>
      <dgm:spPr/>
    </dgm:pt>
    <dgm:pt modelId="{94C1C078-C725-4ABC-9144-4C7FEF361092}" type="pres">
      <dgm:prSet presAssocID="{036E05A6-C120-4561-B918-9672EC4DF212}" presName="level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1C9F37F-8B6F-483F-9666-26A7EC84E17D}" type="pres">
      <dgm:prSet presAssocID="{036E05A6-C120-4561-B918-9672EC4DF212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FBF09FB-A38A-44A4-B2F6-7CA0CD54E3F5}" type="pres">
      <dgm:prSet presAssocID="{116DCCD3-8980-4A14-A986-ADAA36F9D871}" presName="Name8" presStyleCnt="0"/>
      <dgm:spPr/>
    </dgm:pt>
    <dgm:pt modelId="{36DE7232-AC3E-478D-A42B-D2D23C532C73}" type="pres">
      <dgm:prSet presAssocID="{116DCCD3-8980-4A14-A986-ADAA36F9D871}" presName="level" presStyleLbl="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5588734-8CD6-434A-A72E-4D71A8E05D51}" type="pres">
      <dgm:prSet presAssocID="{116DCCD3-8980-4A14-A986-ADAA36F9D871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8BA50B0-ECF5-4922-9294-B81E13407B21}" type="pres">
      <dgm:prSet presAssocID="{358D9700-5E54-429B-99E5-321364A6C051}" presName="Name8" presStyleCnt="0"/>
      <dgm:spPr/>
    </dgm:pt>
    <dgm:pt modelId="{6DD9AFD6-85A3-4176-A6EC-F797AA86814C}" type="pres">
      <dgm:prSet presAssocID="{358D9700-5E54-429B-99E5-321364A6C051}" presName="level" presStyleLbl="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FCDD072-ED36-4EB6-AE37-82B0A30DEB5B}" type="pres">
      <dgm:prSet presAssocID="{358D9700-5E54-429B-99E5-321364A6C051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F789509B-98D0-4FF0-B0D2-31F901698581}" type="presOf" srcId="{3AFA1F7A-CEDA-4B92-B41E-81A5AF4D1C16}" destId="{D73CE0FD-9835-4BB9-9041-24EE4118EC29}" srcOrd="0" destOrd="0" presId="urn:microsoft.com/office/officeart/2005/8/layout/pyramid1"/>
    <dgm:cxn modelId="{C26AEDFF-30F8-4425-8076-4C8FAAF965A2}" type="presOf" srcId="{116DCCD3-8980-4A14-A986-ADAA36F9D871}" destId="{36DE7232-AC3E-478D-A42B-D2D23C532C73}" srcOrd="0" destOrd="0" presId="urn:microsoft.com/office/officeart/2005/8/layout/pyramid1"/>
    <dgm:cxn modelId="{DB9AB7E5-95A2-4FB9-84B7-94DDC0CFA616}" type="presOf" srcId="{036E05A6-C120-4561-B918-9672EC4DF212}" destId="{94C1C078-C725-4ABC-9144-4C7FEF361092}" srcOrd="0" destOrd="0" presId="urn:microsoft.com/office/officeart/2005/8/layout/pyramid1"/>
    <dgm:cxn modelId="{6B2E71EE-0818-4FD9-B55B-F7397C83565A}" srcId="{3AFA1F7A-CEDA-4B92-B41E-81A5AF4D1C16}" destId="{036E05A6-C120-4561-B918-9672EC4DF212}" srcOrd="0" destOrd="0" parTransId="{54050488-FB99-4DFD-921F-BC7A2E7205D9}" sibTransId="{588A779F-B8A7-4620-8231-F2FEFD5F297E}"/>
    <dgm:cxn modelId="{27D0EC6B-7C65-4E6A-B679-EEDE19B30DAE}" type="presOf" srcId="{358D9700-5E54-429B-99E5-321364A6C051}" destId="{6DD9AFD6-85A3-4176-A6EC-F797AA86814C}" srcOrd="0" destOrd="0" presId="urn:microsoft.com/office/officeart/2005/8/layout/pyramid1"/>
    <dgm:cxn modelId="{6E7FB6F6-6BEC-43A1-A508-159FF33CDFD3}" srcId="{3AFA1F7A-CEDA-4B92-B41E-81A5AF4D1C16}" destId="{358D9700-5E54-429B-99E5-321364A6C051}" srcOrd="2" destOrd="0" parTransId="{88377AD5-7DCE-4122-A9B4-179FF29D5107}" sibTransId="{BEC2A4D9-652D-4F8F-80A4-F617854C21CE}"/>
    <dgm:cxn modelId="{D7FD3E1A-3886-473E-870D-6AC7804022BF}" type="presOf" srcId="{036E05A6-C120-4561-B918-9672EC4DF212}" destId="{21C9F37F-8B6F-483F-9666-26A7EC84E17D}" srcOrd="1" destOrd="0" presId="urn:microsoft.com/office/officeart/2005/8/layout/pyramid1"/>
    <dgm:cxn modelId="{0F27CEED-5247-4C32-A2F7-7D60EC4E5A82}" type="presOf" srcId="{358D9700-5E54-429B-99E5-321364A6C051}" destId="{EFCDD072-ED36-4EB6-AE37-82B0A30DEB5B}" srcOrd="1" destOrd="0" presId="urn:microsoft.com/office/officeart/2005/8/layout/pyramid1"/>
    <dgm:cxn modelId="{9008D1A2-09ED-4353-A686-9D9DF3E692F4}" type="presOf" srcId="{116DCCD3-8980-4A14-A986-ADAA36F9D871}" destId="{35588734-8CD6-434A-A72E-4D71A8E05D51}" srcOrd="1" destOrd="0" presId="urn:microsoft.com/office/officeart/2005/8/layout/pyramid1"/>
    <dgm:cxn modelId="{E4162A3A-810D-4193-9BD8-D008759540C1}" srcId="{3AFA1F7A-CEDA-4B92-B41E-81A5AF4D1C16}" destId="{116DCCD3-8980-4A14-A986-ADAA36F9D871}" srcOrd="1" destOrd="0" parTransId="{AC94EE97-4359-40A7-B929-13EB1E99C262}" sibTransId="{C2272F06-EF5D-4C38-8E71-4268BFEF288A}"/>
    <dgm:cxn modelId="{8B61D3BF-FA93-4CAF-ADA6-FE1B86F5DDB9}" type="presParOf" srcId="{D73CE0FD-9835-4BB9-9041-24EE4118EC29}" destId="{9AE5CF01-E2AE-49A2-B42F-1DA5CE4D59D2}" srcOrd="0" destOrd="0" presId="urn:microsoft.com/office/officeart/2005/8/layout/pyramid1"/>
    <dgm:cxn modelId="{4E345FBF-52B3-438C-9554-870E130DF71D}" type="presParOf" srcId="{9AE5CF01-E2AE-49A2-B42F-1DA5CE4D59D2}" destId="{94C1C078-C725-4ABC-9144-4C7FEF361092}" srcOrd="0" destOrd="0" presId="urn:microsoft.com/office/officeart/2005/8/layout/pyramid1"/>
    <dgm:cxn modelId="{9A8CBDCA-BEE2-4FEE-9787-648EDE7E93E8}" type="presParOf" srcId="{9AE5CF01-E2AE-49A2-B42F-1DA5CE4D59D2}" destId="{21C9F37F-8B6F-483F-9666-26A7EC84E17D}" srcOrd="1" destOrd="0" presId="urn:microsoft.com/office/officeart/2005/8/layout/pyramid1"/>
    <dgm:cxn modelId="{7B8F6088-9B2F-496A-AFD2-69CCA6DCE22F}" type="presParOf" srcId="{D73CE0FD-9835-4BB9-9041-24EE4118EC29}" destId="{BFBF09FB-A38A-44A4-B2F6-7CA0CD54E3F5}" srcOrd="1" destOrd="0" presId="urn:microsoft.com/office/officeart/2005/8/layout/pyramid1"/>
    <dgm:cxn modelId="{8356649D-D0DC-469F-B159-E2CBF5F1C6B4}" type="presParOf" srcId="{BFBF09FB-A38A-44A4-B2F6-7CA0CD54E3F5}" destId="{36DE7232-AC3E-478D-A42B-D2D23C532C73}" srcOrd="0" destOrd="0" presId="urn:microsoft.com/office/officeart/2005/8/layout/pyramid1"/>
    <dgm:cxn modelId="{E0ED75D8-3E92-4964-91D2-21CF71E89A71}" type="presParOf" srcId="{BFBF09FB-A38A-44A4-B2F6-7CA0CD54E3F5}" destId="{35588734-8CD6-434A-A72E-4D71A8E05D51}" srcOrd="1" destOrd="0" presId="urn:microsoft.com/office/officeart/2005/8/layout/pyramid1"/>
    <dgm:cxn modelId="{C6D928E0-6CF6-4E36-A186-90E564CA2825}" type="presParOf" srcId="{D73CE0FD-9835-4BB9-9041-24EE4118EC29}" destId="{08BA50B0-ECF5-4922-9294-B81E13407B21}" srcOrd="2" destOrd="0" presId="urn:microsoft.com/office/officeart/2005/8/layout/pyramid1"/>
    <dgm:cxn modelId="{85EF4686-C619-47F1-86E5-FFC843041891}" type="presParOf" srcId="{08BA50B0-ECF5-4922-9294-B81E13407B21}" destId="{6DD9AFD6-85A3-4176-A6EC-F797AA86814C}" srcOrd="0" destOrd="0" presId="urn:microsoft.com/office/officeart/2005/8/layout/pyramid1"/>
    <dgm:cxn modelId="{A62547EA-B4DA-4F3F-BCD3-1046DA8BD582}" type="presParOf" srcId="{08BA50B0-ECF5-4922-9294-B81E13407B21}" destId="{EFCDD072-ED36-4EB6-AE37-82B0A30DEB5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AFA1F7A-CEDA-4B92-B41E-81A5AF4D1C16}" type="doc">
      <dgm:prSet loTypeId="urn:microsoft.com/office/officeart/2005/8/layout/pyramid1" loCatId="pyramid" qsTypeId="urn:microsoft.com/office/officeart/2005/8/quickstyle/simple1" qsCatId="simple" csTypeId="urn:microsoft.com/office/officeart/2005/8/colors/accent1_2" csCatId="accent1" phldr="1"/>
      <dgm:spPr/>
    </dgm:pt>
    <dgm:pt modelId="{036E05A6-C120-4561-B918-9672EC4DF212}">
      <dgm:prSet phldrT="[Text]" phldr="1" custT="1"/>
      <dgm:spPr>
        <a:solidFill>
          <a:schemeClr val="accent6">
            <a:lumMod val="10000"/>
            <a:lumOff val="90000"/>
          </a:schemeClr>
        </a:solidFill>
      </dgm:spPr>
      <dgm:t>
        <a:bodyPr/>
        <a:lstStyle/>
        <a:p>
          <a:endParaRPr lang="en-IN" sz="1600" b="1" dirty="0"/>
        </a:p>
      </dgm:t>
    </dgm:pt>
    <dgm:pt modelId="{54050488-FB99-4DFD-921F-BC7A2E7205D9}" type="parTrans" cxnId="{6B2E71EE-0818-4FD9-B55B-F7397C83565A}">
      <dgm:prSet/>
      <dgm:spPr/>
      <dgm:t>
        <a:bodyPr/>
        <a:lstStyle/>
        <a:p>
          <a:endParaRPr lang="en-IN" sz="1800"/>
        </a:p>
      </dgm:t>
    </dgm:pt>
    <dgm:pt modelId="{588A779F-B8A7-4620-8231-F2FEFD5F297E}" type="sibTrans" cxnId="{6B2E71EE-0818-4FD9-B55B-F7397C83565A}">
      <dgm:prSet/>
      <dgm:spPr/>
      <dgm:t>
        <a:bodyPr/>
        <a:lstStyle/>
        <a:p>
          <a:endParaRPr lang="en-IN" sz="1800"/>
        </a:p>
      </dgm:t>
    </dgm:pt>
    <dgm:pt modelId="{116DCCD3-8980-4A14-A986-ADAA36F9D871}">
      <dgm:prSet phldrT="[Text]" phldr="1" custT="1"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endParaRPr lang="en-IN" sz="1600" b="1" dirty="0"/>
        </a:p>
      </dgm:t>
    </dgm:pt>
    <dgm:pt modelId="{AC94EE97-4359-40A7-B929-13EB1E99C262}" type="parTrans" cxnId="{E4162A3A-810D-4193-9BD8-D008759540C1}">
      <dgm:prSet/>
      <dgm:spPr/>
      <dgm:t>
        <a:bodyPr/>
        <a:lstStyle/>
        <a:p>
          <a:endParaRPr lang="en-IN" sz="1800"/>
        </a:p>
      </dgm:t>
    </dgm:pt>
    <dgm:pt modelId="{C2272F06-EF5D-4C38-8E71-4268BFEF288A}" type="sibTrans" cxnId="{E4162A3A-810D-4193-9BD8-D008759540C1}">
      <dgm:prSet/>
      <dgm:spPr/>
      <dgm:t>
        <a:bodyPr/>
        <a:lstStyle/>
        <a:p>
          <a:endParaRPr lang="en-IN" sz="1800"/>
        </a:p>
      </dgm:t>
    </dgm:pt>
    <dgm:pt modelId="{358D9700-5E54-429B-99E5-321364A6C051}">
      <dgm:prSet phldrT="[Text]" phldr="1" custT="1"/>
      <dgm:spPr>
        <a:solidFill>
          <a:schemeClr val="tx2">
            <a:lumMod val="50000"/>
          </a:schemeClr>
        </a:solidFill>
      </dgm:spPr>
      <dgm:t>
        <a:bodyPr/>
        <a:lstStyle/>
        <a:p>
          <a:endParaRPr lang="en-IN" sz="1600" b="1" dirty="0"/>
        </a:p>
      </dgm:t>
    </dgm:pt>
    <dgm:pt modelId="{88377AD5-7DCE-4122-A9B4-179FF29D5107}" type="parTrans" cxnId="{6E7FB6F6-6BEC-43A1-A508-159FF33CDFD3}">
      <dgm:prSet/>
      <dgm:spPr/>
      <dgm:t>
        <a:bodyPr/>
        <a:lstStyle/>
        <a:p>
          <a:endParaRPr lang="en-IN" sz="1800"/>
        </a:p>
      </dgm:t>
    </dgm:pt>
    <dgm:pt modelId="{BEC2A4D9-652D-4F8F-80A4-F617854C21CE}" type="sibTrans" cxnId="{6E7FB6F6-6BEC-43A1-A508-159FF33CDFD3}">
      <dgm:prSet/>
      <dgm:spPr/>
      <dgm:t>
        <a:bodyPr/>
        <a:lstStyle/>
        <a:p>
          <a:endParaRPr lang="en-IN" sz="1800"/>
        </a:p>
      </dgm:t>
    </dgm:pt>
    <dgm:pt modelId="{D73CE0FD-9835-4BB9-9041-24EE4118EC29}" type="pres">
      <dgm:prSet presAssocID="{3AFA1F7A-CEDA-4B92-B41E-81A5AF4D1C16}" presName="Name0" presStyleCnt="0">
        <dgm:presLayoutVars>
          <dgm:dir/>
          <dgm:animLvl val="lvl"/>
          <dgm:resizeHandles val="exact"/>
        </dgm:presLayoutVars>
      </dgm:prSet>
      <dgm:spPr/>
    </dgm:pt>
    <dgm:pt modelId="{9AE5CF01-E2AE-49A2-B42F-1DA5CE4D59D2}" type="pres">
      <dgm:prSet presAssocID="{036E05A6-C120-4561-B918-9672EC4DF212}" presName="Name8" presStyleCnt="0"/>
      <dgm:spPr/>
    </dgm:pt>
    <dgm:pt modelId="{94C1C078-C725-4ABC-9144-4C7FEF361092}" type="pres">
      <dgm:prSet presAssocID="{036E05A6-C120-4561-B918-9672EC4DF212}" presName="level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1C9F37F-8B6F-483F-9666-26A7EC84E17D}" type="pres">
      <dgm:prSet presAssocID="{036E05A6-C120-4561-B918-9672EC4DF212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FBF09FB-A38A-44A4-B2F6-7CA0CD54E3F5}" type="pres">
      <dgm:prSet presAssocID="{116DCCD3-8980-4A14-A986-ADAA36F9D871}" presName="Name8" presStyleCnt="0"/>
      <dgm:spPr/>
    </dgm:pt>
    <dgm:pt modelId="{36DE7232-AC3E-478D-A42B-D2D23C532C73}" type="pres">
      <dgm:prSet presAssocID="{116DCCD3-8980-4A14-A986-ADAA36F9D871}" presName="level" presStyleLbl="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5588734-8CD6-434A-A72E-4D71A8E05D51}" type="pres">
      <dgm:prSet presAssocID="{116DCCD3-8980-4A14-A986-ADAA36F9D871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8BA50B0-ECF5-4922-9294-B81E13407B21}" type="pres">
      <dgm:prSet presAssocID="{358D9700-5E54-429B-99E5-321364A6C051}" presName="Name8" presStyleCnt="0"/>
      <dgm:spPr/>
    </dgm:pt>
    <dgm:pt modelId="{6DD9AFD6-85A3-4176-A6EC-F797AA86814C}" type="pres">
      <dgm:prSet presAssocID="{358D9700-5E54-429B-99E5-321364A6C051}" presName="level" presStyleLbl="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FCDD072-ED36-4EB6-AE37-82B0A30DEB5B}" type="pres">
      <dgm:prSet presAssocID="{358D9700-5E54-429B-99E5-321364A6C051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61E25887-5AFA-4BBA-B3E3-14F19BCECCC7}" type="presOf" srcId="{116DCCD3-8980-4A14-A986-ADAA36F9D871}" destId="{35588734-8CD6-434A-A72E-4D71A8E05D51}" srcOrd="1" destOrd="0" presId="urn:microsoft.com/office/officeart/2005/8/layout/pyramid1"/>
    <dgm:cxn modelId="{E4162A3A-810D-4193-9BD8-D008759540C1}" srcId="{3AFA1F7A-CEDA-4B92-B41E-81A5AF4D1C16}" destId="{116DCCD3-8980-4A14-A986-ADAA36F9D871}" srcOrd="1" destOrd="0" parTransId="{AC94EE97-4359-40A7-B929-13EB1E99C262}" sibTransId="{C2272F06-EF5D-4C38-8E71-4268BFEF288A}"/>
    <dgm:cxn modelId="{777EFD38-9CD1-4E5D-A06B-9D0C37E07B18}" type="presOf" srcId="{036E05A6-C120-4561-B918-9672EC4DF212}" destId="{94C1C078-C725-4ABC-9144-4C7FEF361092}" srcOrd="0" destOrd="0" presId="urn:microsoft.com/office/officeart/2005/8/layout/pyramid1"/>
    <dgm:cxn modelId="{89485277-06DE-4467-9FD3-87D91A714BA6}" type="presOf" srcId="{116DCCD3-8980-4A14-A986-ADAA36F9D871}" destId="{36DE7232-AC3E-478D-A42B-D2D23C532C73}" srcOrd="0" destOrd="0" presId="urn:microsoft.com/office/officeart/2005/8/layout/pyramid1"/>
    <dgm:cxn modelId="{68136D24-422B-486A-9EA1-3D460565ADE1}" type="presOf" srcId="{3AFA1F7A-CEDA-4B92-B41E-81A5AF4D1C16}" destId="{D73CE0FD-9835-4BB9-9041-24EE4118EC29}" srcOrd="0" destOrd="0" presId="urn:microsoft.com/office/officeart/2005/8/layout/pyramid1"/>
    <dgm:cxn modelId="{D4ECE9FA-0DFB-43A0-8981-52C496EB558D}" type="presOf" srcId="{036E05A6-C120-4561-B918-9672EC4DF212}" destId="{21C9F37F-8B6F-483F-9666-26A7EC84E17D}" srcOrd="1" destOrd="0" presId="urn:microsoft.com/office/officeart/2005/8/layout/pyramid1"/>
    <dgm:cxn modelId="{6E7FB6F6-6BEC-43A1-A508-159FF33CDFD3}" srcId="{3AFA1F7A-CEDA-4B92-B41E-81A5AF4D1C16}" destId="{358D9700-5E54-429B-99E5-321364A6C051}" srcOrd="2" destOrd="0" parTransId="{88377AD5-7DCE-4122-A9B4-179FF29D5107}" sibTransId="{BEC2A4D9-652D-4F8F-80A4-F617854C21CE}"/>
    <dgm:cxn modelId="{2103DA1B-6101-4788-8AB5-8B934BE1BB94}" type="presOf" srcId="{358D9700-5E54-429B-99E5-321364A6C051}" destId="{6DD9AFD6-85A3-4176-A6EC-F797AA86814C}" srcOrd="0" destOrd="0" presId="urn:microsoft.com/office/officeart/2005/8/layout/pyramid1"/>
    <dgm:cxn modelId="{6B2E71EE-0818-4FD9-B55B-F7397C83565A}" srcId="{3AFA1F7A-CEDA-4B92-B41E-81A5AF4D1C16}" destId="{036E05A6-C120-4561-B918-9672EC4DF212}" srcOrd="0" destOrd="0" parTransId="{54050488-FB99-4DFD-921F-BC7A2E7205D9}" sibTransId="{588A779F-B8A7-4620-8231-F2FEFD5F297E}"/>
    <dgm:cxn modelId="{4ABE8DB9-C288-4A0D-89F0-8BB8264F2EA5}" type="presOf" srcId="{358D9700-5E54-429B-99E5-321364A6C051}" destId="{EFCDD072-ED36-4EB6-AE37-82B0A30DEB5B}" srcOrd="1" destOrd="0" presId="urn:microsoft.com/office/officeart/2005/8/layout/pyramid1"/>
    <dgm:cxn modelId="{68619F51-1328-4EF2-9BE9-AC54815E1203}" type="presParOf" srcId="{D73CE0FD-9835-4BB9-9041-24EE4118EC29}" destId="{9AE5CF01-E2AE-49A2-B42F-1DA5CE4D59D2}" srcOrd="0" destOrd="0" presId="urn:microsoft.com/office/officeart/2005/8/layout/pyramid1"/>
    <dgm:cxn modelId="{1F520085-70C7-4027-8FD4-334213F81521}" type="presParOf" srcId="{9AE5CF01-E2AE-49A2-B42F-1DA5CE4D59D2}" destId="{94C1C078-C725-4ABC-9144-4C7FEF361092}" srcOrd="0" destOrd="0" presId="urn:microsoft.com/office/officeart/2005/8/layout/pyramid1"/>
    <dgm:cxn modelId="{C016AFBA-DFFD-44FA-B7C2-AAD0397C6BF1}" type="presParOf" srcId="{9AE5CF01-E2AE-49A2-B42F-1DA5CE4D59D2}" destId="{21C9F37F-8B6F-483F-9666-26A7EC84E17D}" srcOrd="1" destOrd="0" presId="urn:microsoft.com/office/officeart/2005/8/layout/pyramid1"/>
    <dgm:cxn modelId="{89C1A5BF-8C6E-43FB-BFF8-549AAF1161EF}" type="presParOf" srcId="{D73CE0FD-9835-4BB9-9041-24EE4118EC29}" destId="{BFBF09FB-A38A-44A4-B2F6-7CA0CD54E3F5}" srcOrd="1" destOrd="0" presId="urn:microsoft.com/office/officeart/2005/8/layout/pyramid1"/>
    <dgm:cxn modelId="{9EC2CDAA-3847-4A64-A214-CF138FB7313E}" type="presParOf" srcId="{BFBF09FB-A38A-44A4-B2F6-7CA0CD54E3F5}" destId="{36DE7232-AC3E-478D-A42B-D2D23C532C73}" srcOrd="0" destOrd="0" presId="urn:microsoft.com/office/officeart/2005/8/layout/pyramid1"/>
    <dgm:cxn modelId="{1C9AA9E0-65CB-4561-8C8C-F7B897DC582F}" type="presParOf" srcId="{BFBF09FB-A38A-44A4-B2F6-7CA0CD54E3F5}" destId="{35588734-8CD6-434A-A72E-4D71A8E05D51}" srcOrd="1" destOrd="0" presId="urn:microsoft.com/office/officeart/2005/8/layout/pyramid1"/>
    <dgm:cxn modelId="{E5629A2D-F9BE-4084-B7A0-6065103B1BA9}" type="presParOf" srcId="{D73CE0FD-9835-4BB9-9041-24EE4118EC29}" destId="{08BA50B0-ECF5-4922-9294-B81E13407B21}" srcOrd="2" destOrd="0" presId="urn:microsoft.com/office/officeart/2005/8/layout/pyramid1"/>
    <dgm:cxn modelId="{51ED76C7-A03E-4191-810E-117E6625C634}" type="presParOf" srcId="{08BA50B0-ECF5-4922-9294-B81E13407B21}" destId="{6DD9AFD6-85A3-4176-A6EC-F797AA86814C}" srcOrd="0" destOrd="0" presId="urn:microsoft.com/office/officeart/2005/8/layout/pyramid1"/>
    <dgm:cxn modelId="{0ACFE2EE-EF05-45D7-8F75-491E627FDD1B}" type="presParOf" srcId="{08BA50B0-ECF5-4922-9294-B81E13407B21}" destId="{EFCDD072-ED36-4EB6-AE37-82B0A30DEB5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3AFA1F7A-CEDA-4B92-B41E-81A5AF4D1C16}" type="doc">
      <dgm:prSet loTypeId="urn:microsoft.com/office/officeart/2005/8/layout/pyramid1" loCatId="pyramid" qsTypeId="urn:microsoft.com/office/officeart/2005/8/quickstyle/simple1" qsCatId="simple" csTypeId="urn:microsoft.com/office/officeart/2005/8/colors/accent1_2" csCatId="accent1" phldr="1"/>
      <dgm:spPr/>
    </dgm:pt>
    <dgm:pt modelId="{036E05A6-C120-4561-B918-9672EC4DF212}">
      <dgm:prSet phldrT="[Text]" phldr="1" custT="1"/>
      <dgm:spPr>
        <a:solidFill>
          <a:schemeClr val="accent6">
            <a:lumMod val="10000"/>
            <a:lumOff val="90000"/>
          </a:schemeClr>
        </a:solidFill>
      </dgm:spPr>
      <dgm:t>
        <a:bodyPr/>
        <a:lstStyle/>
        <a:p>
          <a:endParaRPr lang="en-IN" sz="1600" b="1" dirty="0"/>
        </a:p>
      </dgm:t>
    </dgm:pt>
    <dgm:pt modelId="{54050488-FB99-4DFD-921F-BC7A2E7205D9}" type="parTrans" cxnId="{6B2E71EE-0818-4FD9-B55B-F7397C83565A}">
      <dgm:prSet/>
      <dgm:spPr/>
      <dgm:t>
        <a:bodyPr/>
        <a:lstStyle/>
        <a:p>
          <a:endParaRPr lang="en-IN" sz="1800"/>
        </a:p>
      </dgm:t>
    </dgm:pt>
    <dgm:pt modelId="{588A779F-B8A7-4620-8231-F2FEFD5F297E}" type="sibTrans" cxnId="{6B2E71EE-0818-4FD9-B55B-F7397C83565A}">
      <dgm:prSet/>
      <dgm:spPr/>
      <dgm:t>
        <a:bodyPr/>
        <a:lstStyle/>
        <a:p>
          <a:endParaRPr lang="en-IN" sz="1800"/>
        </a:p>
      </dgm:t>
    </dgm:pt>
    <dgm:pt modelId="{116DCCD3-8980-4A14-A986-ADAA36F9D871}">
      <dgm:prSet phldrT="[Text]" phldr="1" custT="1"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endParaRPr lang="en-IN" sz="1600" b="1" dirty="0"/>
        </a:p>
      </dgm:t>
    </dgm:pt>
    <dgm:pt modelId="{AC94EE97-4359-40A7-B929-13EB1E99C262}" type="parTrans" cxnId="{E4162A3A-810D-4193-9BD8-D008759540C1}">
      <dgm:prSet/>
      <dgm:spPr/>
      <dgm:t>
        <a:bodyPr/>
        <a:lstStyle/>
        <a:p>
          <a:endParaRPr lang="en-IN" sz="1800"/>
        </a:p>
      </dgm:t>
    </dgm:pt>
    <dgm:pt modelId="{C2272F06-EF5D-4C38-8E71-4268BFEF288A}" type="sibTrans" cxnId="{E4162A3A-810D-4193-9BD8-D008759540C1}">
      <dgm:prSet/>
      <dgm:spPr/>
      <dgm:t>
        <a:bodyPr/>
        <a:lstStyle/>
        <a:p>
          <a:endParaRPr lang="en-IN" sz="1800"/>
        </a:p>
      </dgm:t>
    </dgm:pt>
    <dgm:pt modelId="{358D9700-5E54-429B-99E5-321364A6C051}">
      <dgm:prSet phldrT="[Text]" phldr="1" custT="1"/>
      <dgm:spPr>
        <a:solidFill>
          <a:schemeClr val="tx2">
            <a:lumMod val="50000"/>
          </a:schemeClr>
        </a:solidFill>
      </dgm:spPr>
      <dgm:t>
        <a:bodyPr/>
        <a:lstStyle/>
        <a:p>
          <a:endParaRPr lang="en-IN" sz="1600" b="1" dirty="0"/>
        </a:p>
      </dgm:t>
    </dgm:pt>
    <dgm:pt modelId="{88377AD5-7DCE-4122-A9B4-179FF29D5107}" type="parTrans" cxnId="{6E7FB6F6-6BEC-43A1-A508-159FF33CDFD3}">
      <dgm:prSet/>
      <dgm:spPr/>
      <dgm:t>
        <a:bodyPr/>
        <a:lstStyle/>
        <a:p>
          <a:endParaRPr lang="en-IN" sz="1800"/>
        </a:p>
      </dgm:t>
    </dgm:pt>
    <dgm:pt modelId="{BEC2A4D9-652D-4F8F-80A4-F617854C21CE}" type="sibTrans" cxnId="{6E7FB6F6-6BEC-43A1-A508-159FF33CDFD3}">
      <dgm:prSet/>
      <dgm:spPr/>
      <dgm:t>
        <a:bodyPr/>
        <a:lstStyle/>
        <a:p>
          <a:endParaRPr lang="en-IN" sz="1800"/>
        </a:p>
      </dgm:t>
    </dgm:pt>
    <dgm:pt modelId="{D73CE0FD-9835-4BB9-9041-24EE4118EC29}" type="pres">
      <dgm:prSet presAssocID="{3AFA1F7A-CEDA-4B92-B41E-81A5AF4D1C16}" presName="Name0" presStyleCnt="0">
        <dgm:presLayoutVars>
          <dgm:dir/>
          <dgm:animLvl val="lvl"/>
          <dgm:resizeHandles val="exact"/>
        </dgm:presLayoutVars>
      </dgm:prSet>
      <dgm:spPr/>
    </dgm:pt>
    <dgm:pt modelId="{9AE5CF01-E2AE-49A2-B42F-1DA5CE4D59D2}" type="pres">
      <dgm:prSet presAssocID="{036E05A6-C120-4561-B918-9672EC4DF212}" presName="Name8" presStyleCnt="0"/>
      <dgm:spPr/>
    </dgm:pt>
    <dgm:pt modelId="{94C1C078-C725-4ABC-9144-4C7FEF361092}" type="pres">
      <dgm:prSet presAssocID="{036E05A6-C120-4561-B918-9672EC4DF212}" presName="level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1C9F37F-8B6F-483F-9666-26A7EC84E17D}" type="pres">
      <dgm:prSet presAssocID="{036E05A6-C120-4561-B918-9672EC4DF212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FBF09FB-A38A-44A4-B2F6-7CA0CD54E3F5}" type="pres">
      <dgm:prSet presAssocID="{116DCCD3-8980-4A14-A986-ADAA36F9D871}" presName="Name8" presStyleCnt="0"/>
      <dgm:spPr/>
    </dgm:pt>
    <dgm:pt modelId="{36DE7232-AC3E-478D-A42B-D2D23C532C73}" type="pres">
      <dgm:prSet presAssocID="{116DCCD3-8980-4A14-A986-ADAA36F9D871}" presName="level" presStyleLbl="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5588734-8CD6-434A-A72E-4D71A8E05D51}" type="pres">
      <dgm:prSet presAssocID="{116DCCD3-8980-4A14-A986-ADAA36F9D871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8BA50B0-ECF5-4922-9294-B81E13407B21}" type="pres">
      <dgm:prSet presAssocID="{358D9700-5E54-429B-99E5-321364A6C051}" presName="Name8" presStyleCnt="0"/>
      <dgm:spPr/>
    </dgm:pt>
    <dgm:pt modelId="{6DD9AFD6-85A3-4176-A6EC-F797AA86814C}" type="pres">
      <dgm:prSet presAssocID="{358D9700-5E54-429B-99E5-321364A6C051}" presName="level" presStyleLbl="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FCDD072-ED36-4EB6-AE37-82B0A30DEB5B}" type="pres">
      <dgm:prSet presAssocID="{358D9700-5E54-429B-99E5-321364A6C051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237BF886-B8BB-4048-8333-1438D16264C1}" type="presOf" srcId="{358D9700-5E54-429B-99E5-321364A6C051}" destId="{EFCDD072-ED36-4EB6-AE37-82B0A30DEB5B}" srcOrd="1" destOrd="0" presId="urn:microsoft.com/office/officeart/2005/8/layout/pyramid1"/>
    <dgm:cxn modelId="{F9D19829-B212-46C4-80F2-BFCDFCA1FBCA}" type="presOf" srcId="{358D9700-5E54-429B-99E5-321364A6C051}" destId="{6DD9AFD6-85A3-4176-A6EC-F797AA86814C}" srcOrd="0" destOrd="0" presId="urn:microsoft.com/office/officeart/2005/8/layout/pyramid1"/>
    <dgm:cxn modelId="{79B104C5-B4DE-48FB-B85B-7BD44EFE45BE}" type="presOf" srcId="{036E05A6-C120-4561-B918-9672EC4DF212}" destId="{21C9F37F-8B6F-483F-9666-26A7EC84E17D}" srcOrd="1" destOrd="0" presId="urn:microsoft.com/office/officeart/2005/8/layout/pyramid1"/>
    <dgm:cxn modelId="{6B2E71EE-0818-4FD9-B55B-F7397C83565A}" srcId="{3AFA1F7A-CEDA-4B92-B41E-81A5AF4D1C16}" destId="{036E05A6-C120-4561-B918-9672EC4DF212}" srcOrd="0" destOrd="0" parTransId="{54050488-FB99-4DFD-921F-BC7A2E7205D9}" sibTransId="{588A779F-B8A7-4620-8231-F2FEFD5F297E}"/>
    <dgm:cxn modelId="{D4DE0A67-A1E1-4DA1-9881-A342D4FE76A3}" type="presOf" srcId="{036E05A6-C120-4561-B918-9672EC4DF212}" destId="{94C1C078-C725-4ABC-9144-4C7FEF361092}" srcOrd="0" destOrd="0" presId="urn:microsoft.com/office/officeart/2005/8/layout/pyramid1"/>
    <dgm:cxn modelId="{6E7FB6F6-6BEC-43A1-A508-159FF33CDFD3}" srcId="{3AFA1F7A-CEDA-4B92-B41E-81A5AF4D1C16}" destId="{358D9700-5E54-429B-99E5-321364A6C051}" srcOrd="2" destOrd="0" parTransId="{88377AD5-7DCE-4122-A9B4-179FF29D5107}" sibTransId="{BEC2A4D9-652D-4F8F-80A4-F617854C21CE}"/>
    <dgm:cxn modelId="{04982DF5-27DE-433F-8C6F-0C03E3F594B4}" type="presOf" srcId="{116DCCD3-8980-4A14-A986-ADAA36F9D871}" destId="{36DE7232-AC3E-478D-A42B-D2D23C532C73}" srcOrd="0" destOrd="0" presId="urn:microsoft.com/office/officeart/2005/8/layout/pyramid1"/>
    <dgm:cxn modelId="{D549EEA7-8ED9-4519-A761-2D68B718D631}" type="presOf" srcId="{3AFA1F7A-CEDA-4B92-B41E-81A5AF4D1C16}" destId="{D73CE0FD-9835-4BB9-9041-24EE4118EC29}" srcOrd="0" destOrd="0" presId="urn:microsoft.com/office/officeart/2005/8/layout/pyramid1"/>
    <dgm:cxn modelId="{72D025CC-227D-4E83-8332-E4073A92951E}" type="presOf" srcId="{116DCCD3-8980-4A14-A986-ADAA36F9D871}" destId="{35588734-8CD6-434A-A72E-4D71A8E05D51}" srcOrd="1" destOrd="0" presId="urn:microsoft.com/office/officeart/2005/8/layout/pyramid1"/>
    <dgm:cxn modelId="{E4162A3A-810D-4193-9BD8-D008759540C1}" srcId="{3AFA1F7A-CEDA-4B92-B41E-81A5AF4D1C16}" destId="{116DCCD3-8980-4A14-A986-ADAA36F9D871}" srcOrd="1" destOrd="0" parTransId="{AC94EE97-4359-40A7-B929-13EB1E99C262}" sibTransId="{C2272F06-EF5D-4C38-8E71-4268BFEF288A}"/>
    <dgm:cxn modelId="{3337B6E4-4583-495E-98A4-4FA01820F723}" type="presParOf" srcId="{D73CE0FD-9835-4BB9-9041-24EE4118EC29}" destId="{9AE5CF01-E2AE-49A2-B42F-1DA5CE4D59D2}" srcOrd="0" destOrd="0" presId="urn:microsoft.com/office/officeart/2005/8/layout/pyramid1"/>
    <dgm:cxn modelId="{FB6C8373-4B16-4270-BB91-C9C914AA646B}" type="presParOf" srcId="{9AE5CF01-E2AE-49A2-B42F-1DA5CE4D59D2}" destId="{94C1C078-C725-4ABC-9144-4C7FEF361092}" srcOrd="0" destOrd="0" presId="urn:microsoft.com/office/officeart/2005/8/layout/pyramid1"/>
    <dgm:cxn modelId="{C50DD622-E9C6-477A-BD65-B20D193EB16B}" type="presParOf" srcId="{9AE5CF01-E2AE-49A2-B42F-1DA5CE4D59D2}" destId="{21C9F37F-8B6F-483F-9666-26A7EC84E17D}" srcOrd="1" destOrd="0" presId="urn:microsoft.com/office/officeart/2005/8/layout/pyramid1"/>
    <dgm:cxn modelId="{C11C27AE-034D-4DB3-AFB2-BE88D64169F2}" type="presParOf" srcId="{D73CE0FD-9835-4BB9-9041-24EE4118EC29}" destId="{BFBF09FB-A38A-44A4-B2F6-7CA0CD54E3F5}" srcOrd="1" destOrd="0" presId="urn:microsoft.com/office/officeart/2005/8/layout/pyramid1"/>
    <dgm:cxn modelId="{30590FB0-48E5-4127-A481-9BF546DC27E5}" type="presParOf" srcId="{BFBF09FB-A38A-44A4-B2F6-7CA0CD54E3F5}" destId="{36DE7232-AC3E-478D-A42B-D2D23C532C73}" srcOrd="0" destOrd="0" presId="urn:microsoft.com/office/officeart/2005/8/layout/pyramid1"/>
    <dgm:cxn modelId="{1764ED6B-81D7-487D-982D-0C69FAD3FD1A}" type="presParOf" srcId="{BFBF09FB-A38A-44A4-B2F6-7CA0CD54E3F5}" destId="{35588734-8CD6-434A-A72E-4D71A8E05D51}" srcOrd="1" destOrd="0" presId="urn:microsoft.com/office/officeart/2005/8/layout/pyramid1"/>
    <dgm:cxn modelId="{B4923F04-D28E-48D2-A4EB-9F3F9C16080D}" type="presParOf" srcId="{D73CE0FD-9835-4BB9-9041-24EE4118EC29}" destId="{08BA50B0-ECF5-4922-9294-B81E13407B21}" srcOrd="2" destOrd="0" presId="urn:microsoft.com/office/officeart/2005/8/layout/pyramid1"/>
    <dgm:cxn modelId="{B7AB69AF-AA18-4277-A1BF-846547EE0986}" type="presParOf" srcId="{08BA50B0-ECF5-4922-9294-B81E13407B21}" destId="{6DD9AFD6-85A3-4176-A6EC-F797AA86814C}" srcOrd="0" destOrd="0" presId="urn:microsoft.com/office/officeart/2005/8/layout/pyramid1"/>
    <dgm:cxn modelId="{E8326ED9-28D5-4CFB-94D6-C5D011C4CE7F}" type="presParOf" srcId="{08BA50B0-ECF5-4922-9294-B81E13407B21}" destId="{EFCDD072-ED36-4EB6-AE37-82B0A30DEB5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4C1C078-C725-4ABC-9144-4C7FEF361092}">
      <dsp:nvSpPr>
        <dsp:cNvPr id="0" name=""/>
        <dsp:cNvSpPr/>
      </dsp:nvSpPr>
      <dsp:spPr>
        <a:xfrm>
          <a:off x="2581632" y="0"/>
          <a:ext cx="2581632" cy="1871870"/>
        </a:xfrm>
        <a:prstGeom prst="trapezoid">
          <a:avLst>
            <a:gd name="adj" fmla="val 68959"/>
          </a:avLst>
        </a:prstGeom>
        <a:solidFill>
          <a:schemeClr val="accent6">
            <a:lumMod val="10000"/>
            <a:lumOff val="9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IN" sz="1600" b="1" kern="1200" dirty="0"/>
        </a:p>
      </dsp:txBody>
      <dsp:txXfrm>
        <a:off x="2581632" y="0"/>
        <a:ext cx="2581632" cy="1871870"/>
      </dsp:txXfrm>
    </dsp:sp>
    <dsp:sp modelId="{36DE7232-AC3E-478D-A42B-D2D23C532C73}">
      <dsp:nvSpPr>
        <dsp:cNvPr id="0" name=""/>
        <dsp:cNvSpPr/>
      </dsp:nvSpPr>
      <dsp:spPr>
        <a:xfrm>
          <a:off x="1290816" y="1871870"/>
          <a:ext cx="5163264" cy="1871870"/>
        </a:xfrm>
        <a:prstGeom prst="trapezoid">
          <a:avLst>
            <a:gd name="adj" fmla="val 68959"/>
          </a:avLst>
        </a:prstGeom>
        <a:solidFill>
          <a:schemeClr val="tx2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IN" sz="1600" b="1" kern="1200" dirty="0"/>
        </a:p>
      </dsp:txBody>
      <dsp:txXfrm>
        <a:off x="2194387" y="1871870"/>
        <a:ext cx="3356122" cy="1871870"/>
      </dsp:txXfrm>
    </dsp:sp>
    <dsp:sp modelId="{6DD9AFD6-85A3-4176-A6EC-F797AA86814C}">
      <dsp:nvSpPr>
        <dsp:cNvPr id="0" name=""/>
        <dsp:cNvSpPr/>
      </dsp:nvSpPr>
      <dsp:spPr>
        <a:xfrm>
          <a:off x="0" y="3743740"/>
          <a:ext cx="7744897" cy="1871870"/>
        </a:xfrm>
        <a:prstGeom prst="trapezoid">
          <a:avLst>
            <a:gd name="adj" fmla="val 68959"/>
          </a:avLst>
        </a:prstGeom>
        <a:solidFill>
          <a:schemeClr val="tx2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IN" sz="1600" b="1" kern="1200" dirty="0"/>
        </a:p>
      </dsp:txBody>
      <dsp:txXfrm>
        <a:off x="1355356" y="3743740"/>
        <a:ext cx="5034183" cy="187187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4C1C078-C725-4ABC-9144-4C7FEF361092}">
      <dsp:nvSpPr>
        <dsp:cNvPr id="0" name=""/>
        <dsp:cNvSpPr/>
      </dsp:nvSpPr>
      <dsp:spPr>
        <a:xfrm>
          <a:off x="2581631" y="0"/>
          <a:ext cx="2581632" cy="1871870"/>
        </a:xfrm>
        <a:prstGeom prst="trapezoid">
          <a:avLst>
            <a:gd name="adj" fmla="val 68959"/>
          </a:avLst>
        </a:prstGeom>
        <a:solidFill>
          <a:schemeClr val="accent6">
            <a:lumMod val="10000"/>
            <a:lumOff val="9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IN" sz="1600" b="1" kern="1200" dirty="0"/>
        </a:p>
      </dsp:txBody>
      <dsp:txXfrm>
        <a:off x="2581631" y="0"/>
        <a:ext cx="2581632" cy="1871870"/>
      </dsp:txXfrm>
    </dsp:sp>
    <dsp:sp modelId="{36DE7232-AC3E-478D-A42B-D2D23C532C73}">
      <dsp:nvSpPr>
        <dsp:cNvPr id="0" name=""/>
        <dsp:cNvSpPr/>
      </dsp:nvSpPr>
      <dsp:spPr>
        <a:xfrm>
          <a:off x="1290815" y="1871870"/>
          <a:ext cx="5163264" cy="1871870"/>
        </a:xfrm>
        <a:prstGeom prst="trapezoid">
          <a:avLst>
            <a:gd name="adj" fmla="val 68959"/>
          </a:avLst>
        </a:prstGeom>
        <a:solidFill>
          <a:schemeClr val="tx2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IN" sz="1600" b="1" kern="1200" dirty="0"/>
        </a:p>
      </dsp:txBody>
      <dsp:txXfrm>
        <a:off x="2194387" y="1871870"/>
        <a:ext cx="3356121" cy="1871870"/>
      </dsp:txXfrm>
    </dsp:sp>
    <dsp:sp modelId="{6DD9AFD6-85A3-4176-A6EC-F797AA86814C}">
      <dsp:nvSpPr>
        <dsp:cNvPr id="0" name=""/>
        <dsp:cNvSpPr/>
      </dsp:nvSpPr>
      <dsp:spPr>
        <a:xfrm>
          <a:off x="0" y="3743740"/>
          <a:ext cx="7744896" cy="1871870"/>
        </a:xfrm>
        <a:prstGeom prst="trapezoid">
          <a:avLst>
            <a:gd name="adj" fmla="val 68959"/>
          </a:avLst>
        </a:prstGeom>
        <a:solidFill>
          <a:schemeClr val="tx2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IN" sz="1600" b="1" kern="1200" dirty="0"/>
        </a:p>
      </dsp:txBody>
      <dsp:txXfrm>
        <a:off x="1355356" y="3743740"/>
        <a:ext cx="5034182" cy="187187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4C1C078-C725-4ABC-9144-4C7FEF361092}">
      <dsp:nvSpPr>
        <dsp:cNvPr id="0" name=""/>
        <dsp:cNvSpPr/>
      </dsp:nvSpPr>
      <dsp:spPr>
        <a:xfrm>
          <a:off x="2581632" y="0"/>
          <a:ext cx="2581632" cy="1871870"/>
        </a:xfrm>
        <a:prstGeom prst="trapezoid">
          <a:avLst>
            <a:gd name="adj" fmla="val 68959"/>
          </a:avLst>
        </a:prstGeom>
        <a:solidFill>
          <a:schemeClr val="accent6">
            <a:lumMod val="10000"/>
            <a:lumOff val="9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IN" sz="1600" b="1" kern="1200" dirty="0"/>
        </a:p>
      </dsp:txBody>
      <dsp:txXfrm>
        <a:off x="2581632" y="0"/>
        <a:ext cx="2581632" cy="1871870"/>
      </dsp:txXfrm>
    </dsp:sp>
    <dsp:sp modelId="{36DE7232-AC3E-478D-A42B-D2D23C532C73}">
      <dsp:nvSpPr>
        <dsp:cNvPr id="0" name=""/>
        <dsp:cNvSpPr/>
      </dsp:nvSpPr>
      <dsp:spPr>
        <a:xfrm>
          <a:off x="1290816" y="1871870"/>
          <a:ext cx="5163264" cy="1871870"/>
        </a:xfrm>
        <a:prstGeom prst="trapezoid">
          <a:avLst>
            <a:gd name="adj" fmla="val 68959"/>
          </a:avLst>
        </a:prstGeom>
        <a:solidFill>
          <a:schemeClr val="tx2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IN" sz="1600" b="1" kern="1200" dirty="0"/>
        </a:p>
      </dsp:txBody>
      <dsp:txXfrm>
        <a:off x="2194387" y="1871870"/>
        <a:ext cx="3356122" cy="1871870"/>
      </dsp:txXfrm>
    </dsp:sp>
    <dsp:sp modelId="{6DD9AFD6-85A3-4176-A6EC-F797AA86814C}">
      <dsp:nvSpPr>
        <dsp:cNvPr id="0" name=""/>
        <dsp:cNvSpPr/>
      </dsp:nvSpPr>
      <dsp:spPr>
        <a:xfrm>
          <a:off x="0" y="3743740"/>
          <a:ext cx="7744897" cy="1871870"/>
        </a:xfrm>
        <a:prstGeom prst="trapezoid">
          <a:avLst>
            <a:gd name="adj" fmla="val 68959"/>
          </a:avLst>
        </a:prstGeom>
        <a:solidFill>
          <a:schemeClr val="tx2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IN" sz="1600" b="1" kern="1200" dirty="0"/>
        </a:p>
      </dsp:txBody>
      <dsp:txXfrm>
        <a:off x="1355356" y="3743740"/>
        <a:ext cx="5034183" cy="187187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4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5731" cy="4988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355" tIns="48177" rIns="96355" bIns="48177" numCol="1" anchor="t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23449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90208" y="0"/>
            <a:ext cx="2974094" cy="4988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355" tIns="48177" rIns="96355" bIns="48177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23450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97611"/>
            <a:ext cx="2975731" cy="4988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355" tIns="48177" rIns="96355" bIns="48177" numCol="1" anchor="b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23450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90208" y="9497611"/>
            <a:ext cx="2974094" cy="4988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355" tIns="48177" rIns="96355" bIns="48177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C17C0EFF-F61F-4307-A161-AAA4C2E94E20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8075218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5731" cy="4988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355" tIns="48177" rIns="96355" bIns="48177" numCol="1" anchor="t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90208" y="0"/>
            <a:ext cx="2974094" cy="4988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355" tIns="48177" rIns="96355" bIns="48177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4506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01600" y="750888"/>
            <a:ext cx="6662738" cy="37480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7085" y="4748806"/>
            <a:ext cx="5491769" cy="4497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355" tIns="48177" rIns="96355" bIns="4817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NL" noProof="0"/>
              <a:t>Klik om de opmaakprofielen van de modeltekst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97611"/>
            <a:ext cx="2975731" cy="4988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355" tIns="48177" rIns="96355" bIns="48177" numCol="1" anchor="b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90208" y="9497611"/>
            <a:ext cx="2974094" cy="4988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355" tIns="48177" rIns="96355" bIns="48177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5E7A4B6D-5358-4FE3-AEEB-776CE4AA0901}" type="slidenum">
              <a:rPr lang="nl-NL"/>
              <a:pPr>
                <a:defRPr/>
              </a:pPr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98314974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558" kern="1200">
        <a:solidFill>
          <a:schemeClr val="tx1"/>
        </a:solidFill>
        <a:latin typeface="Arial" charset="0"/>
        <a:ea typeface="+mn-ea"/>
        <a:cs typeface="Arial" charset="0"/>
      </a:defRPr>
    </a:lvl1pPr>
    <a:lvl2pPr marL="592970" algn="l" rtl="0" eaLnBrk="0" fontAlgn="base" hangingPunct="0">
      <a:spcBef>
        <a:spcPct val="30000"/>
      </a:spcBef>
      <a:spcAft>
        <a:spcPct val="0"/>
      </a:spcAft>
      <a:defRPr sz="1558" kern="1200">
        <a:solidFill>
          <a:schemeClr val="tx1"/>
        </a:solidFill>
        <a:latin typeface="Arial" charset="0"/>
        <a:ea typeface="+mn-ea"/>
        <a:cs typeface="Arial" charset="0"/>
      </a:defRPr>
    </a:lvl2pPr>
    <a:lvl3pPr marL="1185939" algn="l" rtl="0" eaLnBrk="0" fontAlgn="base" hangingPunct="0">
      <a:spcBef>
        <a:spcPct val="30000"/>
      </a:spcBef>
      <a:spcAft>
        <a:spcPct val="0"/>
      </a:spcAft>
      <a:defRPr sz="1558" kern="1200">
        <a:solidFill>
          <a:schemeClr val="tx1"/>
        </a:solidFill>
        <a:latin typeface="Arial" charset="0"/>
        <a:ea typeface="+mn-ea"/>
        <a:cs typeface="Arial" charset="0"/>
      </a:defRPr>
    </a:lvl3pPr>
    <a:lvl4pPr marL="1778909" algn="l" rtl="0" eaLnBrk="0" fontAlgn="base" hangingPunct="0">
      <a:spcBef>
        <a:spcPct val="30000"/>
      </a:spcBef>
      <a:spcAft>
        <a:spcPct val="0"/>
      </a:spcAft>
      <a:defRPr sz="1558" kern="1200">
        <a:solidFill>
          <a:schemeClr val="tx1"/>
        </a:solidFill>
        <a:latin typeface="Arial" charset="0"/>
        <a:ea typeface="+mn-ea"/>
        <a:cs typeface="Arial" charset="0"/>
      </a:defRPr>
    </a:lvl4pPr>
    <a:lvl5pPr marL="2371878" algn="l" rtl="0" eaLnBrk="0" fontAlgn="base" hangingPunct="0">
      <a:spcBef>
        <a:spcPct val="30000"/>
      </a:spcBef>
      <a:spcAft>
        <a:spcPct val="0"/>
      </a:spcAft>
      <a:defRPr sz="1558" kern="1200">
        <a:solidFill>
          <a:schemeClr val="tx1"/>
        </a:solidFill>
        <a:latin typeface="Arial" charset="0"/>
        <a:ea typeface="+mn-ea"/>
        <a:cs typeface="Arial" charset="0"/>
      </a:defRPr>
    </a:lvl5pPr>
    <a:lvl6pPr marL="2964847" algn="l" defTabSz="1185939" rtl="0" eaLnBrk="1" latinLnBrk="0" hangingPunct="1">
      <a:defRPr sz="1558" kern="1200">
        <a:solidFill>
          <a:schemeClr val="tx1"/>
        </a:solidFill>
        <a:latin typeface="+mn-lt"/>
        <a:ea typeface="+mn-ea"/>
        <a:cs typeface="+mn-cs"/>
      </a:defRPr>
    </a:lvl6pPr>
    <a:lvl7pPr marL="3557818" algn="l" defTabSz="1185939" rtl="0" eaLnBrk="1" latinLnBrk="0" hangingPunct="1">
      <a:defRPr sz="1558" kern="1200">
        <a:solidFill>
          <a:schemeClr val="tx1"/>
        </a:solidFill>
        <a:latin typeface="+mn-lt"/>
        <a:ea typeface="+mn-ea"/>
        <a:cs typeface="+mn-cs"/>
      </a:defRPr>
    </a:lvl7pPr>
    <a:lvl8pPr marL="4150788" algn="l" defTabSz="1185939" rtl="0" eaLnBrk="1" latinLnBrk="0" hangingPunct="1">
      <a:defRPr sz="1558" kern="1200">
        <a:solidFill>
          <a:schemeClr val="tx1"/>
        </a:solidFill>
        <a:latin typeface="+mn-lt"/>
        <a:ea typeface="+mn-ea"/>
        <a:cs typeface="+mn-cs"/>
      </a:defRPr>
    </a:lvl8pPr>
    <a:lvl9pPr marL="4743757" algn="l" defTabSz="1185939" rtl="0" eaLnBrk="1" latinLnBrk="0" hangingPunct="1">
      <a:defRPr sz="1558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7A4B6D-5358-4FE3-AEEB-776CE4AA0901}" type="slidenum">
              <a:rPr lang="nl-NL" smtClean="0"/>
              <a:pPr>
                <a:defRPr/>
              </a:pPr>
              <a:t>7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0876114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4.xml"/><Relationship Id="rId7" Type="http://schemas.openxmlformats.org/officeDocument/2006/relationships/image" Target="../media/image4.tif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slideMaster" Target="../slideMasters/slideMaster8.xml"/><Relationship Id="rId5" Type="http://schemas.openxmlformats.org/officeDocument/2006/relationships/tags" Target="../tags/tag61.xml"/><Relationship Id="rId4" Type="http://schemas.openxmlformats.org/officeDocument/2006/relationships/tags" Target="../tags/tag60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Master" Target="../slideMasters/slideMaster8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12.jpeg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3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12.jpeg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66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1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68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0.bin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2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70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2.bin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7.png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5" Type="http://schemas.openxmlformats.org/officeDocument/2006/relationships/tags" Target="../tags/tag23.xml"/><Relationship Id="rId4" Type="http://schemas.openxmlformats.org/officeDocument/2006/relationships/tags" Target="../tags/tag2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29.xml"/><Relationship Id="rId4" Type="http://schemas.openxmlformats.org/officeDocument/2006/relationships/tags" Target="../tags/tag28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Master" Target="../slideMasters/slideMaster5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slideMaster" Target="../slideMasters/slideMaster6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tags" Target="../tags/tag36.xml"/><Relationship Id="rId5" Type="http://schemas.openxmlformats.org/officeDocument/2006/relationships/tags" Target="../tags/tag35.xml"/><Relationship Id="rId4" Type="http://schemas.openxmlformats.org/officeDocument/2006/relationships/tags" Target="../tags/tag34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slideMaster" Target="../slideMasters/slideMaster6.xml"/><Relationship Id="rId5" Type="http://schemas.openxmlformats.org/officeDocument/2006/relationships/tags" Target="../tags/tag41.xml"/><Relationship Id="rId4" Type="http://schemas.openxmlformats.org/officeDocument/2006/relationships/tags" Target="../tags/tag40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Master" Target="../slideMasters/slideMaster6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slideMaster" Target="../slideMasters/slideMaster8.xml"/><Relationship Id="rId5" Type="http://schemas.openxmlformats.org/officeDocument/2006/relationships/tags" Target="../tags/tag50.xml"/><Relationship Id="rId4" Type="http://schemas.openxmlformats.org/officeDocument/2006/relationships/tags" Target="../tags/tag49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7" Type="http://schemas.openxmlformats.org/officeDocument/2006/relationships/slideMaster" Target="../slideMasters/slideMaster8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tags" Target="../tags/tag56.xml"/><Relationship Id="rId5" Type="http://schemas.openxmlformats.org/officeDocument/2006/relationships/tags" Target="../tags/tag55.xml"/><Relationship Id="rId4" Type="http://schemas.openxmlformats.org/officeDocument/2006/relationships/tags" Target="../tags/tag5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618AF43-2008-4D7C-8B2B-147F04A996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6716152"/>
              </p:ext>
            </p:extLst>
          </p:nvPr>
        </p:nvGraphicFramePr>
        <p:xfrm>
          <a:off x="2231" y="1903"/>
          <a:ext cx="2228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618AF43-2008-4D7C-8B2B-147F04A996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231" y="1903"/>
                        <a:ext cx="2228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427F50C-2627-4CBC-AEDE-9CE89AE573BD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222786" cy="190302"/>
          </a:xfrm>
          <a:prstGeom prst="rect">
            <a:avLst/>
          </a:prstGeom>
          <a:solidFill>
            <a:schemeClr val="accent1"/>
          </a:solidFill>
          <a:ln w="19050" cap="flat" cmpd="sng" algn="ctr">
            <a:solidFill>
              <a:srgbClr val="808080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8319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4911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39363D38-79EB-4967-BAB3-AD0D96B1E259}"/>
              </a:ext>
            </a:extLst>
          </p:cNvPr>
          <p:cNvSpPr/>
          <p:nvPr userDrawn="1"/>
        </p:nvSpPr>
        <p:spPr>
          <a:xfrm>
            <a:off x="508614" y="941319"/>
            <a:ext cx="3533528" cy="51401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eaLnBrk="1"/>
            <a:endParaRPr lang="en-GB" sz="2072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EC9FFF2-9A48-4430-B3D1-FE974C13963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1132115"/>
            <a:ext cx="17109951" cy="7102874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4B25716C-F175-419E-BC25-8274948F10DE}"/>
              </a:ext>
            </a:extLst>
          </p:cNvPr>
          <p:cNvGrpSpPr/>
          <p:nvPr userDrawn="1"/>
        </p:nvGrpSpPr>
        <p:grpSpPr>
          <a:xfrm>
            <a:off x="2" y="0"/>
            <a:ext cx="17109951" cy="2367358"/>
            <a:chOff x="0" y="0"/>
            <a:chExt cx="9906000" cy="1974850"/>
          </a:xfrm>
        </p:grpSpPr>
        <p:pic>
          <p:nvPicPr>
            <p:cNvPr id="7" name="Picture 10" descr="PP header wit met logo's">
              <a:extLst>
                <a:ext uri="{FF2B5EF4-FFF2-40B4-BE49-F238E27FC236}">
                  <a16:creationId xmlns:a16="http://schemas.microsoft.com/office/drawing/2014/main" id="{1BC3C38F-CD68-431B-A790-C755168D054D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0"/>
              <a:ext cx="9906000" cy="1974850"/>
            </a:xfrm>
            <a:prstGeom prst="rect">
              <a:avLst/>
            </a:prstGeom>
            <a:noFill/>
          </p:spPr>
        </p:pic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F65F949E-B5D4-410E-A08F-7A9C4923CB61}"/>
                </a:ext>
              </a:extLst>
            </p:cNvPr>
            <p:cNvSpPr/>
            <p:nvPr userDrawn="1"/>
          </p:nvSpPr>
          <p:spPr>
            <a:xfrm>
              <a:off x="8508569" y="330631"/>
              <a:ext cx="1084882" cy="883403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 eaLnBrk="1"/>
              <a:endParaRPr lang="en-GB" sz="2072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900E3870-5A82-48EE-AFE5-54E6305EC228}"/>
                </a:ext>
              </a:extLst>
            </p:cNvPr>
            <p:cNvSpPr/>
            <p:nvPr userDrawn="1"/>
          </p:nvSpPr>
          <p:spPr>
            <a:xfrm>
              <a:off x="294468" y="785247"/>
              <a:ext cx="2045776" cy="428787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 eaLnBrk="1"/>
              <a:endParaRPr lang="en-GB" sz="2072" dirty="0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10" name="Groep 66">
              <a:extLst>
                <a:ext uri="{FF2B5EF4-FFF2-40B4-BE49-F238E27FC236}">
                  <a16:creationId xmlns:a16="http://schemas.microsoft.com/office/drawing/2014/main" id="{5D330FA5-DC68-486D-BF68-8A9CD6848784}"/>
                </a:ext>
              </a:extLst>
            </p:cNvPr>
            <p:cNvGrpSpPr/>
            <p:nvPr userDrawn="1"/>
          </p:nvGrpSpPr>
          <p:grpSpPr>
            <a:xfrm>
              <a:off x="402065" y="900358"/>
              <a:ext cx="1609191" cy="204960"/>
              <a:chOff x="363538" y="623888"/>
              <a:chExt cx="3602038" cy="458788"/>
            </a:xfrm>
            <a:solidFill>
              <a:schemeClr val="tx2"/>
            </a:solidFill>
          </p:grpSpPr>
          <p:sp>
            <p:nvSpPr>
              <p:cNvPr id="20" name="Freeform 6">
                <a:extLst>
                  <a:ext uri="{FF2B5EF4-FFF2-40B4-BE49-F238E27FC236}">
                    <a16:creationId xmlns:a16="http://schemas.microsoft.com/office/drawing/2014/main" id="{B6382F38-1E51-4122-9682-A269179E781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63538" y="635000"/>
                <a:ext cx="423863" cy="438150"/>
              </a:xfrm>
              <a:custGeom>
                <a:avLst/>
                <a:gdLst>
                  <a:gd name="T0" fmla="*/ 0 w 535"/>
                  <a:gd name="T1" fmla="*/ 0 h 552"/>
                  <a:gd name="T2" fmla="*/ 535 w 535"/>
                  <a:gd name="T3" fmla="*/ 0 h 552"/>
                  <a:gd name="T4" fmla="*/ 535 w 535"/>
                  <a:gd name="T5" fmla="*/ 163 h 552"/>
                  <a:gd name="T6" fmla="*/ 382 w 535"/>
                  <a:gd name="T7" fmla="*/ 163 h 552"/>
                  <a:gd name="T8" fmla="*/ 382 w 535"/>
                  <a:gd name="T9" fmla="*/ 552 h 552"/>
                  <a:gd name="T10" fmla="*/ 159 w 535"/>
                  <a:gd name="T11" fmla="*/ 552 h 552"/>
                  <a:gd name="T12" fmla="*/ 159 w 535"/>
                  <a:gd name="T13" fmla="*/ 163 h 552"/>
                  <a:gd name="T14" fmla="*/ 0 w 535"/>
                  <a:gd name="T15" fmla="*/ 163 h 552"/>
                  <a:gd name="T16" fmla="*/ 0 w 535"/>
                  <a:gd name="T17" fmla="*/ 0 h 5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35" h="552">
                    <a:moveTo>
                      <a:pt x="0" y="0"/>
                    </a:moveTo>
                    <a:lnTo>
                      <a:pt x="535" y="0"/>
                    </a:lnTo>
                    <a:lnTo>
                      <a:pt x="535" y="163"/>
                    </a:lnTo>
                    <a:lnTo>
                      <a:pt x="382" y="163"/>
                    </a:lnTo>
                    <a:lnTo>
                      <a:pt x="382" y="552"/>
                    </a:lnTo>
                    <a:lnTo>
                      <a:pt x="159" y="552"/>
                    </a:lnTo>
                    <a:lnTo>
                      <a:pt x="159" y="163"/>
                    </a:lnTo>
                    <a:lnTo>
                      <a:pt x="0" y="16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solidFill>
                  <a:srgbClr val="4283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en-GB" sz="3109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1" name="Freeform 7">
                <a:extLst>
                  <a:ext uri="{FF2B5EF4-FFF2-40B4-BE49-F238E27FC236}">
                    <a16:creationId xmlns:a16="http://schemas.microsoft.com/office/drawing/2014/main" id="{D1CB4CBC-C6AB-4FB0-AD0F-4D3491F817C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42950" y="635000"/>
                <a:ext cx="522288" cy="438150"/>
              </a:xfrm>
              <a:custGeom>
                <a:avLst/>
                <a:gdLst>
                  <a:gd name="T0" fmla="*/ 209 w 656"/>
                  <a:gd name="T1" fmla="*/ 0 h 552"/>
                  <a:gd name="T2" fmla="*/ 442 w 656"/>
                  <a:gd name="T3" fmla="*/ 0 h 552"/>
                  <a:gd name="T4" fmla="*/ 656 w 656"/>
                  <a:gd name="T5" fmla="*/ 552 h 552"/>
                  <a:gd name="T6" fmla="*/ 440 w 656"/>
                  <a:gd name="T7" fmla="*/ 552 h 552"/>
                  <a:gd name="T8" fmla="*/ 326 w 656"/>
                  <a:gd name="T9" fmla="*/ 222 h 552"/>
                  <a:gd name="T10" fmla="*/ 214 w 656"/>
                  <a:gd name="T11" fmla="*/ 552 h 552"/>
                  <a:gd name="T12" fmla="*/ 0 w 656"/>
                  <a:gd name="T13" fmla="*/ 552 h 552"/>
                  <a:gd name="T14" fmla="*/ 209 w 656"/>
                  <a:gd name="T15" fmla="*/ 0 h 5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56" h="552">
                    <a:moveTo>
                      <a:pt x="209" y="0"/>
                    </a:moveTo>
                    <a:lnTo>
                      <a:pt x="442" y="0"/>
                    </a:lnTo>
                    <a:lnTo>
                      <a:pt x="656" y="552"/>
                    </a:lnTo>
                    <a:lnTo>
                      <a:pt x="440" y="552"/>
                    </a:lnTo>
                    <a:lnTo>
                      <a:pt x="326" y="222"/>
                    </a:lnTo>
                    <a:lnTo>
                      <a:pt x="214" y="552"/>
                    </a:lnTo>
                    <a:lnTo>
                      <a:pt x="0" y="552"/>
                    </a:lnTo>
                    <a:lnTo>
                      <a:pt x="209" y="0"/>
                    </a:lnTo>
                    <a:close/>
                  </a:path>
                </a:pathLst>
              </a:custGeom>
              <a:grpFill/>
              <a:ln w="0">
                <a:solidFill>
                  <a:srgbClr val="4283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en-GB" sz="3109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2" name="Freeform 8">
                <a:extLst>
                  <a:ext uri="{FF2B5EF4-FFF2-40B4-BE49-F238E27FC236}">
                    <a16:creationId xmlns:a16="http://schemas.microsoft.com/office/drawing/2014/main" id="{863BAE53-B9C6-4A8C-A150-9702739902B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223963" y="635000"/>
                <a:ext cx="423863" cy="438150"/>
              </a:xfrm>
              <a:custGeom>
                <a:avLst/>
                <a:gdLst>
                  <a:gd name="T0" fmla="*/ 0 w 533"/>
                  <a:gd name="T1" fmla="*/ 0 h 552"/>
                  <a:gd name="T2" fmla="*/ 533 w 533"/>
                  <a:gd name="T3" fmla="*/ 0 h 552"/>
                  <a:gd name="T4" fmla="*/ 533 w 533"/>
                  <a:gd name="T5" fmla="*/ 163 h 552"/>
                  <a:gd name="T6" fmla="*/ 380 w 533"/>
                  <a:gd name="T7" fmla="*/ 163 h 552"/>
                  <a:gd name="T8" fmla="*/ 380 w 533"/>
                  <a:gd name="T9" fmla="*/ 552 h 552"/>
                  <a:gd name="T10" fmla="*/ 159 w 533"/>
                  <a:gd name="T11" fmla="*/ 552 h 552"/>
                  <a:gd name="T12" fmla="*/ 159 w 533"/>
                  <a:gd name="T13" fmla="*/ 163 h 552"/>
                  <a:gd name="T14" fmla="*/ 0 w 533"/>
                  <a:gd name="T15" fmla="*/ 163 h 552"/>
                  <a:gd name="T16" fmla="*/ 0 w 533"/>
                  <a:gd name="T17" fmla="*/ 0 h 5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33" h="552">
                    <a:moveTo>
                      <a:pt x="0" y="0"/>
                    </a:moveTo>
                    <a:lnTo>
                      <a:pt x="533" y="0"/>
                    </a:lnTo>
                    <a:lnTo>
                      <a:pt x="533" y="163"/>
                    </a:lnTo>
                    <a:lnTo>
                      <a:pt x="380" y="163"/>
                    </a:lnTo>
                    <a:lnTo>
                      <a:pt x="380" y="552"/>
                    </a:lnTo>
                    <a:lnTo>
                      <a:pt x="159" y="552"/>
                    </a:lnTo>
                    <a:lnTo>
                      <a:pt x="159" y="163"/>
                    </a:lnTo>
                    <a:lnTo>
                      <a:pt x="0" y="16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solidFill>
                  <a:srgbClr val="4283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en-GB" sz="3109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3" name="Freeform 9">
                <a:extLst>
                  <a:ext uri="{FF2B5EF4-FFF2-40B4-BE49-F238E27FC236}">
                    <a16:creationId xmlns:a16="http://schemas.microsoft.com/office/drawing/2014/main" id="{DC8696B1-BF58-4132-8865-A3FADC790F5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603375" y="635000"/>
                <a:ext cx="520700" cy="438150"/>
              </a:xfrm>
              <a:custGeom>
                <a:avLst/>
                <a:gdLst>
                  <a:gd name="T0" fmla="*/ 209 w 655"/>
                  <a:gd name="T1" fmla="*/ 0 h 552"/>
                  <a:gd name="T2" fmla="*/ 440 w 655"/>
                  <a:gd name="T3" fmla="*/ 0 h 552"/>
                  <a:gd name="T4" fmla="*/ 655 w 655"/>
                  <a:gd name="T5" fmla="*/ 552 h 552"/>
                  <a:gd name="T6" fmla="*/ 439 w 655"/>
                  <a:gd name="T7" fmla="*/ 552 h 552"/>
                  <a:gd name="T8" fmla="*/ 325 w 655"/>
                  <a:gd name="T9" fmla="*/ 222 h 552"/>
                  <a:gd name="T10" fmla="*/ 212 w 655"/>
                  <a:gd name="T11" fmla="*/ 552 h 552"/>
                  <a:gd name="T12" fmla="*/ 0 w 655"/>
                  <a:gd name="T13" fmla="*/ 552 h 552"/>
                  <a:gd name="T14" fmla="*/ 209 w 655"/>
                  <a:gd name="T15" fmla="*/ 0 h 5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55" h="552">
                    <a:moveTo>
                      <a:pt x="209" y="0"/>
                    </a:moveTo>
                    <a:lnTo>
                      <a:pt x="440" y="0"/>
                    </a:lnTo>
                    <a:lnTo>
                      <a:pt x="655" y="552"/>
                    </a:lnTo>
                    <a:lnTo>
                      <a:pt x="439" y="552"/>
                    </a:lnTo>
                    <a:lnTo>
                      <a:pt x="325" y="222"/>
                    </a:lnTo>
                    <a:lnTo>
                      <a:pt x="212" y="552"/>
                    </a:lnTo>
                    <a:lnTo>
                      <a:pt x="0" y="552"/>
                    </a:lnTo>
                    <a:lnTo>
                      <a:pt x="209" y="0"/>
                    </a:lnTo>
                    <a:close/>
                  </a:path>
                </a:pathLst>
              </a:custGeom>
              <a:grpFill/>
              <a:ln w="0">
                <a:solidFill>
                  <a:srgbClr val="4283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en-GB" sz="3109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4" name="Freeform 10">
                <a:extLst>
                  <a:ext uri="{FF2B5EF4-FFF2-40B4-BE49-F238E27FC236}">
                    <a16:creationId xmlns:a16="http://schemas.microsoft.com/office/drawing/2014/main" id="{94941CE4-6E04-4DA1-B3EC-11B6342DB8E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20925" y="623888"/>
                <a:ext cx="288925" cy="458788"/>
              </a:xfrm>
              <a:custGeom>
                <a:avLst/>
                <a:gdLst>
                  <a:gd name="T0" fmla="*/ 250 w 364"/>
                  <a:gd name="T1" fmla="*/ 4 h 578"/>
                  <a:gd name="T2" fmla="*/ 317 w 364"/>
                  <a:gd name="T3" fmla="*/ 17 h 578"/>
                  <a:gd name="T4" fmla="*/ 317 w 364"/>
                  <a:gd name="T5" fmla="*/ 111 h 578"/>
                  <a:gd name="T6" fmla="*/ 273 w 364"/>
                  <a:gd name="T7" fmla="*/ 94 h 578"/>
                  <a:gd name="T8" fmla="*/ 205 w 364"/>
                  <a:gd name="T9" fmla="*/ 85 h 578"/>
                  <a:gd name="T10" fmla="*/ 152 w 364"/>
                  <a:gd name="T11" fmla="*/ 95 h 578"/>
                  <a:gd name="T12" fmla="*/ 121 w 364"/>
                  <a:gd name="T13" fmla="*/ 119 h 578"/>
                  <a:gd name="T14" fmla="*/ 113 w 364"/>
                  <a:gd name="T15" fmla="*/ 151 h 578"/>
                  <a:gd name="T16" fmla="*/ 128 w 364"/>
                  <a:gd name="T17" fmla="*/ 194 h 578"/>
                  <a:gd name="T18" fmla="*/ 179 w 364"/>
                  <a:gd name="T19" fmla="*/ 228 h 578"/>
                  <a:gd name="T20" fmla="*/ 264 w 364"/>
                  <a:gd name="T21" fmla="*/ 264 h 578"/>
                  <a:gd name="T22" fmla="*/ 329 w 364"/>
                  <a:gd name="T23" fmla="*/ 311 h 578"/>
                  <a:gd name="T24" fmla="*/ 359 w 364"/>
                  <a:gd name="T25" fmla="*/ 372 h 578"/>
                  <a:gd name="T26" fmla="*/ 361 w 364"/>
                  <a:gd name="T27" fmla="*/ 440 h 578"/>
                  <a:gd name="T28" fmla="*/ 341 w 364"/>
                  <a:gd name="T29" fmla="*/ 493 h 578"/>
                  <a:gd name="T30" fmla="*/ 300 w 364"/>
                  <a:gd name="T31" fmla="*/ 537 h 578"/>
                  <a:gd name="T32" fmla="*/ 237 w 364"/>
                  <a:gd name="T33" fmla="*/ 568 h 578"/>
                  <a:gd name="T34" fmla="*/ 152 w 364"/>
                  <a:gd name="T35" fmla="*/ 578 h 578"/>
                  <a:gd name="T36" fmla="*/ 65 w 364"/>
                  <a:gd name="T37" fmla="*/ 568 h 578"/>
                  <a:gd name="T38" fmla="*/ 0 w 364"/>
                  <a:gd name="T39" fmla="*/ 542 h 578"/>
                  <a:gd name="T40" fmla="*/ 60 w 364"/>
                  <a:gd name="T41" fmla="*/ 476 h 578"/>
                  <a:gd name="T42" fmla="*/ 159 w 364"/>
                  <a:gd name="T43" fmla="*/ 493 h 578"/>
                  <a:gd name="T44" fmla="*/ 213 w 364"/>
                  <a:gd name="T45" fmla="*/ 484 h 578"/>
                  <a:gd name="T46" fmla="*/ 249 w 364"/>
                  <a:gd name="T47" fmla="*/ 457 h 578"/>
                  <a:gd name="T48" fmla="*/ 261 w 364"/>
                  <a:gd name="T49" fmla="*/ 417 h 578"/>
                  <a:gd name="T50" fmla="*/ 245 w 364"/>
                  <a:gd name="T51" fmla="*/ 374 h 578"/>
                  <a:gd name="T52" fmla="*/ 198 w 364"/>
                  <a:gd name="T53" fmla="*/ 340 h 578"/>
                  <a:gd name="T54" fmla="*/ 123 w 364"/>
                  <a:gd name="T55" fmla="*/ 309 h 578"/>
                  <a:gd name="T56" fmla="*/ 62 w 364"/>
                  <a:gd name="T57" fmla="*/ 272 h 578"/>
                  <a:gd name="T58" fmla="*/ 22 w 364"/>
                  <a:gd name="T59" fmla="*/ 223 h 578"/>
                  <a:gd name="T60" fmla="*/ 9 w 364"/>
                  <a:gd name="T61" fmla="*/ 162 h 578"/>
                  <a:gd name="T62" fmla="*/ 22 w 364"/>
                  <a:gd name="T63" fmla="*/ 97 h 578"/>
                  <a:gd name="T64" fmla="*/ 62 w 364"/>
                  <a:gd name="T65" fmla="*/ 46 h 578"/>
                  <a:gd name="T66" fmla="*/ 125 w 364"/>
                  <a:gd name="T67" fmla="*/ 14 h 578"/>
                  <a:gd name="T68" fmla="*/ 208 w 364"/>
                  <a:gd name="T69" fmla="*/ 0 h 5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64" h="578">
                    <a:moveTo>
                      <a:pt x="208" y="0"/>
                    </a:moveTo>
                    <a:lnTo>
                      <a:pt x="250" y="4"/>
                    </a:lnTo>
                    <a:lnTo>
                      <a:pt x="286" y="9"/>
                    </a:lnTo>
                    <a:lnTo>
                      <a:pt x="317" y="17"/>
                    </a:lnTo>
                    <a:lnTo>
                      <a:pt x="342" y="29"/>
                    </a:lnTo>
                    <a:lnTo>
                      <a:pt x="317" y="111"/>
                    </a:lnTo>
                    <a:lnTo>
                      <a:pt x="298" y="102"/>
                    </a:lnTo>
                    <a:lnTo>
                      <a:pt x="273" y="94"/>
                    </a:lnTo>
                    <a:lnTo>
                      <a:pt x="242" y="87"/>
                    </a:lnTo>
                    <a:lnTo>
                      <a:pt x="205" y="85"/>
                    </a:lnTo>
                    <a:lnTo>
                      <a:pt x="176" y="87"/>
                    </a:lnTo>
                    <a:lnTo>
                      <a:pt x="152" y="95"/>
                    </a:lnTo>
                    <a:lnTo>
                      <a:pt x="135" y="106"/>
                    </a:lnTo>
                    <a:lnTo>
                      <a:pt x="121" y="119"/>
                    </a:lnTo>
                    <a:lnTo>
                      <a:pt x="114" y="136"/>
                    </a:lnTo>
                    <a:lnTo>
                      <a:pt x="113" y="151"/>
                    </a:lnTo>
                    <a:lnTo>
                      <a:pt x="116" y="175"/>
                    </a:lnTo>
                    <a:lnTo>
                      <a:pt x="128" y="194"/>
                    </a:lnTo>
                    <a:lnTo>
                      <a:pt x="150" y="211"/>
                    </a:lnTo>
                    <a:lnTo>
                      <a:pt x="179" y="228"/>
                    </a:lnTo>
                    <a:lnTo>
                      <a:pt x="220" y="243"/>
                    </a:lnTo>
                    <a:lnTo>
                      <a:pt x="264" y="264"/>
                    </a:lnTo>
                    <a:lnTo>
                      <a:pt x="300" y="286"/>
                    </a:lnTo>
                    <a:lnTo>
                      <a:pt x="329" y="311"/>
                    </a:lnTo>
                    <a:lnTo>
                      <a:pt x="347" y="340"/>
                    </a:lnTo>
                    <a:lnTo>
                      <a:pt x="359" y="372"/>
                    </a:lnTo>
                    <a:lnTo>
                      <a:pt x="364" y="410"/>
                    </a:lnTo>
                    <a:lnTo>
                      <a:pt x="361" y="440"/>
                    </a:lnTo>
                    <a:lnTo>
                      <a:pt x="354" y="467"/>
                    </a:lnTo>
                    <a:lnTo>
                      <a:pt x="341" y="493"/>
                    </a:lnTo>
                    <a:lnTo>
                      <a:pt x="324" y="517"/>
                    </a:lnTo>
                    <a:lnTo>
                      <a:pt x="300" y="537"/>
                    </a:lnTo>
                    <a:lnTo>
                      <a:pt x="271" y="554"/>
                    </a:lnTo>
                    <a:lnTo>
                      <a:pt x="237" y="568"/>
                    </a:lnTo>
                    <a:lnTo>
                      <a:pt x="196" y="576"/>
                    </a:lnTo>
                    <a:lnTo>
                      <a:pt x="152" y="578"/>
                    </a:lnTo>
                    <a:lnTo>
                      <a:pt x="108" y="574"/>
                    </a:lnTo>
                    <a:lnTo>
                      <a:pt x="65" y="568"/>
                    </a:lnTo>
                    <a:lnTo>
                      <a:pt x="28" y="556"/>
                    </a:lnTo>
                    <a:lnTo>
                      <a:pt x="0" y="542"/>
                    </a:lnTo>
                    <a:lnTo>
                      <a:pt x="22" y="457"/>
                    </a:lnTo>
                    <a:lnTo>
                      <a:pt x="60" y="476"/>
                    </a:lnTo>
                    <a:lnTo>
                      <a:pt x="108" y="488"/>
                    </a:lnTo>
                    <a:lnTo>
                      <a:pt x="159" y="493"/>
                    </a:lnTo>
                    <a:lnTo>
                      <a:pt x="188" y="491"/>
                    </a:lnTo>
                    <a:lnTo>
                      <a:pt x="213" y="484"/>
                    </a:lnTo>
                    <a:lnTo>
                      <a:pt x="233" y="473"/>
                    </a:lnTo>
                    <a:lnTo>
                      <a:pt x="249" y="457"/>
                    </a:lnTo>
                    <a:lnTo>
                      <a:pt x="257" y="439"/>
                    </a:lnTo>
                    <a:lnTo>
                      <a:pt x="261" y="417"/>
                    </a:lnTo>
                    <a:lnTo>
                      <a:pt x="256" y="394"/>
                    </a:lnTo>
                    <a:lnTo>
                      <a:pt x="245" y="374"/>
                    </a:lnTo>
                    <a:lnTo>
                      <a:pt x="227" y="355"/>
                    </a:lnTo>
                    <a:lnTo>
                      <a:pt x="198" y="340"/>
                    </a:lnTo>
                    <a:lnTo>
                      <a:pt x="160" y="325"/>
                    </a:lnTo>
                    <a:lnTo>
                      <a:pt x="123" y="309"/>
                    </a:lnTo>
                    <a:lnTo>
                      <a:pt x="91" y="292"/>
                    </a:lnTo>
                    <a:lnTo>
                      <a:pt x="62" y="272"/>
                    </a:lnTo>
                    <a:lnTo>
                      <a:pt x="39" y="248"/>
                    </a:lnTo>
                    <a:lnTo>
                      <a:pt x="22" y="223"/>
                    </a:lnTo>
                    <a:lnTo>
                      <a:pt x="12" y="194"/>
                    </a:lnTo>
                    <a:lnTo>
                      <a:pt x="9" y="162"/>
                    </a:lnTo>
                    <a:lnTo>
                      <a:pt x="12" y="128"/>
                    </a:lnTo>
                    <a:lnTo>
                      <a:pt x="22" y="97"/>
                    </a:lnTo>
                    <a:lnTo>
                      <a:pt x="39" y="70"/>
                    </a:lnTo>
                    <a:lnTo>
                      <a:pt x="62" y="46"/>
                    </a:lnTo>
                    <a:lnTo>
                      <a:pt x="91" y="27"/>
                    </a:lnTo>
                    <a:lnTo>
                      <a:pt x="125" y="14"/>
                    </a:lnTo>
                    <a:lnTo>
                      <a:pt x="164" y="4"/>
                    </a:lnTo>
                    <a:lnTo>
                      <a:pt x="208" y="0"/>
                    </a:lnTo>
                    <a:close/>
                  </a:path>
                </a:pathLst>
              </a:custGeom>
              <a:grpFill/>
              <a:ln w="0">
                <a:solidFill>
                  <a:srgbClr val="4283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en-GB" sz="3109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5" name="Freeform 11">
                <a:extLst>
                  <a:ext uri="{FF2B5EF4-FFF2-40B4-BE49-F238E27FC236}">
                    <a16:creationId xmlns:a16="http://schemas.microsoft.com/office/drawing/2014/main" id="{E83E1CF0-5987-459D-A2BC-DD7380E6912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633663" y="631825"/>
                <a:ext cx="334963" cy="444500"/>
              </a:xfrm>
              <a:custGeom>
                <a:avLst/>
                <a:gdLst>
                  <a:gd name="T0" fmla="*/ 0 w 422"/>
                  <a:gd name="T1" fmla="*/ 0 h 559"/>
                  <a:gd name="T2" fmla="*/ 422 w 422"/>
                  <a:gd name="T3" fmla="*/ 0 h 559"/>
                  <a:gd name="T4" fmla="*/ 422 w 422"/>
                  <a:gd name="T5" fmla="*/ 85 h 559"/>
                  <a:gd name="T6" fmla="*/ 263 w 422"/>
                  <a:gd name="T7" fmla="*/ 85 h 559"/>
                  <a:gd name="T8" fmla="*/ 263 w 422"/>
                  <a:gd name="T9" fmla="*/ 559 h 559"/>
                  <a:gd name="T10" fmla="*/ 160 w 422"/>
                  <a:gd name="T11" fmla="*/ 559 h 559"/>
                  <a:gd name="T12" fmla="*/ 160 w 422"/>
                  <a:gd name="T13" fmla="*/ 85 h 559"/>
                  <a:gd name="T14" fmla="*/ 0 w 422"/>
                  <a:gd name="T15" fmla="*/ 85 h 559"/>
                  <a:gd name="T16" fmla="*/ 0 w 422"/>
                  <a:gd name="T17" fmla="*/ 0 h 5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22" h="559">
                    <a:moveTo>
                      <a:pt x="0" y="0"/>
                    </a:moveTo>
                    <a:lnTo>
                      <a:pt x="422" y="0"/>
                    </a:lnTo>
                    <a:lnTo>
                      <a:pt x="422" y="85"/>
                    </a:lnTo>
                    <a:lnTo>
                      <a:pt x="263" y="85"/>
                    </a:lnTo>
                    <a:lnTo>
                      <a:pt x="263" y="559"/>
                    </a:lnTo>
                    <a:lnTo>
                      <a:pt x="160" y="559"/>
                    </a:lnTo>
                    <a:lnTo>
                      <a:pt x="160" y="85"/>
                    </a:lnTo>
                    <a:lnTo>
                      <a:pt x="0" y="85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solidFill>
                  <a:srgbClr val="4283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en-GB" sz="3109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6" name="Freeform 12">
                <a:extLst>
                  <a:ext uri="{FF2B5EF4-FFF2-40B4-BE49-F238E27FC236}">
                    <a16:creationId xmlns:a16="http://schemas.microsoft.com/office/drawing/2014/main" id="{7B0FE9EB-230C-41C5-A3E2-002338C6A32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360738" y="631825"/>
                <a:ext cx="269875" cy="444500"/>
              </a:xfrm>
              <a:custGeom>
                <a:avLst/>
                <a:gdLst>
                  <a:gd name="T0" fmla="*/ 0 w 338"/>
                  <a:gd name="T1" fmla="*/ 0 h 559"/>
                  <a:gd name="T2" fmla="*/ 326 w 338"/>
                  <a:gd name="T3" fmla="*/ 0 h 559"/>
                  <a:gd name="T4" fmla="*/ 326 w 338"/>
                  <a:gd name="T5" fmla="*/ 84 h 559"/>
                  <a:gd name="T6" fmla="*/ 102 w 338"/>
                  <a:gd name="T7" fmla="*/ 84 h 559"/>
                  <a:gd name="T8" fmla="*/ 102 w 338"/>
                  <a:gd name="T9" fmla="*/ 228 h 559"/>
                  <a:gd name="T10" fmla="*/ 313 w 338"/>
                  <a:gd name="T11" fmla="*/ 228 h 559"/>
                  <a:gd name="T12" fmla="*/ 313 w 338"/>
                  <a:gd name="T13" fmla="*/ 311 h 559"/>
                  <a:gd name="T14" fmla="*/ 102 w 338"/>
                  <a:gd name="T15" fmla="*/ 311 h 559"/>
                  <a:gd name="T16" fmla="*/ 102 w 338"/>
                  <a:gd name="T17" fmla="*/ 476 h 559"/>
                  <a:gd name="T18" fmla="*/ 338 w 338"/>
                  <a:gd name="T19" fmla="*/ 476 h 559"/>
                  <a:gd name="T20" fmla="*/ 338 w 338"/>
                  <a:gd name="T21" fmla="*/ 559 h 559"/>
                  <a:gd name="T22" fmla="*/ 0 w 338"/>
                  <a:gd name="T23" fmla="*/ 559 h 559"/>
                  <a:gd name="T24" fmla="*/ 0 w 338"/>
                  <a:gd name="T25" fmla="*/ 0 h 5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38" h="559">
                    <a:moveTo>
                      <a:pt x="0" y="0"/>
                    </a:moveTo>
                    <a:lnTo>
                      <a:pt x="326" y="0"/>
                    </a:lnTo>
                    <a:lnTo>
                      <a:pt x="326" y="84"/>
                    </a:lnTo>
                    <a:lnTo>
                      <a:pt x="102" y="84"/>
                    </a:lnTo>
                    <a:lnTo>
                      <a:pt x="102" y="228"/>
                    </a:lnTo>
                    <a:lnTo>
                      <a:pt x="313" y="228"/>
                    </a:lnTo>
                    <a:lnTo>
                      <a:pt x="313" y="311"/>
                    </a:lnTo>
                    <a:lnTo>
                      <a:pt x="102" y="311"/>
                    </a:lnTo>
                    <a:lnTo>
                      <a:pt x="102" y="476"/>
                    </a:lnTo>
                    <a:lnTo>
                      <a:pt x="338" y="476"/>
                    </a:lnTo>
                    <a:lnTo>
                      <a:pt x="338" y="559"/>
                    </a:lnTo>
                    <a:lnTo>
                      <a:pt x="0" y="559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solidFill>
                  <a:srgbClr val="4283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en-GB" sz="3109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7" name="Freeform 13">
                <a:extLst>
                  <a:ext uri="{FF2B5EF4-FFF2-40B4-BE49-F238E27FC236}">
                    <a16:creationId xmlns:a16="http://schemas.microsoft.com/office/drawing/2014/main" id="{57B8A1D1-4294-48C4-9F89-3511DAA245E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700463" y="631825"/>
                <a:ext cx="265113" cy="444500"/>
              </a:xfrm>
              <a:custGeom>
                <a:avLst/>
                <a:gdLst>
                  <a:gd name="T0" fmla="*/ 0 w 333"/>
                  <a:gd name="T1" fmla="*/ 0 h 559"/>
                  <a:gd name="T2" fmla="*/ 102 w 333"/>
                  <a:gd name="T3" fmla="*/ 0 h 559"/>
                  <a:gd name="T4" fmla="*/ 102 w 333"/>
                  <a:gd name="T5" fmla="*/ 474 h 559"/>
                  <a:gd name="T6" fmla="*/ 333 w 333"/>
                  <a:gd name="T7" fmla="*/ 474 h 559"/>
                  <a:gd name="T8" fmla="*/ 333 w 333"/>
                  <a:gd name="T9" fmla="*/ 559 h 559"/>
                  <a:gd name="T10" fmla="*/ 0 w 333"/>
                  <a:gd name="T11" fmla="*/ 559 h 559"/>
                  <a:gd name="T12" fmla="*/ 0 w 333"/>
                  <a:gd name="T13" fmla="*/ 0 h 5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33" h="559">
                    <a:moveTo>
                      <a:pt x="0" y="0"/>
                    </a:moveTo>
                    <a:lnTo>
                      <a:pt x="102" y="0"/>
                    </a:lnTo>
                    <a:lnTo>
                      <a:pt x="102" y="474"/>
                    </a:lnTo>
                    <a:lnTo>
                      <a:pt x="333" y="474"/>
                    </a:lnTo>
                    <a:lnTo>
                      <a:pt x="333" y="559"/>
                    </a:lnTo>
                    <a:lnTo>
                      <a:pt x="0" y="559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solidFill>
                  <a:srgbClr val="4283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en-GB" sz="3109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8" name="Freeform 14">
                <a:extLst>
                  <a:ext uri="{FF2B5EF4-FFF2-40B4-BE49-F238E27FC236}">
                    <a16:creationId xmlns:a16="http://schemas.microsoft.com/office/drawing/2014/main" id="{664EC01D-1184-4950-B073-AD2EE9B8DF2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021013" y="631825"/>
                <a:ext cx="268288" cy="444500"/>
              </a:xfrm>
              <a:custGeom>
                <a:avLst/>
                <a:gdLst>
                  <a:gd name="T0" fmla="*/ 0 w 339"/>
                  <a:gd name="T1" fmla="*/ 0 h 559"/>
                  <a:gd name="T2" fmla="*/ 327 w 339"/>
                  <a:gd name="T3" fmla="*/ 0 h 559"/>
                  <a:gd name="T4" fmla="*/ 327 w 339"/>
                  <a:gd name="T5" fmla="*/ 84 h 559"/>
                  <a:gd name="T6" fmla="*/ 102 w 339"/>
                  <a:gd name="T7" fmla="*/ 84 h 559"/>
                  <a:gd name="T8" fmla="*/ 102 w 339"/>
                  <a:gd name="T9" fmla="*/ 228 h 559"/>
                  <a:gd name="T10" fmla="*/ 313 w 339"/>
                  <a:gd name="T11" fmla="*/ 228 h 559"/>
                  <a:gd name="T12" fmla="*/ 313 w 339"/>
                  <a:gd name="T13" fmla="*/ 311 h 559"/>
                  <a:gd name="T14" fmla="*/ 102 w 339"/>
                  <a:gd name="T15" fmla="*/ 311 h 559"/>
                  <a:gd name="T16" fmla="*/ 102 w 339"/>
                  <a:gd name="T17" fmla="*/ 476 h 559"/>
                  <a:gd name="T18" fmla="*/ 339 w 339"/>
                  <a:gd name="T19" fmla="*/ 476 h 559"/>
                  <a:gd name="T20" fmla="*/ 339 w 339"/>
                  <a:gd name="T21" fmla="*/ 559 h 559"/>
                  <a:gd name="T22" fmla="*/ 0 w 339"/>
                  <a:gd name="T23" fmla="*/ 559 h 559"/>
                  <a:gd name="T24" fmla="*/ 0 w 339"/>
                  <a:gd name="T25" fmla="*/ 0 h 5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39" h="559">
                    <a:moveTo>
                      <a:pt x="0" y="0"/>
                    </a:moveTo>
                    <a:lnTo>
                      <a:pt x="327" y="0"/>
                    </a:lnTo>
                    <a:lnTo>
                      <a:pt x="327" y="84"/>
                    </a:lnTo>
                    <a:lnTo>
                      <a:pt x="102" y="84"/>
                    </a:lnTo>
                    <a:lnTo>
                      <a:pt x="102" y="228"/>
                    </a:lnTo>
                    <a:lnTo>
                      <a:pt x="313" y="228"/>
                    </a:lnTo>
                    <a:lnTo>
                      <a:pt x="313" y="311"/>
                    </a:lnTo>
                    <a:lnTo>
                      <a:pt x="102" y="311"/>
                    </a:lnTo>
                    <a:lnTo>
                      <a:pt x="102" y="476"/>
                    </a:lnTo>
                    <a:lnTo>
                      <a:pt x="339" y="476"/>
                    </a:lnTo>
                    <a:lnTo>
                      <a:pt x="339" y="559"/>
                    </a:lnTo>
                    <a:lnTo>
                      <a:pt x="0" y="559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solidFill>
                  <a:srgbClr val="4283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en-GB" sz="3109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11" name="Groep 46">
              <a:extLst>
                <a:ext uri="{FF2B5EF4-FFF2-40B4-BE49-F238E27FC236}">
                  <a16:creationId xmlns:a16="http://schemas.microsoft.com/office/drawing/2014/main" id="{D39DEF2F-B14D-4E5B-BF3B-1DE278E8B8BB}"/>
                </a:ext>
              </a:extLst>
            </p:cNvPr>
            <p:cNvGrpSpPr/>
            <p:nvPr userDrawn="1"/>
          </p:nvGrpSpPr>
          <p:grpSpPr>
            <a:xfrm>
              <a:off x="8683742" y="440204"/>
              <a:ext cx="772157" cy="680233"/>
              <a:chOff x="2581275" y="1704976"/>
              <a:chExt cx="3933825" cy="3465512"/>
            </a:xfrm>
          </p:grpSpPr>
          <p:grpSp>
            <p:nvGrpSpPr>
              <p:cNvPr id="12" name="TATA_Blauw">
                <a:extLst>
                  <a:ext uri="{FF2B5EF4-FFF2-40B4-BE49-F238E27FC236}">
                    <a16:creationId xmlns:a16="http://schemas.microsoft.com/office/drawing/2014/main" id="{D5FB448A-6DAD-4B01-AB60-6E12061D7D28}"/>
                  </a:ext>
                </a:extLst>
              </p:cNvPr>
              <p:cNvGrpSpPr/>
              <p:nvPr/>
            </p:nvGrpSpPr>
            <p:grpSpPr>
              <a:xfrm>
                <a:off x="2581275" y="4181476"/>
                <a:ext cx="3933825" cy="989012"/>
                <a:chOff x="2581275" y="4181476"/>
                <a:chExt cx="3933825" cy="989012"/>
              </a:xfrm>
            </p:grpSpPr>
            <p:sp>
              <p:nvSpPr>
                <p:cNvPr id="16" name="Freeform 6">
                  <a:extLst>
                    <a:ext uri="{FF2B5EF4-FFF2-40B4-BE49-F238E27FC236}">
                      <a16:creationId xmlns:a16="http://schemas.microsoft.com/office/drawing/2014/main" id="{DF2ADA23-6916-44A3-B092-D94351F4461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81275" y="4181476"/>
                  <a:ext cx="957263" cy="987425"/>
                </a:xfrm>
                <a:custGeom>
                  <a:avLst/>
                  <a:gdLst>
                    <a:gd name="T0" fmla="*/ 0 w 1205"/>
                    <a:gd name="T1" fmla="*/ 0 h 1244"/>
                    <a:gd name="T2" fmla="*/ 1205 w 1205"/>
                    <a:gd name="T3" fmla="*/ 0 h 1244"/>
                    <a:gd name="T4" fmla="*/ 1205 w 1205"/>
                    <a:gd name="T5" fmla="*/ 364 h 1244"/>
                    <a:gd name="T6" fmla="*/ 862 w 1205"/>
                    <a:gd name="T7" fmla="*/ 364 h 1244"/>
                    <a:gd name="T8" fmla="*/ 862 w 1205"/>
                    <a:gd name="T9" fmla="*/ 1244 h 1244"/>
                    <a:gd name="T10" fmla="*/ 354 w 1205"/>
                    <a:gd name="T11" fmla="*/ 1244 h 1244"/>
                    <a:gd name="T12" fmla="*/ 354 w 1205"/>
                    <a:gd name="T13" fmla="*/ 364 h 1244"/>
                    <a:gd name="T14" fmla="*/ 0 w 1205"/>
                    <a:gd name="T15" fmla="*/ 364 h 1244"/>
                    <a:gd name="T16" fmla="*/ 0 w 1205"/>
                    <a:gd name="T17" fmla="*/ 0 h 12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205" h="1244">
                      <a:moveTo>
                        <a:pt x="0" y="0"/>
                      </a:moveTo>
                      <a:lnTo>
                        <a:pt x="1205" y="0"/>
                      </a:lnTo>
                      <a:lnTo>
                        <a:pt x="1205" y="364"/>
                      </a:lnTo>
                      <a:lnTo>
                        <a:pt x="862" y="364"/>
                      </a:lnTo>
                      <a:lnTo>
                        <a:pt x="862" y="1244"/>
                      </a:lnTo>
                      <a:lnTo>
                        <a:pt x="354" y="1244"/>
                      </a:lnTo>
                      <a:lnTo>
                        <a:pt x="354" y="364"/>
                      </a:lnTo>
                      <a:lnTo>
                        <a:pt x="0" y="36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3D7EDC"/>
                </a:solidFill>
                <a:ln>
                  <a:noFill/>
                  <a:headEnd/>
                  <a:tailEnd/>
                </a:ln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eaLnBrk="1"/>
                  <a:endParaRPr lang="en-GB" sz="3109" dirty="0"/>
                </a:p>
              </p:txBody>
            </p:sp>
            <p:sp>
              <p:nvSpPr>
                <p:cNvPr id="17" name="Freeform 7">
                  <a:extLst>
                    <a:ext uri="{FF2B5EF4-FFF2-40B4-BE49-F238E27FC236}">
                      <a16:creationId xmlns:a16="http://schemas.microsoft.com/office/drawing/2014/main" id="{9F6EFCB4-D82C-4CBE-B4B5-05F2175BB58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91038" y="4181476"/>
                  <a:ext cx="957263" cy="987425"/>
                </a:xfrm>
                <a:custGeom>
                  <a:avLst/>
                  <a:gdLst>
                    <a:gd name="T0" fmla="*/ 0 w 1206"/>
                    <a:gd name="T1" fmla="*/ 0 h 1244"/>
                    <a:gd name="T2" fmla="*/ 1206 w 1206"/>
                    <a:gd name="T3" fmla="*/ 0 h 1244"/>
                    <a:gd name="T4" fmla="*/ 1206 w 1206"/>
                    <a:gd name="T5" fmla="*/ 364 h 1244"/>
                    <a:gd name="T6" fmla="*/ 862 w 1206"/>
                    <a:gd name="T7" fmla="*/ 364 h 1244"/>
                    <a:gd name="T8" fmla="*/ 862 w 1206"/>
                    <a:gd name="T9" fmla="*/ 1244 h 1244"/>
                    <a:gd name="T10" fmla="*/ 354 w 1206"/>
                    <a:gd name="T11" fmla="*/ 1244 h 1244"/>
                    <a:gd name="T12" fmla="*/ 354 w 1206"/>
                    <a:gd name="T13" fmla="*/ 364 h 1244"/>
                    <a:gd name="T14" fmla="*/ 0 w 1206"/>
                    <a:gd name="T15" fmla="*/ 364 h 1244"/>
                    <a:gd name="T16" fmla="*/ 0 w 1206"/>
                    <a:gd name="T17" fmla="*/ 0 h 12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206" h="1244">
                      <a:moveTo>
                        <a:pt x="0" y="0"/>
                      </a:moveTo>
                      <a:lnTo>
                        <a:pt x="1206" y="0"/>
                      </a:lnTo>
                      <a:lnTo>
                        <a:pt x="1206" y="364"/>
                      </a:lnTo>
                      <a:lnTo>
                        <a:pt x="862" y="364"/>
                      </a:lnTo>
                      <a:lnTo>
                        <a:pt x="862" y="1244"/>
                      </a:lnTo>
                      <a:lnTo>
                        <a:pt x="354" y="1244"/>
                      </a:lnTo>
                      <a:lnTo>
                        <a:pt x="354" y="364"/>
                      </a:lnTo>
                      <a:lnTo>
                        <a:pt x="0" y="36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3D7EDC"/>
                </a:solidFill>
                <a:ln>
                  <a:noFill/>
                  <a:headEnd/>
                  <a:tailEnd/>
                </a:ln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eaLnBrk="1"/>
                  <a:endParaRPr lang="en-GB" sz="3109" dirty="0"/>
                </a:p>
              </p:txBody>
            </p:sp>
            <p:sp>
              <p:nvSpPr>
                <p:cNvPr id="18" name="Freeform 8">
                  <a:extLst>
                    <a:ext uri="{FF2B5EF4-FFF2-40B4-BE49-F238E27FC236}">
                      <a16:creationId xmlns:a16="http://schemas.microsoft.com/office/drawing/2014/main" id="{2A7F0B91-091E-46F7-964C-62641187E88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48050" y="4183063"/>
                  <a:ext cx="1157288" cy="987425"/>
                </a:xfrm>
                <a:custGeom>
                  <a:avLst/>
                  <a:gdLst>
                    <a:gd name="T0" fmla="*/ 975 w 1460"/>
                    <a:gd name="T1" fmla="*/ 0 h 1245"/>
                    <a:gd name="T2" fmla="*/ 1460 w 1460"/>
                    <a:gd name="T3" fmla="*/ 1245 h 1245"/>
                    <a:gd name="T4" fmla="*/ 970 w 1460"/>
                    <a:gd name="T5" fmla="*/ 1245 h 1245"/>
                    <a:gd name="T6" fmla="*/ 718 w 1460"/>
                    <a:gd name="T7" fmla="*/ 491 h 1245"/>
                    <a:gd name="T8" fmla="*/ 467 w 1460"/>
                    <a:gd name="T9" fmla="*/ 1245 h 1245"/>
                    <a:gd name="T10" fmla="*/ 0 w 1460"/>
                    <a:gd name="T11" fmla="*/ 1245 h 1245"/>
                    <a:gd name="T12" fmla="*/ 455 w 1460"/>
                    <a:gd name="T13" fmla="*/ 0 h 1245"/>
                    <a:gd name="T14" fmla="*/ 975 w 1460"/>
                    <a:gd name="T15" fmla="*/ 0 h 12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460" h="1245">
                      <a:moveTo>
                        <a:pt x="975" y="0"/>
                      </a:moveTo>
                      <a:lnTo>
                        <a:pt x="1460" y="1245"/>
                      </a:lnTo>
                      <a:lnTo>
                        <a:pt x="970" y="1245"/>
                      </a:lnTo>
                      <a:lnTo>
                        <a:pt x="718" y="491"/>
                      </a:lnTo>
                      <a:lnTo>
                        <a:pt x="467" y="1245"/>
                      </a:lnTo>
                      <a:lnTo>
                        <a:pt x="0" y="1245"/>
                      </a:lnTo>
                      <a:lnTo>
                        <a:pt x="455" y="0"/>
                      </a:lnTo>
                      <a:lnTo>
                        <a:pt x="975" y="0"/>
                      </a:lnTo>
                      <a:close/>
                    </a:path>
                  </a:pathLst>
                </a:custGeom>
                <a:solidFill>
                  <a:srgbClr val="3D7EDC"/>
                </a:solidFill>
                <a:ln>
                  <a:noFill/>
                  <a:headEnd/>
                  <a:tailEnd/>
                </a:ln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eaLnBrk="1"/>
                  <a:endParaRPr lang="en-GB" sz="3109" dirty="0"/>
                </a:p>
              </p:txBody>
            </p:sp>
            <p:sp>
              <p:nvSpPr>
                <p:cNvPr id="19" name="Freeform 9">
                  <a:extLst>
                    <a:ext uri="{FF2B5EF4-FFF2-40B4-BE49-F238E27FC236}">
                      <a16:creationId xmlns:a16="http://schemas.microsoft.com/office/drawing/2014/main" id="{3EC8B8B2-E555-40A5-B3B4-D4BB6A2E00A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56225" y="4183063"/>
                  <a:ext cx="1158875" cy="985838"/>
                </a:xfrm>
                <a:custGeom>
                  <a:avLst/>
                  <a:gdLst>
                    <a:gd name="T0" fmla="*/ 456 w 1459"/>
                    <a:gd name="T1" fmla="*/ 0 h 1243"/>
                    <a:gd name="T2" fmla="*/ 968 w 1459"/>
                    <a:gd name="T3" fmla="*/ 0 h 1243"/>
                    <a:gd name="T4" fmla="*/ 1459 w 1459"/>
                    <a:gd name="T5" fmla="*/ 1243 h 1243"/>
                    <a:gd name="T6" fmla="*/ 970 w 1459"/>
                    <a:gd name="T7" fmla="*/ 1243 h 1243"/>
                    <a:gd name="T8" fmla="*/ 724 w 1459"/>
                    <a:gd name="T9" fmla="*/ 491 h 1243"/>
                    <a:gd name="T10" fmla="*/ 467 w 1459"/>
                    <a:gd name="T11" fmla="*/ 1243 h 1243"/>
                    <a:gd name="T12" fmla="*/ 0 w 1459"/>
                    <a:gd name="T13" fmla="*/ 1243 h 1243"/>
                    <a:gd name="T14" fmla="*/ 456 w 1459"/>
                    <a:gd name="T15" fmla="*/ 0 h 12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459" h="1243">
                      <a:moveTo>
                        <a:pt x="456" y="0"/>
                      </a:moveTo>
                      <a:lnTo>
                        <a:pt x="968" y="0"/>
                      </a:lnTo>
                      <a:lnTo>
                        <a:pt x="1459" y="1243"/>
                      </a:lnTo>
                      <a:lnTo>
                        <a:pt x="970" y="1243"/>
                      </a:lnTo>
                      <a:lnTo>
                        <a:pt x="724" y="491"/>
                      </a:lnTo>
                      <a:lnTo>
                        <a:pt x="467" y="1243"/>
                      </a:lnTo>
                      <a:lnTo>
                        <a:pt x="0" y="1243"/>
                      </a:lnTo>
                      <a:lnTo>
                        <a:pt x="456" y="0"/>
                      </a:lnTo>
                      <a:close/>
                    </a:path>
                  </a:pathLst>
                </a:custGeom>
                <a:solidFill>
                  <a:srgbClr val="3D7EDC"/>
                </a:solidFill>
                <a:ln>
                  <a:noFill/>
                  <a:headEnd/>
                  <a:tailEnd/>
                </a:ln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eaLnBrk="1"/>
                  <a:endParaRPr lang="en-GB" sz="3109" dirty="0"/>
                </a:p>
              </p:txBody>
            </p:sp>
          </p:grpSp>
          <p:sp>
            <p:nvSpPr>
              <p:cNvPr id="13" name="Base_Links_Blauw">
                <a:extLst>
                  <a:ext uri="{FF2B5EF4-FFF2-40B4-BE49-F238E27FC236}">
                    <a16:creationId xmlns:a16="http://schemas.microsoft.com/office/drawing/2014/main" id="{F1A54708-76AD-4BEB-BF57-24BABFEB5A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9113" y="2398713"/>
                <a:ext cx="1211263" cy="1230313"/>
              </a:xfrm>
              <a:custGeom>
                <a:avLst/>
                <a:gdLst>
                  <a:gd name="T0" fmla="*/ 1287 w 1526"/>
                  <a:gd name="T1" fmla="*/ 1 h 1549"/>
                  <a:gd name="T2" fmla="*/ 1391 w 1526"/>
                  <a:gd name="T3" fmla="*/ 9 h 1549"/>
                  <a:gd name="T4" fmla="*/ 1468 w 1526"/>
                  <a:gd name="T5" fmla="*/ 29 h 1549"/>
                  <a:gd name="T6" fmla="*/ 1506 w 1526"/>
                  <a:gd name="T7" fmla="*/ 54 h 1549"/>
                  <a:gd name="T8" fmla="*/ 1521 w 1526"/>
                  <a:gd name="T9" fmla="*/ 103 h 1549"/>
                  <a:gd name="T10" fmla="*/ 1526 w 1526"/>
                  <a:gd name="T11" fmla="*/ 181 h 1549"/>
                  <a:gd name="T12" fmla="*/ 1518 w 1526"/>
                  <a:gd name="T13" fmla="*/ 282 h 1549"/>
                  <a:gd name="T14" fmla="*/ 1503 w 1526"/>
                  <a:gd name="T15" fmla="*/ 404 h 1549"/>
                  <a:gd name="T16" fmla="*/ 1482 w 1526"/>
                  <a:gd name="T17" fmla="*/ 541 h 1549"/>
                  <a:gd name="T18" fmla="*/ 1453 w 1526"/>
                  <a:gd name="T19" fmla="*/ 691 h 1549"/>
                  <a:gd name="T20" fmla="*/ 1421 w 1526"/>
                  <a:gd name="T21" fmla="*/ 849 h 1549"/>
                  <a:gd name="T22" fmla="*/ 1386 w 1526"/>
                  <a:gd name="T23" fmla="*/ 1010 h 1549"/>
                  <a:gd name="T24" fmla="*/ 1351 w 1526"/>
                  <a:gd name="T25" fmla="*/ 1172 h 1549"/>
                  <a:gd name="T26" fmla="*/ 1315 w 1526"/>
                  <a:gd name="T27" fmla="*/ 1330 h 1549"/>
                  <a:gd name="T28" fmla="*/ 1281 w 1526"/>
                  <a:gd name="T29" fmla="*/ 1479 h 1549"/>
                  <a:gd name="T30" fmla="*/ 1146 w 1526"/>
                  <a:gd name="T31" fmla="*/ 1517 h 1549"/>
                  <a:gd name="T32" fmla="*/ 916 w 1526"/>
                  <a:gd name="T33" fmla="*/ 1441 h 1549"/>
                  <a:gd name="T34" fmla="*/ 708 w 1526"/>
                  <a:gd name="T35" fmla="*/ 1343 h 1549"/>
                  <a:gd name="T36" fmla="*/ 520 w 1526"/>
                  <a:gd name="T37" fmla="*/ 1229 h 1549"/>
                  <a:gd name="T38" fmla="*/ 357 w 1526"/>
                  <a:gd name="T39" fmla="*/ 1100 h 1549"/>
                  <a:gd name="T40" fmla="*/ 222 w 1526"/>
                  <a:gd name="T41" fmla="*/ 957 h 1549"/>
                  <a:gd name="T42" fmla="*/ 115 w 1526"/>
                  <a:gd name="T43" fmla="*/ 801 h 1549"/>
                  <a:gd name="T44" fmla="*/ 42 w 1526"/>
                  <a:gd name="T45" fmla="*/ 635 h 1549"/>
                  <a:gd name="T46" fmla="*/ 4 w 1526"/>
                  <a:gd name="T47" fmla="*/ 460 h 1549"/>
                  <a:gd name="T48" fmla="*/ 3 w 1526"/>
                  <a:gd name="T49" fmla="*/ 302 h 1549"/>
                  <a:gd name="T50" fmla="*/ 24 w 1526"/>
                  <a:gd name="T51" fmla="*/ 170 h 1549"/>
                  <a:gd name="T52" fmla="*/ 131 w 1526"/>
                  <a:gd name="T53" fmla="*/ 143 h 1549"/>
                  <a:gd name="T54" fmla="*/ 257 w 1526"/>
                  <a:gd name="T55" fmla="*/ 115 h 1549"/>
                  <a:gd name="T56" fmla="*/ 400 w 1526"/>
                  <a:gd name="T57" fmla="*/ 89 h 1549"/>
                  <a:gd name="T58" fmla="*/ 553 w 1526"/>
                  <a:gd name="T59" fmla="*/ 64 h 1549"/>
                  <a:gd name="T60" fmla="*/ 711 w 1526"/>
                  <a:gd name="T61" fmla="*/ 41 h 1549"/>
                  <a:gd name="T62" fmla="*/ 868 w 1526"/>
                  <a:gd name="T63" fmla="*/ 23 h 1549"/>
                  <a:gd name="T64" fmla="*/ 1020 w 1526"/>
                  <a:gd name="T65" fmla="*/ 9 h 1549"/>
                  <a:gd name="T66" fmla="*/ 1161 w 1526"/>
                  <a:gd name="T67" fmla="*/ 1 h 15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526" h="1549">
                    <a:moveTo>
                      <a:pt x="1227" y="0"/>
                    </a:moveTo>
                    <a:lnTo>
                      <a:pt x="1287" y="1"/>
                    </a:lnTo>
                    <a:lnTo>
                      <a:pt x="1342" y="4"/>
                    </a:lnTo>
                    <a:lnTo>
                      <a:pt x="1391" y="9"/>
                    </a:lnTo>
                    <a:lnTo>
                      <a:pt x="1433" y="18"/>
                    </a:lnTo>
                    <a:lnTo>
                      <a:pt x="1468" y="29"/>
                    </a:lnTo>
                    <a:lnTo>
                      <a:pt x="1494" y="41"/>
                    </a:lnTo>
                    <a:lnTo>
                      <a:pt x="1506" y="54"/>
                    </a:lnTo>
                    <a:lnTo>
                      <a:pt x="1515" y="74"/>
                    </a:lnTo>
                    <a:lnTo>
                      <a:pt x="1521" y="103"/>
                    </a:lnTo>
                    <a:lnTo>
                      <a:pt x="1524" y="138"/>
                    </a:lnTo>
                    <a:lnTo>
                      <a:pt x="1526" y="181"/>
                    </a:lnTo>
                    <a:lnTo>
                      <a:pt x="1523" y="228"/>
                    </a:lnTo>
                    <a:lnTo>
                      <a:pt x="1518" y="282"/>
                    </a:lnTo>
                    <a:lnTo>
                      <a:pt x="1512" y="340"/>
                    </a:lnTo>
                    <a:lnTo>
                      <a:pt x="1503" y="404"/>
                    </a:lnTo>
                    <a:lnTo>
                      <a:pt x="1493" y="471"/>
                    </a:lnTo>
                    <a:lnTo>
                      <a:pt x="1482" y="541"/>
                    </a:lnTo>
                    <a:lnTo>
                      <a:pt x="1468" y="615"/>
                    </a:lnTo>
                    <a:lnTo>
                      <a:pt x="1453" y="691"/>
                    </a:lnTo>
                    <a:lnTo>
                      <a:pt x="1438" y="769"/>
                    </a:lnTo>
                    <a:lnTo>
                      <a:pt x="1421" y="849"/>
                    </a:lnTo>
                    <a:lnTo>
                      <a:pt x="1404" y="930"/>
                    </a:lnTo>
                    <a:lnTo>
                      <a:pt x="1386" y="1010"/>
                    </a:lnTo>
                    <a:lnTo>
                      <a:pt x="1368" y="1091"/>
                    </a:lnTo>
                    <a:lnTo>
                      <a:pt x="1351" y="1172"/>
                    </a:lnTo>
                    <a:lnTo>
                      <a:pt x="1333" y="1252"/>
                    </a:lnTo>
                    <a:lnTo>
                      <a:pt x="1315" y="1330"/>
                    </a:lnTo>
                    <a:lnTo>
                      <a:pt x="1298" y="1404"/>
                    </a:lnTo>
                    <a:lnTo>
                      <a:pt x="1281" y="1479"/>
                    </a:lnTo>
                    <a:lnTo>
                      <a:pt x="1266" y="1549"/>
                    </a:lnTo>
                    <a:lnTo>
                      <a:pt x="1146" y="1517"/>
                    </a:lnTo>
                    <a:lnTo>
                      <a:pt x="1029" y="1482"/>
                    </a:lnTo>
                    <a:lnTo>
                      <a:pt x="916" y="1441"/>
                    </a:lnTo>
                    <a:lnTo>
                      <a:pt x="810" y="1395"/>
                    </a:lnTo>
                    <a:lnTo>
                      <a:pt x="708" y="1343"/>
                    </a:lnTo>
                    <a:lnTo>
                      <a:pt x="611" y="1289"/>
                    </a:lnTo>
                    <a:lnTo>
                      <a:pt x="520" y="1229"/>
                    </a:lnTo>
                    <a:lnTo>
                      <a:pt x="436" y="1167"/>
                    </a:lnTo>
                    <a:lnTo>
                      <a:pt x="357" y="1100"/>
                    </a:lnTo>
                    <a:lnTo>
                      <a:pt x="286" y="1030"/>
                    </a:lnTo>
                    <a:lnTo>
                      <a:pt x="222" y="957"/>
                    </a:lnTo>
                    <a:lnTo>
                      <a:pt x="166" y="880"/>
                    </a:lnTo>
                    <a:lnTo>
                      <a:pt x="115" y="801"/>
                    </a:lnTo>
                    <a:lnTo>
                      <a:pt x="76" y="719"/>
                    </a:lnTo>
                    <a:lnTo>
                      <a:pt x="42" y="635"/>
                    </a:lnTo>
                    <a:lnTo>
                      <a:pt x="20" y="548"/>
                    </a:lnTo>
                    <a:lnTo>
                      <a:pt x="4" y="460"/>
                    </a:lnTo>
                    <a:lnTo>
                      <a:pt x="0" y="369"/>
                    </a:lnTo>
                    <a:lnTo>
                      <a:pt x="3" y="302"/>
                    </a:lnTo>
                    <a:lnTo>
                      <a:pt x="11" y="235"/>
                    </a:lnTo>
                    <a:lnTo>
                      <a:pt x="24" y="170"/>
                    </a:lnTo>
                    <a:lnTo>
                      <a:pt x="74" y="156"/>
                    </a:lnTo>
                    <a:lnTo>
                      <a:pt x="131" y="143"/>
                    </a:lnTo>
                    <a:lnTo>
                      <a:pt x="191" y="129"/>
                    </a:lnTo>
                    <a:lnTo>
                      <a:pt x="257" y="115"/>
                    </a:lnTo>
                    <a:lnTo>
                      <a:pt x="327" y="103"/>
                    </a:lnTo>
                    <a:lnTo>
                      <a:pt x="400" y="89"/>
                    </a:lnTo>
                    <a:lnTo>
                      <a:pt x="476" y="76"/>
                    </a:lnTo>
                    <a:lnTo>
                      <a:pt x="553" y="64"/>
                    </a:lnTo>
                    <a:lnTo>
                      <a:pt x="631" y="51"/>
                    </a:lnTo>
                    <a:lnTo>
                      <a:pt x="711" y="41"/>
                    </a:lnTo>
                    <a:lnTo>
                      <a:pt x="790" y="30"/>
                    </a:lnTo>
                    <a:lnTo>
                      <a:pt x="868" y="23"/>
                    </a:lnTo>
                    <a:lnTo>
                      <a:pt x="945" y="15"/>
                    </a:lnTo>
                    <a:lnTo>
                      <a:pt x="1020" y="9"/>
                    </a:lnTo>
                    <a:lnTo>
                      <a:pt x="1093" y="4"/>
                    </a:lnTo>
                    <a:lnTo>
                      <a:pt x="1161" y="1"/>
                    </a:lnTo>
                    <a:lnTo>
                      <a:pt x="1227" y="0"/>
                    </a:lnTo>
                    <a:close/>
                  </a:path>
                </a:pathLst>
              </a:custGeom>
              <a:solidFill>
                <a:srgbClr val="3D7EDC"/>
              </a:solidFill>
              <a:ln>
                <a:noFill/>
                <a:headEnd/>
                <a:tailEnd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en-GB" sz="3109" dirty="0"/>
              </a:p>
            </p:txBody>
          </p:sp>
          <p:sp>
            <p:nvSpPr>
              <p:cNvPr id="14" name="Base_Rechts_Blauw">
                <a:extLst>
                  <a:ext uri="{FF2B5EF4-FFF2-40B4-BE49-F238E27FC236}">
                    <a16:creationId xmlns:a16="http://schemas.microsoft.com/office/drawing/2014/main" id="{E2147DFD-6885-47BC-B2A1-F7FF0CFBF3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10125" y="2398713"/>
                <a:ext cx="1212850" cy="1230313"/>
              </a:xfrm>
              <a:custGeom>
                <a:avLst/>
                <a:gdLst>
                  <a:gd name="T0" fmla="*/ 365 w 1530"/>
                  <a:gd name="T1" fmla="*/ 1 h 1549"/>
                  <a:gd name="T2" fmla="*/ 507 w 1530"/>
                  <a:gd name="T3" fmla="*/ 9 h 1549"/>
                  <a:gd name="T4" fmla="*/ 659 w 1530"/>
                  <a:gd name="T5" fmla="*/ 23 h 1549"/>
                  <a:gd name="T6" fmla="*/ 818 w 1530"/>
                  <a:gd name="T7" fmla="*/ 41 h 1549"/>
                  <a:gd name="T8" fmla="*/ 976 w 1530"/>
                  <a:gd name="T9" fmla="*/ 64 h 1549"/>
                  <a:gd name="T10" fmla="*/ 1130 w 1530"/>
                  <a:gd name="T11" fmla="*/ 89 h 1549"/>
                  <a:gd name="T12" fmla="*/ 1273 w 1530"/>
                  <a:gd name="T13" fmla="*/ 115 h 1549"/>
                  <a:gd name="T14" fmla="*/ 1400 w 1530"/>
                  <a:gd name="T15" fmla="*/ 143 h 1549"/>
                  <a:gd name="T16" fmla="*/ 1505 w 1530"/>
                  <a:gd name="T17" fmla="*/ 168 h 1549"/>
                  <a:gd name="T18" fmla="*/ 1528 w 1530"/>
                  <a:gd name="T19" fmla="*/ 302 h 1549"/>
                  <a:gd name="T20" fmla="*/ 1525 w 1530"/>
                  <a:gd name="T21" fmla="*/ 460 h 1549"/>
                  <a:gd name="T22" fmla="*/ 1487 w 1530"/>
                  <a:gd name="T23" fmla="*/ 635 h 1549"/>
                  <a:gd name="T24" fmla="*/ 1414 w 1530"/>
                  <a:gd name="T25" fmla="*/ 802 h 1549"/>
                  <a:gd name="T26" fmla="*/ 1308 w 1530"/>
                  <a:gd name="T27" fmla="*/ 957 h 1549"/>
                  <a:gd name="T28" fmla="*/ 1171 w 1530"/>
                  <a:gd name="T29" fmla="*/ 1102 h 1549"/>
                  <a:gd name="T30" fmla="*/ 1008 w 1530"/>
                  <a:gd name="T31" fmla="*/ 1231 h 1549"/>
                  <a:gd name="T32" fmla="*/ 820 w 1530"/>
                  <a:gd name="T33" fmla="*/ 1345 h 1549"/>
                  <a:gd name="T34" fmla="*/ 610 w 1530"/>
                  <a:gd name="T35" fmla="*/ 1442 h 1549"/>
                  <a:gd name="T36" fmla="*/ 380 w 1530"/>
                  <a:gd name="T37" fmla="*/ 1518 h 1549"/>
                  <a:gd name="T38" fmla="*/ 244 w 1530"/>
                  <a:gd name="T39" fmla="*/ 1479 h 1549"/>
                  <a:gd name="T40" fmla="*/ 210 w 1530"/>
                  <a:gd name="T41" fmla="*/ 1330 h 1549"/>
                  <a:gd name="T42" fmla="*/ 175 w 1530"/>
                  <a:gd name="T43" fmla="*/ 1173 h 1549"/>
                  <a:gd name="T44" fmla="*/ 139 w 1530"/>
                  <a:gd name="T45" fmla="*/ 1012 h 1549"/>
                  <a:gd name="T46" fmla="*/ 105 w 1530"/>
                  <a:gd name="T47" fmla="*/ 849 h 1549"/>
                  <a:gd name="T48" fmla="*/ 72 w 1530"/>
                  <a:gd name="T49" fmla="*/ 691 h 1549"/>
                  <a:gd name="T50" fmla="*/ 45 w 1530"/>
                  <a:gd name="T51" fmla="*/ 542 h 1549"/>
                  <a:gd name="T52" fmla="*/ 22 w 1530"/>
                  <a:gd name="T53" fmla="*/ 404 h 1549"/>
                  <a:gd name="T54" fmla="*/ 7 w 1530"/>
                  <a:gd name="T55" fmla="*/ 282 h 1549"/>
                  <a:gd name="T56" fmla="*/ 0 w 1530"/>
                  <a:gd name="T57" fmla="*/ 181 h 1549"/>
                  <a:gd name="T58" fmla="*/ 3 w 1530"/>
                  <a:gd name="T59" fmla="*/ 103 h 1549"/>
                  <a:gd name="T60" fmla="*/ 19 w 1530"/>
                  <a:gd name="T61" fmla="*/ 54 h 1549"/>
                  <a:gd name="T62" fmla="*/ 58 w 1530"/>
                  <a:gd name="T63" fmla="*/ 29 h 1549"/>
                  <a:gd name="T64" fmla="*/ 136 w 1530"/>
                  <a:gd name="T65" fmla="*/ 9 h 1549"/>
                  <a:gd name="T66" fmla="*/ 239 w 1530"/>
                  <a:gd name="T67" fmla="*/ 1 h 15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530" h="1549">
                    <a:moveTo>
                      <a:pt x="300" y="0"/>
                    </a:moveTo>
                    <a:lnTo>
                      <a:pt x="365" y="1"/>
                    </a:lnTo>
                    <a:lnTo>
                      <a:pt x="434" y="4"/>
                    </a:lnTo>
                    <a:lnTo>
                      <a:pt x="507" y="9"/>
                    </a:lnTo>
                    <a:lnTo>
                      <a:pt x="583" y="15"/>
                    </a:lnTo>
                    <a:lnTo>
                      <a:pt x="659" y="23"/>
                    </a:lnTo>
                    <a:lnTo>
                      <a:pt x="738" y="30"/>
                    </a:lnTo>
                    <a:lnTo>
                      <a:pt x="818" y="41"/>
                    </a:lnTo>
                    <a:lnTo>
                      <a:pt x="897" y="51"/>
                    </a:lnTo>
                    <a:lnTo>
                      <a:pt x="976" y="64"/>
                    </a:lnTo>
                    <a:lnTo>
                      <a:pt x="1054" y="76"/>
                    </a:lnTo>
                    <a:lnTo>
                      <a:pt x="1130" y="89"/>
                    </a:lnTo>
                    <a:lnTo>
                      <a:pt x="1203" y="102"/>
                    </a:lnTo>
                    <a:lnTo>
                      <a:pt x="1273" y="115"/>
                    </a:lnTo>
                    <a:lnTo>
                      <a:pt x="1338" y="129"/>
                    </a:lnTo>
                    <a:lnTo>
                      <a:pt x="1400" y="143"/>
                    </a:lnTo>
                    <a:lnTo>
                      <a:pt x="1455" y="156"/>
                    </a:lnTo>
                    <a:lnTo>
                      <a:pt x="1505" y="168"/>
                    </a:lnTo>
                    <a:lnTo>
                      <a:pt x="1519" y="235"/>
                    </a:lnTo>
                    <a:lnTo>
                      <a:pt x="1528" y="302"/>
                    </a:lnTo>
                    <a:lnTo>
                      <a:pt x="1530" y="369"/>
                    </a:lnTo>
                    <a:lnTo>
                      <a:pt x="1525" y="460"/>
                    </a:lnTo>
                    <a:lnTo>
                      <a:pt x="1511" y="548"/>
                    </a:lnTo>
                    <a:lnTo>
                      <a:pt x="1487" y="635"/>
                    </a:lnTo>
                    <a:lnTo>
                      <a:pt x="1455" y="720"/>
                    </a:lnTo>
                    <a:lnTo>
                      <a:pt x="1414" y="802"/>
                    </a:lnTo>
                    <a:lnTo>
                      <a:pt x="1364" y="881"/>
                    </a:lnTo>
                    <a:lnTo>
                      <a:pt x="1308" y="957"/>
                    </a:lnTo>
                    <a:lnTo>
                      <a:pt x="1244" y="1032"/>
                    </a:lnTo>
                    <a:lnTo>
                      <a:pt x="1171" y="1102"/>
                    </a:lnTo>
                    <a:lnTo>
                      <a:pt x="1093" y="1169"/>
                    </a:lnTo>
                    <a:lnTo>
                      <a:pt x="1008" y="1231"/>
                    </a:lnTo>
                    <a:lnTo>
                      <a:pt x="917" y="1290"/>
                    </a:lnTo>
                    <a:lnTo>
                      <a:pt x="820" y="1345"/>
                    </a:lnTo>
                    <a:lnTo>
                      <a:pt x="718" y="1397"/>
                    </a:lnTo>
                    <a:lnTo>
                      <a:pt x="610" y="1442"/>
                    </a:lnTo>
                    <a:lnTo>
                      <a:pt x="497" y="1483"/>
                    </a:lnTo>
                    <a:lnTo>
                      <a:pt x="380" y="1518"/>
                    </a:lnTo>
                    <a:lnTo>
                      <a:pt x="260" y="1549"/>
                    </a:lnTo>
                    <a:lnTo>
                      <a:pt x="244" y="1479"/>
                    </a:lnTo>
                    <a:lnTo>
                      <a:pt x="228" y="1406"/>
                    </a:lnTo>
                    <a:lnTo>
                      <a:pt x="210" y="1330"/>
                    </a:lnTo>
                    <a:lnTo>
                      <a:pt x="193" y="1252"/>
                    </a:lnTo>
                    <a:lnTo>
                      <a:pt x="175" y="1173"/>
                    </a:lnTo>
                    <a:lnTo>
                      <a:pt x="157" y="1093"/>
                    </a:lnTo>
                    <a:lnTo>
                      <a:pt x="139" y="1012"/>
                    </a:lnTo>
                    <a:lnTo>
                      <a:pt x="122" y="930"/>
                    </a:lnTo>
                    <a:lnTo>
                      <a:pt x="105" y="849"/>
                    </a:lnTo>
                    <a:lnTo>
                      <a:pt x="89" y="770"/>
                    </a:lnTo>
                    <a:lnTo>
                      <a:pt x="72" y="691"/>
                    </a:lnTo>
                    <a:lnTo>
                      <a:pt x="58" y="615"/>
                    </a:lnTo>
                    <a:lnTo>
                      <a:pt x="45" y="542"/>
                    </a:lnTo>
                    <a:lnTo>
                      <a:pt x="32" y="471"/>
                    </a:lnTo>
                    <a:lnTo>
                      <a:pt x="22" y="404"/>
                    </a:lnTo>
                    <a:lnTo>
                      <a:pt x="14" y="340"/>
                    </a:lnTo>
                    <a:lnTo>
                      <a:pt x="7" y="282"/>
                    </a:lnTo>
                    <a:lnTo>
                      <a:pt x="2" y="228"/>
                    </a:lnTo>
                    <a:lnTo>
                      <a:pt x="0" y="181"/>
                    </a:lnTo>
                    <a:lnTo>
                      <a:pt x="0" y="138"/>
                    </a:lnTo>
                    <a:lnTo>
                      <a:pt x="3" y="103"/>
                    </a:lnTo>
                    <a:lnTo>
                      <a:pt x="10" y="74"/>
                    </a:lnTo>
                    <a:lnTo>
                      <a:pt x="19" y="54"/>
                    </a:lnTo>
                    <a:lnTo>
                      <a:pt x="32" y="41"/>
                    </a:lnTo>
                    <a:lnTo>
                      <a:pt x="58" y="29"/>
                    </a:lnTo>
                    <a:lnTo>
                      <a:pt x="93" y="18"/>
                    </a:lnTo>
                    <a:lnTo>
                      <a:pt x="136" y="9"/>
                    </a:lnTo>
                    <a:lnTo>
                      <a:pt x="184" y="4"/>
                    </a:lnTo>
                    <a:lnTo>
                      <a:pt x="239" y="1"/>
                    </a:lnTo>
                    <a:lnTo>
                      <a:pt x="300" y="0"/>
                    </a:lnTo>
                    <a:close/>
                  </a:path>
                </a:pathLst>
              </a:custGeom>
              <a:solidFill>
                <a:srgbClr val="3D7EDC"/>
              </a:solidFill>
              <a:ln>
                <a:noFill/>
                <a:headEnd/>
                <a:tailEnd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en-GB" sz="3109" dirty="0"/>
              </a:p>
            </p:txBody>
          </p:sp>
          <p:sp>
            <p:nvSpPr>
              <p:cNvPr id="15" name="Base_Top_Blauw">
                <a:extLst>
                  <a:ext uri="{FF2B5EF4-FFF2-40B4-BE49-F238E27FC236}">
                    <a16:creationId xmlns:a16="http://schemas.microsoft.com/office/drawing/2014/main" id="{D8626A02-51AE-4ABC-9B0E-84B413829D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8013" y="1704976"/>
                <a:ext cx="2787650" cy="1974850"/>
              </a:xfrm>
              <a:custGeom>
                <a:avLst/>
                <a:gdLst>
                  <a:gd name="T0" fmla="*/ 1896 w 3512"/>
                  <a:gd name="T1" fmla="*/ 5 h 2490"/>
                  <a:gd name="T2" fmla="*/ 2169 w 3512"/>
                  <a:gd name="T3" fmla="*/ 32 h 2490"/>
                  <a:gd name="T4" fmla="*/ 2428 w 3512"/>
                  <a:gd name="T5" fmla="*/ 84 h 2490"/>
                  <a:gd name="T6" fmla="*/ 2670 w 3512"/>
                  <a:gd name="T7" fmla="*/ 161 h 2490"/>
                  <a:gd name="T8" fmla="*/ 2891 w 3512"/>
                  <a:gd name="T9" fmla="*/ 259 h 2490"/>
                  <a:gd name="T10" fmla="*/ 3089 w 3512"/>
                  <a:gd name="T11" fmla="*/ 376 h 2490"/>
                  <a:gd name="T12" fmla="*/ 3261 w 3512"/>
                  <a:gd name="T13" fmla="*/ 509 h 2490"/>
                  <a:gd name="T14" fmla="*/ 3402 w 3512"/>
                  <a:gd name="T15" fmla="*/ 660 h 2490"/>
                  <a:gd name="T16" fmla="*/ 3512 w 3512"/>
                  <a:gd name="T17" fmla="*/ 823 h 2490"/>
                  <a:gd name="T18" fmla="*/ 3443 w 3512"/>
                  <a:gd name="T19" fmla="*/ 810 h 2490"/>
                  <a:gd name="T20" fmla="*/ 3352 w 3512"/>
                  <a:gd name="T21" fmla="*/ 792 h 2490"/>
                  <a:gd name="T22" fmla="*/ 3244 w 3512"/>
                  <a:gd name="T23" fmla="*/ 771 h 2490"/>
                  <a:gd name="T24" fmla="*/ 3121 w 3512"/>
                  <a:gd name="T25" fmla="*/ 747 h 2490"/>
                  <a:gd name="T26" fmla="*/ 2987 w 3512"/>
                  <a:gd name="T27" fmla="*/ 721 h 2490"/>
                  <a:gd name="T28" fmla="*/ 2846 w 3512"/>
                  <a:gd name="T29" fmla="*/ 695 h 2490"/>
                  <a:gd name="T30" fmla="*/ 2700 w 3512"/>
                  <a:gd name="T31" fmla="*/ 671 h 2490"/>
                  <a:gd name="T32" fmla="*/ 2556 w 3512"/>
                  <a:gd name="T33" fmla="*/ 649 h 2490"/>
                  <a:gd name="T34" fmla="*/ 2414 w 3512"/>
                  <a:gd name="T35" fmla="*/ 630 h 2490"/>
                  <a:gd name="T36" fmla="*/ 2280 w 3512"/>
                  <a:gd name="T37" fmla="*/ 617 h 2490"/>
                  <a:gd name="T38" fmla="*/ 2157 w 3512"/>
                  <a:gd name="T39" fmla="*/ 610 h 2490"/>
                  <a:gd name="T40" fmla="*/ 2049 w 3512"/>
                  <a:gd name="T41" fmla="*/ 611 h 2490"/>
                  <a:gd name="T42" fmla="*/ 1960 w 3512"/>
                  <a:gd name="T43" fmla="*/ 620 h 2490"/>
                  <a:gd name="T44" fmla="*/ 1891 w 3512"/>
                  <a:gd name="T45" fmla="*/ 640 h 2490"/>
                  <a:gd name="T46" fmla="*/ 1849 w 3512"/>
                  <a:gd name="T47" fmla="*/ 672 h 2490"/>
                  <a:gd name="T48" fmla="*/ 1837 w 3512"/>
                  <a:gd name="T49" fmla="*/ 718 h 2490"/>
                  <a:gd name="T50" fmla="*/ 1756 w 3512"/>
                  <a:gd name="T51" fmla="*/ 2490 h 2490"/>
                  <a:gd name="T52" fmla="*/ 1671 w 3512"/>
                  <a:gd name="T53" fmla="*/ 718 h 2490"/>
                  <a:gd name="T54" fmla="*/ 1657 w 3512"/>
                  <a:gd name="T55" fmla="*/ 672 h 2490"/>
                  <a:gd name="T56" fmla="*/ 1616 w 3512"/>
                  <a:gd name="T57" fmla="*/ 640 h 2490"/>
                  <a:gd name="T58" fmla="*/ 1548 w 3512"/>
                  <a:gd name="T59" fmla="*/ 620 h 2490"/>
                  <a:gd name="T60" fmla="*/ 1458 w 3512"/>
                  <a:gd name="T61" fmla="*/ 611 h 2490"/>
                  <a:gd name="T62" fmla="*/ 1352 w 3512"/>
                  <a:gd name="T63" fmla="*/ 610 h 2490"/>
                  <a:gd name="T64" fmla="*/ 1229 w 3512"/>
                  <a:gd name="T65" fmla="*/ 617 h 2490"/>
                  <a:gd name="T66" fmla="*/ 1095 w 3512"/>
                  <a:gd name="T67" fmla="*/ 630 h 2490"/>
                  <a:gd name="T68" fmla="*/ 955 w 3512"/>
                  <a:gd name="T69" fmla="*/ 648 h 2490"/>
                  <a:gd name="T70" fmla="*/ 811 w 3512"/>
                  <a:gd name="T71" fmla="*/ 671 h 2490"/>
                  <a:gd name="T72" fmla="*/ 666 w 3512"/>
                  <a:gd name="T73" fmla="*/ 695 h 2490"/>
                  <a:gd name="T74" fmla="*/ 525 w 3512"/>
                  <a:gd name="T75" fmla="*/ 721 h 2490"/>
                  <a:gd name="T76" fmla="*/ 391 w 3512"/>
                  <a:gd name="T77" fmla="*/ 747 h 2490"/>
                  <a:gd name="T78" fmla="*/ 268 w 3512"/>
                  <a:gd name="T79" fmla="*/ 771 h 2490"/>
                  <a:gd name="T80" fmla="*/ 160 w 3512"/>
                  <a:gd name="T81" fmla="*/ 792 h 2490"/>
                  <a:gd name="T82" fmla="*/ 69 w 3512"/>
                  <a:gd name="T83" fmla="*/ 810 h 2490"/>
                  <a:gd name="T84" fmla="*/ 0 w 3512"/>
                  <a:gd name="T85" fmla="*/ 821 h 2490"/>
                  <a:gd name="T86" fmla="*/ 110 w 3512"/>
                  <a:gd name="T87" fmla="*/ 658 h 2490"/>
                  <a:gd name="T88" fmla="*/ 251 w 3512"/>
                  <a:gd name="T89" fmla="*/ 509 h 2490"/>
                  <a:gd name="T90" fmla="*/ 423 w 3512"/>
                  <a:gd name="T91" fmla="*/ 376 h 2490"/>
                  <a:gd name="T92" fmla="*/ 621 w 3512"/>
                  <a:gd name="T93" fmla="*/ 259 h 2490"/>
                  <a:gd name="T94" fmla="*/ 841 w 3512"/>
                  <a:gd name="T95" fmla="*/ 161 h 2490"/>
                  <a:gd name="T96" fmla="*/ 1083 w 3512"/>
                  <a:gd name="T97" fmla="*/ 84 h 2490"/>
                  <a:gd name="T98" fmla="*/ 1343 w 3512"/>
                  <a:gd name="T99" fmla="*/ 32 h 2490"/>
                  <a:gd name="T100" fmla="*/ 1615 w 3512"/>
                  <a:gd name="T101" fmla="*/ 5 h 24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512" h="2490">
                    <a:moveTo>
                      <a:pt x="1756" y="0"/>
                    </a:moveTo>
                    <a:lnTo>
                      <a:pt x="1896" y="5"/>
                    </a:lnTo>
                    <a:lnTo>
                      <a:pt x="2034" y="15"/>
                    </a:lnTo>
                    <a:lnTo>
                      <a:pt x="2169" y="32"/>
                    </a:lnTo>
                    <a:lnTo>
                      <a:pt x="2302" y="55"/>
                    </a:lnTo>
                    <a:lnTo>
                      <a:pt x="2428" y="84"/>
                    </a:lnTo>
                    <a:lnTo>
                      <a:pt x="2551" y="120"/>
                    </a:lnTo>
                    <a:lnTo>
                      <a:pt x="2670" y="161"/>
                    </a:lnTo>
                    <a:lnTo>
                      <a:pt x="2784" y="207"/>
                    </a:lnTo>
                    <a:lnTo>
                      <a:pt x="2891" y="259"/>
                    </a:lnTo>
                    <a:lnTo>
                      <a:pt x="2993" y="315"/>
                    </a:lnTo>
                    <a:lnTo>
                      <a:pt x="3089" y="376"/>
                    </a:lnTo>
                    <a:lnTo>
                      <a:pt x="3177" y="441"/>
                    </a:lnTo>
                    <a:lnTo>
                      <a:pt x="3261" y="509"/>
                    </a:lnTo>
                    <a:lnTo>
                      <a:pt x="3335" y="582"/>
                    </a:lnTo>
                    <a:lnTo>
                      <a:pt x="3402" y="660"/>
                    </a:lnTo>
                    <a:lnTo>
                      <a:pt x="3461" y="739"/>
                    </a:lnTo>
                    <a:lnTo>
                      <a:pt x="3512" y="823"/>
                    </a:lnTo>
                    <a:lnTo>
                      <a:pt x="3480" y="816"/>
                    </a:lnTo>
                    <a:lnTo>
                      <a:pt x="3443" y="810"/>
                    </a:lnTo>
                    <a:lnTo>
                      <a:pt x="3401" y="801"/>
                    </a:lnTo>
                    <a:lnTo>
                      <a:pt x="3352" y="792"/>
                    </a:lnTo>
                    <a:lnTo>
                      <a:pt x="3300" y="783"/>
                    </a:lnTo>
                    <a:lnTo>
                      <a:pt x="3244" y="771"/>
                    </a:lnTo>
                    <a:lnTo>
                      <a:pt x="3183" y="760"/>
                    </a:lnTo>
                    <a:lnTo>
                      <a:pt x="3121" y="747"/>
                    </a:lnTo>
                    <a:lnTo>
                      <a:pt x="3056" y="734"/>
                    </a:lnTo>
                    <a:lnTo>
                      <a:pt x="2987" y="721"/>
                    </a:lnTo>
                    <a:lnTo>
                      <a:pt x="2917" y="709"/>
                    </a:lnTo>
                    <a:lnTo>
                      <a:pt x="2846" y="695"/>
                    </a:lnTo>
                    <a:lnTo>
                      <a:pt x="2773" y="683"/>
                    </a:lnTo>
                    <a:lnTo>
                      <a:pt x="2700" y="671"/>
                    </a:lnTo>
                    <a:lnTo>
                      <a:pt x="2627" y="660"/>
                    </a:lnTo>
                    <a:lnTo>
                      <a:pt x="2556" y="649"/>
                    </a:lnTo>
                    <a:lnTo>
                      <a:pt x="2484" y="639"/>
                    </a:lnTo>
                    <a:lnTo>
                      <a:pt x="2414" y="630"/>
                    </a:lnTo>
                    <a:lnTo>
                      <a:pt x="2346" y="623"/>
                    </a:lnTo>
                    <a:lnTo>
                      <a:pt x="2280" y="617"/>
                    </a:lnTo>
                    <a:lnTo>
                      <a:pt x="2217" y="613"/>
                    </a:lnTo>
                    <a:lnTo>
                      <a:pt x="2157" y="610"/>
                    </a:lnTo>
                    <a:lnTo>
                      <a:pt x="2101" y="610"/>
                    </a:lnTo>
                    <a:lnTo>
                      <a:pt x="2049" y="611"/>
                    </a:lnTo>
                    <a:lnTo>
                      <a:pt x="2002" y="614"/>
                    </a:lnTo>
                    <a:lnTo>
                      <a:pt x="1960" y="620"/>
                    </a:lnTo>
                    <a:lnTo>
                      <a:pt x="1922" y="630"/>
                    </a:lnTo>
                    <a:lnTo>
                      <a:pt x="1891" y="640"/>
                    </a:lnTo>
                    <a:lnTo>
                      <a:pt x="1867" y="655"/>
                    </a:lnTo>
                    <a:lnTo>
                      <a:pt x="1849" y="672"/>
                    </a:lnTo>
                    <a:lnTo>
                      <a:pt x="1838" y="693"/>
                    </a:lnTo>
                    <a:lnTo>
                      <a:pt x="1837" y="718"/>
                    </a:lnTo>
                    <a:lnTo>
                      <a:pt x="1837" y="2490"/>
                    </a:lnTo>
                    <a:lnTo>
                      <a:pt x="1756" y="2490"/>
                    </a:lnTo>
                    <a:lnTo>
                      <a:pt x="1671" y="2488"/>
                    </a:lnTo>
                    <a:lnTo>
                      <a:pt x="1671" y="718"/>
                    </a:lnTo>
                    <a:lnTo>
                      <a:pt x="1668" y="693"/>
                    </a:lnTo>
                    <a:lnTo>
                      <a:pt x="1657" y="672"/>
                    </a:lnTo>
                    <a:lnTo>
                      <a:pt x="1640" y="655"/>
                    </a:lnTo>
                    <a:lnTo>
                      <a:pt x="1616" y="640"/>
                    </a:lnTo>
                    <a:lnTo>
                      <a:pt x="1586" y="630"/>
                    </a:lnTo>
                    <a:lnTo>
                      <a:pt x="1548" y="620"/>
                    </a:lnTo>
                    <a:lnTo>
                      <a:pt x="1507" y="614"/>
                    </a:lnTo>
                    <a:lnTo>
                      <a:pt x="1458" y="611"/>
                    </a:lnTo>
                    <a:lnTo>
                      <a:pt x="1406" y="610"/>
                    </a:lnTo>
                    <a:lnTo>
                      <a:pt x="1352" y="610"/>
                    </a:lnTo>
                    <a:lnTo>
                      <a:pt x="1291" y="613"/>
                    </a:lnTo>
                    <a:lnTo>
                      <a:pt x="1229" y="617"/>
                    </a:lnTo>
                    <a:lnTo>
                      <a:pt x="1163" y="622"/>
                    </a:lnTo>
                    <a:lnTo>
                      <a:pt x="1095" y="630"/>
                    </a:lnTo>
                    <a:lnTo>
                      <a:pt x="1025" y="639"/>
                    </a:lnTo>
                    <a:lnTo>
                      <a:pt x="955" y="648"/>
                    </a:lnTo>
                    <a:lnTo>
                      <a:pt x="882" y="658"/>
                    </a:lnTo>
                    <a:lnTo>
                      <a:pt x="811" y="671"/>
                    </a:lnTo>
                    <a:lnTo>
                      <a:pt x="738" y="683"/>
                    </a:lnTo>
                    <a:lnTo>
                      <a:pt x="666" y="695"/>
                    </a:lnTo>
                    <a:lnTo>
                      <a:pt x="595" y="709"/>
                    </a:lnTo>
                    <a:lnTo>
                      <a:pt x="525" y="721"/>
                    </a:lnTo>
                    <a:lnTo>
                      <a:pt x="456" y="734"/>
                    </a:lnTo>
                    <a:lnTo>
                      <a:pt x="391" y="747"/>
                    </a:lnTo>
                    <a:lnTo>
                      <a:pt x="327" y="759"/>
                    </a:lnTo>
                    <a:lnTo>
                      <a:pt x="268" y="771"/>
                    </a:lnTo>
                    <a:lnTo>
                      <a:pt x="212" y="782"/>
                    </a:lnTo>
                    <a:lnTo>
                      <a:pt x="160" y="792"/>
                    </a:lnTo>
                    <a:lnTo>
                      <a:pt x="111" y="801"/>
                    </a:lnTo>
                    <a:lnTo>
                      <a:pt x="69" y="810"/>
                    </a:lnTo>
                    <a:lnTo>
                      <a:pt x="31" y="816"/>
                    </a:lnTo>
                    <a:lnTo>
                      <a:pt x="0" y="821"/>
                    </a:lnTo>
                    <a:lnTo>
                      <a:pt x="51" y="739"/>
                    </a:lnTo>
                    <a:lnTo>
                      <a:pt x="110" y="658"/>
                    </a:lnTo>
                    <a:lnTo>
                      <a:pt x="177" y="582"/>
                    </a:lnTo>
                    <a:lnTo>
                      <a:pt x="251" y="509"/>
                    </a:lnTo>
                    <a:lnTo>
                      <a:pt x="333" y="441"/>
                    </a:lnTo>
                    <a:lnTo>
                      <a:pt x="423" y="376"/>
                    </a:lnTo>
                    <a:lnTo>
                      <a:pt x="519" y="315"/>
                    </a:lnTo>
                    <a:lnTo>
                      <a:pt x="621" y="259"/>
                    </a:lnTo>
                    <a:lnTo>
                      <a:pt x="728" y="207"/>
                    </a:lnTo>
                    <a:lnTo>
                      <a:pt x="841" y="161"/>
                    </a:lnTo>
                    <a:lnTo>
                      <a:pt x="960" y="120"/>
                    </a:lnTo>
                    <a:lnTo>
                      <a:pt x="1083" y="84"/>
                    </a:lnTo>
                    <a:lnTo>
                      <a:pt x="1210" y="55"/>
                    </a:lnTo>
                    <a:lnTo>
                      <a:pt x="1343" y="32"/>
                    </a:lnTo>
                    <a:lnTo>
                      <a:pt x="1476" y="15"/>
                    </a:lnTo>
                    <a:lnTo>
                      <a:pt x="1615" y="5"/>
                    </a:lnTo>
                    <a:lnTo>
                      <a:pt x="1756" y="0"/>
                    </a:lnTo>
                    <a:close/>
                  </a:path>
                </a:pathLst>
              </a:custGeom>
              <a:solidFill>
                <a:srgbClr val="3D7EDC"/>
              </a:solidFill>
              <a:ln>
                <a:noFill/>
                <a:headEnd/>
                <a:tailEnd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en-GB" sz="3109" dirty="0"/>
              </a:p>
            </p:txBody>
          </p:sp>
        </p:grpSp>
      </p:grpSp>
      <p:sp>
        <p:nvSpPr>
          <p:cNvPr id="14438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48687" y="2854831"/>
            <a:ext cx="13352712" cy="1375890"/>
          </a:xfrm>
        </p:spPr>
        <p:txBody>
          <a:bodyPr bIns="49478"/>
          <a:lstStyle>
            <a:lvl1pPr>
              <a:defRPr sz="491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4438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48687" y="7442408"/>
            <a:ext cx="13352712" cy="501886"/>
          </a:xfrm>
        </p:spPr>
        <p:txBody>
          <a:bodyPr tIns="49478" rIns="98956" bIns="49478"/>
          <a:lstStyle>
            <a:lvl1pPr marL="0" indent="0">
              <a:buFontTx/>
              <a:buNone/>
              <a:defRPr sz="2667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72290" y="627346"/>
            <a:ext cx="14059297" cy="433186"/>
          </a:xfrm>
        </p:spPr>
        <p:txBody>
          <a:bodyPr/>
          <a:lstStyle>
            <a:lvl1pPr>
              <a:defRPr sz="2532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16" name="Tijdelijke aanduiding voor tekst 15"/>
          <p:cNvSpPr>
            <a:spLocks noGrp="1"/>
          </p:cNvSpPr>
          <p:nvPr>
            <p:ph type="body" sz="quarter" idx="14"/>
          </p:nvPr>
        </p:nvSpPr>
        <p:spPr>
          <a:xfrm>
            <a:off x="533042" y="2307581"/>
            <a:ext cx="6732106" cy="432750"/>
          </a:xfrm>
          <a:solidFill>
            <a:schemeClr val="tx2">
              <a:lumMod val="20000"/>
              <a:lumOff val="80000"/>
            </a:schemeClr>
          </a:solidFill>
        </p:spPr>
        <p:txBody>
          <a:bodyPr lIns="179992" anchor="ctr"/>
          <a:lstStyle>
            <a:lvl1pPr marL="0" indent="0" algn="l">
              <a:spcBef>
                <a:spcPts val="0"/>
              </a:spcBef>
              <a:buNone/>
              <a:defRPr sz="183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7" name="Tijdelijke aanduiding voor tekst 15"/>
          <p:cNvSpPr>
            <a:spLocks noGrp="1"/>
          </p:cNvSpPr>
          <p:nvPr>
            <p:ph type="body" sz="quarter" idx="15"/>
          </p:nvPr>
        </p:nvSpPr>
        <p:spPr>
          <a:xfrm>
            <a:off x="7676983" y="2307581"/>
            <a:ext cx="6655819" cy="432750"/>
          </a:xfrm>
          <a:solidFill>
            <a:schemeClr val="accent5">
              <a:lumMod val="60000"/>
              <a:lumOff val="40000"/>
            </a:schemeClr>
          </a:solidFill>
        </p:spPr>
        <p:txBody>
          <a:bodyPr lIns="179992" anchor="ctr"/>
          <a:lstStyle>
            <a:lvl1pPr marL="0" indent="0">
              <a:spcBef>
                <a:spcPts val="0"/>
              </a:spcBef>
              <a:buNone/>
              <a:defRPr sz="183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330274" y="1263217"/>
            <a:ext cx="14081579" cy="444634"/>
          </a:xfrm>
        </p:spPr>
        <p:txBody>
          <a:bodyPr/>
          <a:lstStyle>
            <a:lvl1pPr>
              <a:buNone/>
              <a:defRPr sz="2111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ijdelijke aanduiding voor tekst 20"/>
          <p:cNvSpPr>
            <a:spLocks noGrp="1"/>
          </p:cNvSpPr>
          <p:nvPr>
            <p:ph type="body" sz="quarter" idx="19"/>
          </p:nvPr>
        </p:nvSpPr>
        <p:spPr>
          <a:xfrm>
            <a:off x="533042" y="2718695"/>
            <a:ext cx="6732106" cy="4721303"/>
          </a:xfrm>
        </p:spPr>
        <p:txBody>
          <a:bodyPr/>
          <a:lstStyle>
            <a:lvl1pPr>
              <a:defRPr sz="1830"/>
            </a:lvl1pPr>
            <a:lvl2pPr>
              <a:defRPr sz="183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1" name="Tijdelijke aanduiding voor tekst 20"/>
          <p:cNvSpPr>
            <a:spLocks noGrp="1"/>
          </p:cNvSpPr>
          <p:nvPr>
            <p:ph type="body" sz="quarter" idx="20"/>
          </p:nvPr>
        </p:nvSpPr>
        <p:spPr>
          <a:xfrm>
            <a:off x="7677059" y="2718695"/>
            <a:ext cx="6655819" cy="4721303"/>
          </a:xfrm>
        </p:spPr>
        <p:txBody>
          <a:bodyPr/>
          <a:lstStyle>
            <a:lvl1pPr>
              <a:defRPr sz="1830"/>
            </a:lvl1pPr>
            <a:lvl2pPr>
              <a:defRPr sz="183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8" name="Rectangle 5"/>
          <p:cNvSpPr>
            <a:spLocks noGrp="1" noChangeArrowheads="1"/>
          </p:cNvSpPr>
          <p:nvPr>
            <p:ph type="sldNum" sz="quarter" idx="2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EEDDE4F-381E-4904-8E4A-86B45F5FCC9F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2" name="Rectangle 6"/>
          <p:cNvSpPr>
            <a:spLocks noGrp="1" noChangeArrowheads="1"/>
          </p:cNvSpPr>
          <p:nvPr>
            <p:ph type="ftr" sz="quarter" idx="2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6180618"/>
      </p:ext>
    </p:extLst>
  </p:cSld>
  <p:clrMapOvr>
    <a:masterClrMapping/>
  </p:clrMapOvr>
  <p:transition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968061" y="1994310"/>
            <a:ext cx="7363176" cy="82912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118886" tIns="59442" rIns="118886" bIns="59442" anchor="ctr" anchorCtr="0">
            <a:normAutofit/>
          </a:bodyPr>
          <a:lstStyle/>
          <a:p>
            <a:pPr marL="348804" algn="just" defTabSz="1286610" fontAlgn="base">
              <a:spcBef>
                <a:spcPct val="0"/>
              </a:spcBef>
              <a:spcAft>
                <a:spcPct val="0"/>
              </a:spcAft>
            </a:pPr>
            <a:r>
              <a:rPr lang="en-IN" sz="1830" b="1" dirty="0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6" name="Oval 259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617297" y="2130620"/>
            <a:ext cx="656780" cy="561017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118886" tIns="59442" rIns="118886" bIns="59442" anchor="ctr"/>
          <a:lstStyle/>
          <a:p>
            <a:pPr algn="ctr" defTabSz="1188827">
              <a:defRPr/>
            </a:pPr>
            <a:r>
              <a:rPr lang="en-US" sz="2392" kern="0" dirty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968061" y="3034786"/>
            <a:ext cx="7363176" cy="89937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118886" tIns="59442" rIns="118886" bIns="59442" anchor="ctr" anchorCtr="0">
            <a:normAutofit/>
          </a:bodyPr>
          <a:lstStyle/>
          <a:p>
            <a:pPr marL="348804" algn="just" defTabSz="1286610" fontAlgn="base">
              <a:spcBef>
                <a:spcPct val="0"/>
              </a:spcBef>
              <a:spcAft>
                <a:spcPct val="0"/>
              </a:spcAft>
            </a:pPr>
            <a:r>
              <a:rPr lang="en-IN" sz="1830" b="1" dirty="0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8" name="Oval 260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618759" y="3213954"/>
            <a:ext cx="656780" cy="561017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118886" tIns="59442" rIns="118886" bIns="59442" anchor="ctr"/>
          <a:lstStyle/>
          <a:p>
            <a:pPr algn="ctr" defTabSz="1188827">
              <a:defRPr/>
            </a:pPr>
            <a:r>
              <a:rPr lang="en-US" sz="2392" kern="0" dirty="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968061" y="4127432"/>
            <a:ext cx="7363176" cy="92443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118886" tIns="59442" rIns="118886" bIns="59442" anchor="ctr" anchorCtr="0">
            <a:normAutofit/>
          </a:bodyPr>
          <a:lstStyle/>
          <a:p>
            <a:pPr marL="348804" algn="just" defTabSz="1286610" fontAlgn="base">
              <a:spcBef>
                <a:spcPct val="0"/>
              </a:spcBef>
              <a:spcAft>
                <a:spcPct val="0"/>
              </a:spcAft>
            </a:pPr>
            <a:r>
              <a:rPr lang="en-IN" sz="1830" b="1" dirty="0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0" name="Oval 26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607416" y="4312892"/>
            <a:ext cx="656780" cy="561017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118886" tIns="59442" rIns="118886" bIns="59442" anchor="ctr"/>
          <a:lstStyle/>
          <a:p>
            <a:pPr algn="ctr" defTabSz="1188827">
              <a:defRPr/>
            </a:pPr>
            <a:r>
              <a:rPr lang="en-US" sz="2392" kern="0" dirty="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968061" y="5238687"/>
            <a:ext cx="7363176" cy="88054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118886" tIns="59442" rIns="118886" bIns="59442" anchor="ctr" anchorCtr="0">
            <a:normAutofit/>
          </a:bodyPr>
          <a:lstStyle/>
          <a:p>
            <a:pPr marL="348804" algn="just" defTabSz="1286610" fontAlgn="base">
              <a:spcBef>
                <a:spcPct val="0"/>
              </a:spcBef>
              <a:spcAft>
                <a:spcPct val="0"/>
              </a:spcAft>
            </a:pPr>
            <a:r>
              <a:rPr lang="en-IN" sz="1830" b="1" dirty="0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2" name="Oval 262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628979" y="5399652"/>
            <a:ext cx="656780" cy="561017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118886" tIns="59442" rIns="118886" bIns="59442" anchor="ctr"/>
          <a:lstStyle/>
          <a:p>
            <a:pPr algn="ctr" defTabSz="1188827">
              <a:defRPr/>
            </a:pPr>
            <a:r>
              <a:rPr lang="en-US" sz="2392" kern="0" dirty="0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968061" y="6317350"/>
            <a:ext cx="7363176" cy="79913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118886" tIns="59442" rIns="118886" bIns="59442" anchor="ctr" anchorCtr="0">
            <a:normAutofit/>
          </a:bodyPr>
          <a:lstStyle/>
          <a:p>
            <a:pPr marL="348804" algn="just" defTabSz="1286610" fontAlgn="base">
              <a:spcBef>
                <a:spcPct val="0"/>
              </a:spcBef>
              <a:spcAft>
                <a:spcPct val="0"/>
              </a:spcAft>
            </a:pPr>
            <a:r>
              <a:rPr lang="en-IN" sz="1830" b="1" dirty="0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4" name="Oval 263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gray">
          <a:xfrm>
            <a:off x="583293" y="6420513"/>
            <a:ext cx="656780" cy="561017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118886" tIns="59442" rIns="118886" bIns="59442" anchor="ctr"/>
          <a:lstStyle/>
          <a:p>
            <a:pPr algn="ctr" defTabSz="1188827">
              <a:defRPr/>
            </a:pPr>
            <a:r>
              <a:rPr lang="en-US" sz="2392" kern="0" dirty="0">
                <a:solidFill>
                  <a:srgbClr val="FFFFFF"/>
                </a:solidFill>
              </a:rPr>
              <a:t>5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11391953" y="2004857"/>
            <a:ext cx="2684277" cy="829124"/>
          </a:xfrm>
          <a:prstGeom prst="rect">
            <a:avLst/>
          </a:prstGeom>
          <a:solidFill>
            <a:srgbClr val="E2FFC5"/>
          </a:solidFill>
        </p:spPr>
        <p:txBody>
          <a:bodyPr wrap="square" lIns="118886" tIns="59442" rIns="118886" bIns="59442" anchor="ctr" anchorCtr="0">
            <a:normAutofit/>
          </a:bodyPr>
          <a:lstStyle/>
          <a:p>
            <a:pPr marL="348804" algn="just" defTabSz="1286610" fontAlgn="base">
              <a:spcBef>
                <a:spcPct val="0"/>
              </a:spcBef>
              <a:spcAft>
                <a:spcPct val="0"/>
              </a:spcAft>
            </a:pPr>
            <a:r>
              <a:rPr lang="en-IN" sz="1830" b="1" dirty="0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11391953" y="3045332"/>
            <a:ext cx="2684277" cy="899374"/>
          </a:xfrm>
          <a:prstGeom prst="rect">
            <a:avLst/>
          </a:prstGeom>
          <a:solidFill>
            <a:srgbClr val="E2FFC5"/>
          </a:solidFill>
        </p:spPr>
        <p:txBody>
          <a:bodyPr wrap="square" lIns="118886" tIns="59442" rIns="118886" bIns="59442" anchor="ctr" anchorCtr="0">
            <a:normAutofit/>
          </a:bodyPr>
          <a:lstStyle/>
          <a:p>
            <a:pPr marL="348804" algn="just" defTabSz="1286610" fontAlgn="base">
              <a:spcBef>
                <a:spcPct val="0"/>
              </a:spcBef>
              <a:spcAft>
                <a:spcPct val="0"/>
              </a:spcAft>
            </a:pPr>
            <a:r>
              <a:rPr lang="en-IN" sz="1830" b="1" dirty="0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11391953" y="4137977"/>
            <a:ext cx="2684277" cy="924433"/>
          </a:xfrm>
          <a:prstGeom prst="rect">
            <a:avLst/>
          </a:prstGeom>
          <a:solidFill>
            <a:srgbClr val="E2FFC5"/>
          </a:solidFill>
        </p:spPr>
        <p:txBody>
          <a:bodyPr wrap="square" lIns="118886" tIns="59442" rIns="118886" bIns="59442" anchor="ctr" anchorCtr="0">
            <a:normAutofit/>
          </a:bodyPr>
          <a:lstStyle/>
          <a:p>
            <a:pPr marL="348804" algn="just" defTabSz="1286610" fontAlgn="base">
              <a:spcBef>
                <a:spcPct val="0"/>
              </a:spcBef>
              <a:spcAft>
                <a:spcPct val="0"/>
              </a:spcAft>
            </a:pPr>
            <a:r>
              <a:rPr lang="en-IN" sz="1830" b="1" dirty="0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11391953" y="5249237"/>
            <a:ext cx="2684277" cy="880541"/>
          </a:xfrm>
          <a:prstGeom prst="rect">
            <a:avLst/>
          </a:prstGeom>
          <a:solidFill>
            <a:srgbClr val="E2FFC5"/>
          </a:solidFill>
        </p:spPr>
        <p:txBody>
          <a:bodyPr wrap="square" lIns="118886" tIns="59442" rIns="118886" bIns="59442" anchor="ctr" anchorCtr="0">
            <a:normAutofit/>
          </a:bodyPr>
          <a:lstStyle/>
          <a:p>
            <a:pPr marL="348804" algn="just" defTabSz="1286610" fontAlgn="base">
              <a:spcBef>
                <a:spcPct val="0"/>
              </a:spcBef>
              <a:spcAft>
                <a:spcPct val="0"/>
              </a:spcAft>
            </a:pPr>
            <a:r>
              <a:rPr lang="en-IN" sz="1830" b="1" dirty="0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9" name="Rectangle 18"/>
          <p:cNvSpPr/>
          <p:nvPr userDrawn="1"/>
        </p:nvSpPr>
        <p:spPr>
          <a:xfrm>
            <a:off x="11391953" y="6327900"/>
            <a:ext cx="2684277" cy="799139"/>
          </a:xfrm>
          <a:prstGeom prst="rect">
            <a:avLst/>
          </a:prstGeom>
          <a:solidFill>
            <a:srgbClr val="E2FFC5"/>
          </a:solidFill>
        </p:spPr>
        <p:txBody>
          <a:bodyPr wrap="square" lIns="118886" tIns="59442" rIns="118886" bIns="59442" anchor="ctr" anchorCtr="0">
            <a:normAutofit/>
          </a:bodyPr>
          <a:lstStyle/>
          <a:p>
            <a:pPr marL="224969" algn="just" defTabSz="1286610" fontAlgn="base">
              <a:spcBef>
                <a:spcPct val="0"/>
              </a:spcBef>
              <a:spcAft>
                <a:spcPct val="0"/>
              </a:spcAft>
            </a:pPr>
            <a:r>
              <a:rPr lang="en-IN" sz="1830" b="1" dirty="0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8529323" y="2004857"/>
            <a:ext cx="2684277" cy="829124"/>
          </a:xfrm>
          <a:prstGeom prst="rect">
            <a:avLst/>
          </a:prstGeom>
          <a:solidFill>
            <a:srgbClr val="F8D9FF"/>
          </a:solidFill>
        </p:spPr>
        <p:txBody>
          <a:bodyPr wrap="square" lIns="118886" tIns="59442" rIns="118886" bIns="59442" anchor="ctr" anchorCtr="0">
            <a:normAutofit/>
          </a:bodyPr>
          <a:lstStyle/>
          <a:p>
            <a:pPr marL="348804" algn="just" defTabSz="1286610" fontAlgn="base">
              <a:spcBef>
                <a:spcPct val="0"/>
              </a:spcBef>
              <a:spcAft>
                <a:spcPct val="0"/>
              </a:spcAft>
            </a:pPr>
            <a:r>
              <a:rPr lang="en-IN" sz="1830" b="1" dirty="0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21" name="Rectangle 20"/>
          <p:cNvSpPr/>
          <p:nvPr userDrawn="1"/>
        </p:nvSpPr>
        <p:spPr>
          <a:xfrm>
            <a:off x="8529323" y="3045332"/>
            <a:ext cx="2684277" cy="899374"/>
          </a:xfrm>
          <a:prstGeom prst="rect">
            <a:avLst/>
          </a:prstGeom>
          <a:solidFill>
            <a:srgbClr val="F8D9FF"/>
          </a:solidFill>
        </p:spPr>
        <p:txBody>
          <a:bodyPr wrap="square" lIns="118886" tIns="59442" rIns="118886" bIns="59442" anchor="ctr" anchorCtr="0">
            <a:normAutofit/>
          </a:bodyPr>
          <a:lstStyle/>
          <a:p>
            <a:pPr marL="348804" algn="just" defTabSz="1286610" fontAlgn="base">
              <a:spcBef>
                <a:spcPct val="0"/>
              </a:spcBef>
              <a:spcAft>
                <a:spcPct val="0"/>
              </a:spcAft>
            </a:pPr>
            <a:r>
              <a:rPr lang="en-IN" sz="1830" b="1" dirty="0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22" name="Rectangle 21"/>
          <p:cNvSpPr/>
          <p:nvPr userDrawn="1"/>
        </p:nvSpPr>
        <p:spPr>
          <a:xfrm>
            <a:off x="8529323" y="4137977"/>
            <a:ext cx="2684277" cy="924433"/>
          </a:xfrm>
          <a:prstGeom prst="rect">
            <a:avLst/>
          </a:prstGeom>
          <a:solidFill>
            <a:srgbClr val="F8D9FF"/>
          </a:solidFill>
        </p:spPr>
        <p:txBody>
          <a:bodyPr wrap="square" lIns="118886" tIns="59442" rIns="118886" bIns="59442" anchor="ctr" anchorCtr="0">
            <a:normAutofit/>
          </a:bodyPr>
          <a:lstStyle/>
          <a:p>
            <a:pPr marL="348804" algn="just" defTabSz="1286610" fontAlgn="base">
              <a:spcBef>
                <a:spcPct val="0"/>
              </a:spcBef>
              <a:spcAft>
                <a:spcPct val="0"/>
              </a:spcAft>
            </a:pPr>
            <a:r>
              <a:rPr lang="en-IN" sz="1830" b="1" dirty="0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23" name="Rectangle 22"/>
          <p:cNvSpPr/>
          <p:nvPr userDrawn="1"/>
        </p:nvSpPr>
        <p:spPr>
          <a:xfrm>
            <a:off x="8529323" y="5249237"/>
            <a:ext cx="2684277" cy="880541"/>
          </a:xfrm>
          <a:prstGeom prst="rect">
            <a:avLst/>
          </a:prstGeom>
          <a:solidFill>
            <a:srgbClr val="F8D9FF"/>
          </a:solidFill>
        </p:spPr>
        <p:txBody>
          <a:bodyPr wrap="square" lIns="118886" tIns="59442" rIns="118886" bIns="59442" anchor="ctr" anchorCtr="0">
            <a:normAutofit/>
          </a:bodyPr>
          <a:lstStyle/>
          <a:p>
            <a:pPr marL="348804" algn="just" defTabSz="1286610" fontAlgn="base">
              <a:spcBef>
                <a:spcPct val="0"/>
              </a:spcBef>
              <a:spcAft>
                <a:spcPct val="0"/>
              </a:spcAft>
            </a:pPr>
            <a:r>
              <a:rPr lang="en-IN" sz="1830" b="1" dirty="0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24" name="Rectangle 23"/>
          <p:cNvSpPr/>
          <p:nvPr userDrawn="1"/>
        </p:nvSpPr>
        <p:spPr>
          <a:xfrm>
            <a:off x="8529323" y="6327900"/>
            <a:ext cx="2684277" cy="799139"/>
          </a:xfrm>
          <a:prstGeom prst="rect">
            <a:avLst/>
          </a:prstGeom>
          <a:solidFill>
            <a:srgbClr val="F8D9FF"/>
          </a:solidFill>
        </p:spPr>
        <p:txBody>
          <a:bodyPr wrap="square" lIns="118886" tIns="59442" rIns="118886" bIns="59442" anchor="ctr" anchorCtr="0">
            <a:normAutofit/>
          </a:bodyPr>
          <a:lstStyle/>
          <a:p>
            <a:pPr marL="348804" algn="just" defTabSz="1286610" fontAlgn="base">
              <a:spcBef>
                <a:spcPct val="0"/>
              </a:spcBef>
              <a:spcAft>
                <a:spcPct val="0"/>
              </a:spcAft>
            </a:pPr>
            <a:r>
              <a:rPr lang="en-IN" sz="1830" b="1" dirty="0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25" name="TextBox 24"/>
          <p:cNvSpPr txBox="1"/>
          <p:nvPr userDrawn="1"/>
        </p:nvSpPr>
        <p:spPr>
          <a:xfrm>
            <a:off x="8904737" y="1570398"/>
            <a:ext cx="1729284" cy="444877"/>
          </a:xfrm>
          <a:prstGeom prst="rect">
            <a:avLst/>
          </a:prstGeom>
          <a:noFill/>
        </p:spPr>
        <p:txBody>
          <a:bodyPr wrap="none" lIns="118886" tIns="59442" rIns="118886" bIns="59442" rtlCol="0">
            <a:spAutoFit/>
          </a:bodyPr>
          <a:lstStyle/>
          <a:p>
            <a:pPr defTabSz="1286610" fontAlgn="base">
              <a:spcBef>
                <a:spcPct val="0"/>
              </a:spcBef>
              <a:spcAft>
                <a:spcPct val="0"/>
              </a:spcAft>
            </a:pPr>
            <a:r>
              <a:rPr lang="en-IN" sz="2111" b="1" dirty="0">
                <a:solidFill>
                  <a:srgbClr val="000000"/>
                </a:solidFill>
              </a:rPr>
              <a:t>Description</a:t>
            </a:r>
            <a:endParaRPr lang="en-US" sz="2111" b="1" dirty="0">
              <a:solidFill>
                <a:srgbClr val="000000"/>
              </a:solidFill>
            </a:endParaRPr>
          </a:p>
        </p:txBody>
      </p:sp>
      <p:sp>
        <p:nvSpPr>
          <p:cNvPr id="26" name="TextBox 25"/>
          <p:cNvSpPr txBox="1"/>
          <p:nvPr userDrawn="1"/>
        </p:nvSpPr>
        <p:spPr>
          <a:xfrm>
            <a:off x="11773485" y="1551502"/>
            <a:ext cx="1729284" cy="444877"/>
          </a:xfrm>
          <a:prstGeom prst="rect">
            <a:avLst/>
          </a:prstGeom>
          <a:noFill/>
        </p:spPr>
        <p:txBody>
          <a:bodyPr wrap="none" lIns="118886" tIns="59442" rIns="118886" bIns="59442" rtlCol="0">
            <a:spAutoFit/>
          </a:bodyPr>
          <a:lstStyle/>
          <a:p>
            <a:pPr defTabSz="1286610" fontAlgn="base">
              <a:spcBef>
                <a:spcPct val="0"/>
              </a:spcBef>
              <a:spcAft>
                <a:spcPct val="0"/>
              </a:spcAft>
            </a:pPr>
            <a:r>
              <a:rPr lang="en-IN" sz="2111" b="1" dirty="0">
                <a:solidFill>
                  <a:srgbClr val="000000"/>
                </a:solidFill>
              </a:rPr>
              <a:t>Description</a:t>
            </a:r>
            <a:endParaRPr lang="en-US" sz="2111" b="1" dirty="0">
              <a:solidFill>
                <a:srgbClr val="000000"/>
              </a:solidFill>
            </a:endParaRPr>
          </a:p>
        </p:txBody>
      </p:sp>
      <p:sp>
        <p:nvSpPr>
          <p:cNvPr id="27" name="TextBox 26"/>
          <p:cNvSpPr txBox="1"/>
          <p:nvPr userDrawn="1"/>
        </p:nvSpPr>
        <p:spPr>
          <a:xfrm>
            <a:off x="968057" y="1570439"/>
            <a:ext cx="1729284" cy="444877"/>
          </a:xfrm>
          <a:prstGeom prst="rect">
            <a:avLst/>
          </a:prstGeom>
          <a:noFill/>
        </p:spPr>
        <p:txBody>
          <a:bodyPr wrap="none" lIns="118886" tIns="59442" rIns="118886" bIns="59442" rtlCol="0">
            <a:spAutoFit/>
          </a:bodyPr>
          <a:lstStyle/>
          <a:p>
            <a:pPr defTabSz="1286610" fontAlgn="base">
              <a:spcBef>
                <a:spcPct val="0"/>
              </a:spcBef>
              <a:spcAft>
                <a:spcPct val="0"/>
              </a:spcAft>
            </a:pPr>
            <a:r>
              <a:rPr lang="en-IN" sz="2111" b="1" dirty="0">
                <a:solidFill>
                  <a:srgbClr val="000000"/>
                </a:solidFill>
              </a:rPr>
              <a:t>Description</a:t>
            </a:r>
            <a:endParaRPr lang="en-US" sz="2111" b="1" dirty="0">
              <a:solidFill>
                <a:srgbClr val="000000"/>
              </a:solidFill>
            </a:endParaRPr>
          </a:p>
        </p:txBody>
      </p:sp>
      <p:sp>
        <p:nvSpPr>
          <p:cNvPr id="28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276401" y="1163601"/>
            <a:ext cx="14135451" cy="522775"/>
          </a:xfrm>
        </p:spPr>
        <p:txBody>
          <a:bodyPr/>
          <a:lstStyle>
            <a:lvl1pPr marL="0" indent="0">
              <a:buNone/>
              <a:defRPr sz="2111" b="1">
                <a:latin typeface="Arial" pitchFamily="34" charset="0"/>
                <a:cs typeface="Arial" pitchFamily="34" charset="0"/>
              </a:defRPr>
            </a:lvl1pPr>
            <a:lvl2pPr>
              <a:defRPr sz="1830">
                <a:latin typeface="Arial" pitchFamily="34" charset="0"/>
                <a:cs typeface="Arial" pitchFamily="34" charset="0"/>
              </a:defRPr>
            </a:lvl2pPr>
            <a:lvl3pPr marL="759776" indent="-253259">
              <a:buClr>
                <a:schemeClr val="tx2"/>
              </a:buClr>
              <a:buFont typeface="Wingdings" pitchFamily="2" charset="2"/>
              <a:buChar char="§"/>
              <a:defRPr sz="1548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603027301"/>
      </p:ext>
    </p:extLst>
  </p:cSld>
  <p:clrMapOvr>
    <a:masterClrMapping/>
  </p:clrMapOvr>
  <p:transition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 dirty="0">
              <a:solidFill>
                <a:srgbClr val="FFFFFF"/>
              </a:solidFill>
            </a:endParaRPr>
          </a:p>
        </p:txBody>
      </p:sp>
      <p:graphicFrame>
        <p:nvGraphicFramePr>
          <p:cNvPr id="5" name="Content Placeholder 3"/>
          <p:cNvGraphicFramePr>
            <a:graphicFrameLocks/>
          </p:cNvGraphicFramePr>
          <p:nvPr userDrawn="1"/>
        </p:nvGraphicFramePr>
        <p:xfrm>
          <a:off x="631755" y="1758727"/>
          <a:ext cx="13404991" cy="6231273"/>
        </p:xfrm>
        <a:graphic>
          <a:graphicData uri="http://schemas.openxmlformats.org/drawingml/2006/table">
            <a:tbl>
              <a:tblPr firstRow="1" bandRow="1"/>
              <a:tblGrid>
                <a:gridCol w="63175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5835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11488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672166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700" b="1" dirty="0">
                          <a:latin typeface="+mn-lt"/>
                          <a:cs typeface="Arial" pitchFamily="34" charset="0"/>
                        </a:rPr>
                        <a:t>SN</a:t>
                      </a:r>
                      <a:endParaRPr lang="en-IN" sz="1700" b="1" dirty="0">
                        <a:latin typeface="+mn-lt"/>
                        <a:cs typeface="Arial" pitchFamily="34" charset="0"/>
                      </a:endParaRPr>
                    </a:p>
                  </a:txBody>
                  <a:tcPr marL="137817" marR="137817" marT="53959" marB="53959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700" b="1" dirty="0">
                          <a:latin typeface="+mn-lt"/>
                          <a:cs typeface="Arial" pitchFamily="34" charset="0"/>
                        </a:rPr>
                        <a:t>Particulars</a:t>
                      </a:r>
                      <a:endParaRPr lang="en-IN" sz="1700" b="1" dirty="0">
                        <a:latin typeface="+mn-lt"/>
                        <a:cs typeface="Arial" pitchFamily="34" charset="0"/>
                      </a:endParaRPr>
                    </a:p>
                  </a:txBody>
                  <a:tcPr marL="137817" marR="137817" marT="53959" marB="53959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700" b="1" dirty="0">
                          <a:latin typeface="+mn-lt"/>
                          <a:cs typeface="Arial" pitchFamily="34" charset="0"/>
                        </a:rPr>
                        <a:t>Remarks</a:t>
                      </a:r>
                      <a:endParaRPr lang="en-IN" sz="1700" b="1" dirty="0">
                        <a:latin typeface="+mn-lt"/>
                        <a:cs typeface="Arial" pitchFamily="34" charset="0"/>
                      </a:endParaRPr>
                    </a:p>
                  </a:txBody>
                  <a:tcPr marL="137817" marR="137817" marT="53959" marB="53959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56050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700" b="1" dirty="0">
                          <a:latin typeface="+mn-lt"/>
                          <a:cs typeface="Arial" pitchFamily="34" charset="0"/>
                        </a:rPr>
                        <a:t>1</a:t>
                      </a:r>
                      <a:endParaRPr lang="en-IN" sz="1700" b="1" dirty="0">
                        <a:latin typeface="+mn-lt"/>
                        <a:cs typeface="Arial" pitchFamily="34" charset="0"/>
                      </a:endParaRPr>
                    </a:p>
                  </a:txBody>
                  <a:tcPr marL="137817" marR="137817" marT="53959" marB="53959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IN" sz="1700" b="1" dirty="0">
                        <a:latin typeface="+mn-lt"/>
                        <a:cs typeface="Arial" pitchFamily="34" charset="0"/>
                      </a:endParaRPr>
                    </a:p>
                  </a:txBody>
                  <a:tcPr marL="137817" marR="137817" marT="53959" marB="53959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700" baseline="0" dirty="0">
                          <a:latin typeface="+mn-lt"/>
                          <a:cs typeface="Arial" pitchFamily="34" charset="0"/>
                        </a:rPr>
                        <a:t> Text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700" baseline="0" dirty="0"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700" baseline="0" dirty="0"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endParaRPr lang="en-US" sz="1700" baseline="0" dirty="0">
                        <a:latin typeface="+mn-lt"/>
                        <a:cs typeface="Arial" pitchFamily="34" charset="0"/>
                      </a:endParaRPr>
                    </a:p>
                  </a:txBody>
                  <a:tcPr marL="137817" marR="137817" marT="53959" marB="53959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76928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700" b="1" dirty="0">
                          <a:latin typeface="+mn-lt"/>
                          <a:cs typeface="Arial" pitchFamily="34" charset="0"/>
                        </a:rPr>
                        <a:t>2</a:t>
                      </a:r>
                      <a:endParaRPr lang="en-IN" sz="1700" b="1" dirty="0">
                        <a:latin typeface="+mn-lt"/>
                        <a:cs typeface="Arial" pitchFamily="34" charset="0"/>
                      </a:endParaRPr>
                    </a:p>
                  </a:txBody>
                  <a:tcPr marL="137817" marR="137817" marT="53959" marB="53959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IN" sz="1700" b="1" dirty="0">
                        <a:latin typeface="+mn-lt"/>
                        <a:cs typeface="Arial" pitchFamily="34" charset="0"/>
                      </a:endParaRPr>
                    </a:p>
                  </a:txBody>
                  <a:tcPr marL="137817" marR="137817" marT="53959" marB="53959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700" baseline="0" dirty="0">
                          <a:latin typeface="+mn-lt"/>
                          <a:cs typeface="Arial" pitchFamily="34" charset="0"/>
                        </a:rPr>
                        <a:t> Text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700" baseline="0" dirty="0"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700" baseline="0" dirty="0"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</a:txBody>
                  <a:tcPr marL="137817" marR="137817" marT="53959" marB="53959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522677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700" b="1" dirty="0">
                          <a:latin typeface="+mn-lt"/>
                          <a:cs typeface="Arial" pitchFamily="34" charset="0"/>
                        </a:rPr>
                        <a:t>3</a:t>
                      </a:r>
                      <a:endParaRPr lang="en-IN" sz="1700" b="1" dirty="0">
                        <a:latin typeface="+mn-lt"/>
                        <a:cs typeface="Arial" pitchFamily="34" charset="0"/>
                      </a:endParaRPr>
                    </a:p>
                  </a:txBody>
                  <a:tcPr marL="137817" marR="137817" marT="53959" marB="53959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IN" sz="1700" b="1" dirty="0">
                        <a:latin typeface="+mn-lt"/>
                        <a:cs typeface="Arial" pitchFamily="34" charset="0"/>
                      </a:endParaRPr>
                    </a:p>
                  </a:txBody>
                  <a:tcPr marL="137817" marR="137817" marT="53959" marB="53959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700" baseline="0" dirty="0">
                          <a:latin typeface="+mn-lt"/>
                          <a:cs typeface="Arial" pitchFamily="34" charset="0"/>
                        </a:rPr>
                        <a:t> Text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700" baseline="0" dirty="0"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700" baseline="0" dirty="0"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</a:txBody>
                  <a:tcPr marL="137817" marR="137817" marT="53959" marB="53959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203451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700" b="1" dirty="0">
                          <a:latin typeface="+mn-lt"/>
                          <a:cs typeface="Arial" pitchFamily="34" charset="0"/>
                        </a:rPr>
                        <a:t>4</a:t>
                      </a:r>
                      <a:endParaRPr lang="en-IN" sz="1700" b="1" dirty="0">
                        <a:latin typeface="+mn-lt"/>
                        <a:cs typeface="Arial" pitchFamily="34" charset="0"/>
                      </a:endParaRPr>
                    </a:p>
                  </a:txBody>
                  <a:tcPr marL="137817" marR="137817" marT="53959" marB="53959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IN" sz="1700" b="1" dirty="0">
                        <a:latin typeface="+mn-lt"/>
                        <a:cs typeface="Arial" pitchFamily="34" charset="0"/>
                      </a:endParaRPr>
                    </a:p>
                  </a:txBody>
                  <a:tcPr marL="137817" marR="137817" marT="53959" marB="53959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700" baseline="0" dirty="0">
                          <a:latin typeface="+mn-lt"/>
                          <a:cs typeface="Arial" pitchFamily="34" charset="0"/>
                        </a:rPr>
                        <a:t> Text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700" baseline="0" dirty="0"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700" baseline="0" dirty="0"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</a:txBody>
                  <a:tcPr marL="137817" marR="137817" marT="53959" marB="53959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6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276401" y="1163601"/>
            <a:ext cx="14135451" cy="522775"/>
          </a:xfrm>
        </p:spPr>
        <p:txBody>
          <a:bodyPr/>
          <a:lstStyle>
            <a:lvl1pPr marL="0" indent="0">
              <a:buNone/>
              <a:defRPr sz="2111" b="1">
                <a:latin typeface="Arial" pitchFamily="34" charset="0"/>
                <a:cs typeface="Arial" pitchFamily="34" charset="0"/>
              </a:defRPr>
            </a:lvl1pPr>
            <a:lvl2pPr>
              <a:defRPr sz="1830">
                <a:latin typeface="Arial" pitchFamily="34" charset="0"/>
                <a:cs typeface="Arial" pitchFamily="34" charset="0"/>
              </a:defRPr>
            </a:lvl2pPr>
            <a:lvl3pPr marL="759776" indent="-253259">
              <a:buClr>
                <a:schemeClr val="tx2"/>
              </a:buClr>
              <a:buFont typeface="Wingdings" pitchFamily="2" charset="2"/>
              <a:buChar char="§"/>
              <a:defRPr sz="1548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4097105677"/>
      </p:ext>
    </p:extLst>
  </p:cSld>
  <p:clrMapOvr>
    <a:masterClrMapping/>
  </p:clrMapOvr>
  <p:transition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 dirty="0">
              <a:solidFill>
                <a:srgbClr val="FFFFFF"/>
              </a:solidFill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 userDrawn="1"/>
        </p:nvGraphicFramePr>
        <p:xfrm>
          <a:off x="631760" y="1684977"/>
          <a:ext cx="13385248" cy="2822840"/>
        </p:xfrm>
        <a:graphic>
          <a:graphicData uri="http://schemas.openxmlformats.org/drawingml/2006/table">
            <a:tbl>
              <a:tblPr/>
              <a:tblGrid>
                <a:gridCol w="24320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858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8324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0427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12531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65835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63860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325747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451092">
                <a:tc>
                  <a:txBody>
                    <a:bodyPr/>
                    <a:lstStyle/>
                    <a:p>
                      <a:pPr algn="ctr" fontAlgn="b"/>
                      <a:endParaRPr lang="en-IN" sz="1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UoM</a:t>
                      </a:r>
                    </a:p>
                  </a:txBody>
                  <a:tcPr marL="50521" marR="50521" marT="11418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Q FY</a:t>
                      </a:r>
                    </a:p>
                  </a:txBody>
                  <a:tcPr marL="50521" marR="50521" marT="11418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Q FY</a:t>
                      </a:r>
                    </a:p>
                  </a:txBody>
                  <a:tcPr marL="50521" marR="50521" marT="11418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Q FY</a:t>
                      </a:r>
                    </a:p>
                  </a:txBody>
                  <a:tcPr marL="50521" marR="50521" marT="11418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%Change Q/Q</a:t>
                      </a:r>
                    </a:p>
                  </a:txBody>
                  <a:tcPr marL="50521" marR="50521" marT="11418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%Change Y/Y</a:t>
                      </a:r>
                    </a:p>
                  </a:txBody>
                  <a:tcPr marL="50521" marR="50521" marT="11418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emarks</a:t>
                      </a:r>
                    </a:p>
                  </a:txBody>
                  <a:tcPr marL="50521" marR="50521" marT="11418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5291">
                <a:tc>
                  <a:txBody>
                    <a:bodyPr/>
                    <a:lstStyle/>
                    <a:p>
                      <a:pPr algn="l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C9B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5291">
                <a:tc>
                  <a:txBody>
                    <a:bodyPr/>
                    <a:lstStyle/>
                    <a:p>
                      <a:pPr algn="l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C9B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95291">
                <a:tc>
                  <a:txBody>
                    <a:bodyPr/>
                    <a:lstStyle/>
                    <a:p>
                      <a:pPr algn="l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C9B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95291">
                <a:tc>
                  <a:txBody>
                    <a:bodyPr/>
                    <a:lstStyle/>
                    <a:p>
                      <a:pPr algn="l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rgbClr val="FF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C9B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6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95291">
                <a:tc>
                  <a:txBody>
                    <a:bodyPr/>
                    <a:lstStyle/>
                    <a:p>
                      <a:pPr algn="l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95291">
                <a:tc>
                  <a:txBody>
                    <a:bodyPr/>
                    <a:lstStyle/>
                    <a:p>
                      <a:pPr algn="l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rgbClr val="FF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grpSp>
        <p:nvGrpSpPr>
          <p:cNvPr id="6" name="Group 5"/>
          <p:cNvGrpSpPr/>
          <p:nvPr userDrawn="1"/>
        </p:nvGrpSpPr>
        <p:grpSpPr>
          <a:xfrm>
            <a:off x="638146" y="5040419"/>
            <a:ext cx="13398600" cy="2683153"/>
            <a:chOff x="123367" y="5147491"/>
            <a:chExt cx="8864071" cy="1583827"/>
          </a:xfrm>
        </p:grpSpPr>
        <p:sp>
          <p:nvSpPr>
            <p:cNvPr id="7" name="Tijdelijke aanduiding voor verticale tekst 24"/>
            <p:cNvSpPr txBox="1">
              <a:spLocks/>
            </p:cNvSpPr>
            <p:nvPr/>
          </p:nvSpPr>
          <p:spPr>
            <a:xfrm>
              <a:off x="123367" y="5405493"/>
              <a:ext cx="8864069" cy="1325825"/>
            </a:xfrm>
            <a:prstGeom prst="rect">
              <a:avLst/>
            </a:prstGeom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txBody>
            <a:bodyPr vert="horz" lIns="91440" tIns="45720" rIns="91440" bIns="45720" rtlCol="0">
              <a:normAutofit/>
            </a:bodyPr>
            <a:lstStyle>
              <a:lvl1pPr marL="342900" indent="-3429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3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»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387855" lvl="1" fontAlgn="base">
                <a:spcAft>
                  <a:spcPct val="0"/>
                </a:spcAft>
                <a:buFont typeface="Wingdings" pitchFamily="2" charset="2"/>
                <a:buChar char="§"/>
              </a:pPr>
              <a:r>
                <a:rPr lang="en-GB" sz="1830" dirty="0">
                  <a:solidFill>
                    <a:srgbClr val="000000"/>
                  </a:solidFill>
                </a:rPr>
                <a:t>Text</a:t>
              </a:r>
              <a:endParaRPr lang="en-GB" sz="1548" dirty="0">
                <a:solidFill>
                  <a:srgbClr val="000000"/>
                </a:solidFill>
              </a:endParaRPr>
            </a:p>
          </p:txBody>
        </p:sp>
        <p:sp>
          <p:nvSpPr>
            <p:cNvPr id="8" name="Tijdelijke aanduiding voor verticale tekst 25"/>
            <p:cNvSpPr txBox="1">
              <a:spLocks/>
            </p:cNvSpPr>
            <p:nvPr/>
          </p:nvSpPr>
          <p:spPr>
            <a:xfrm>
              <a:off x="123368" y="5147491"/>
              <a:ext cx="8864070" cy="258002"/>
            </a:xfrm>
            <a:prstGeom prst="rect">
              <a:avLst/>
            </a:prstGeom>
            <a:solidFill>
              <a:schemeClr val="accent6">
                <a:lumMod val="10000"/>
                <a:lumOff val="90000"/>
              </a:schemeClr>
            </a:solidFill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txBody>
            <a:bodyPr vert="horz" wrap="none" lIns="180000" tIns="72000" rIns="216000" bIns="4572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3"/>
                </a:buClr>
                <a:buFont typeface="Wingdings" panose="05000000000000000000" pitchFamily="2" charset="2"/>
                <a:buNone/>
                <a:defRPr sz="1800" b="1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177800" indent="-177800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5600" indent="-177800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33400" indent="-174625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20725" indent="-182563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 i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563" indent="-182563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5600" indent="-173038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tabLst/>
                <a:defRPr sz="16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38163" indent="-182563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241135" fontAlgn="base">
                <a:lnSpc>
                  <a:spcPts val="2444"/>
                </a:lnSpc>
                <a:spcBef>
                  <a:spcPts val="814"/>
                </a:spcBef>
                <a:spcAft>
                  <a:spcPts val="814"/>
                </a:spcAft>
                <a:buClr>
                  <a:srgbClr val="FFA100"/>
                </a:buClr>
                <a:defRPr/>
              </a:pPr>
              <a:r>
                <a:rPr lang="en-US" sz="2111" dirty="0">
                  <a:solidFill>
                    <a:srgbClr val="000000"/>
                  </a:solidFill>
                </a:rPr>
                <a:t>Highlights</a:t>
              </a:r>
            </a:p>
          </p:txBody>
        </p:sp>
      </p:grpSp>
      <p:graphicFrame>
        <p:nvGraphicFramePr>
          <p:cNvPr id="9" name="Table 8"/>
          <p:cNvGraphicFramePr>
            <a:graphicFrameLocks noGrp="1"/>
          </p:cNvGraphicFramePr>
          <p:nvPr userDrawn="1"/>
        </p:nvGraphicFramePr>
        <p:xfrm>
          <a:off x="605424" y="4638579"/>
          <a:ext cx="13431314" cy="263755"/>
        </p:xfrm>
        <a:graphic>
          <a:graphicData uri="http://schemas.openxmlformats.org/drawingml/2006/table">
            <a:tbl>
              <a:tblPr/>
              <a:tblGrid>
                <a:gridCol w="335783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35783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57586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13978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63755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Key</a:t>
                      </a:r>
                    </a:p>
                  </a:txBody>
                  <a:tcPr marL="14214" marR="14214" marT="11629" marB="0" anchor="ctr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ext</a:t>
                      </a:r>
                    </a:p>
                  </a:txBody>
                  <a:tcPr marL="14214" marR="14214" marT="1162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ext</a:t>
                      </a:r>
                    </a:p>
                  </a:txBody>
                  <a:tcPr marL="14214" marR="14214" marT="1162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6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ext</a:t>
                      </a:r>
                    </a:p>
                  </a:txBody>
                  <a:tcPr marL="14214" marR="14214" marT="11629" marB="0" anchor="ctr">
                    <a:lnL>
                      <a:noFill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C9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0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276401" y="1163601"/>
            <a:ext cx="14135451" cy="522775"/>
          </a:xfrm>
        </p:spPr>
        <p:txBody>
          <a:bodyPr/>
          <a:lstStyle>
            <a:lvl1pPr marL="0" indent="0">
              <a:buNone/>
              <a:defRPr sz="2111" b="1">
                <a:latin typeface="Arial" pitchFamily="34" charset="0"/>
                <a:cs typeface="Arial" pitchFamily="34" charset="0"/>
              </a:defRPr>
            </a:lvl1pPr>
            <a:lvl2pPr>
              <a:defRPr sz="1830">
                <a:latin typeface="Arial" pitchFamily="34" charset="0"/>
                <a:cs typeface="Arial" pitchFamily="34" charset="0"/>
              </a:defRPr>
            </a:lvl2pPr>
            <a:lvl3pPr marL="759776" indent="-253259">
              <a:buClr>
                <a:schemeClr val="tx2"/>
              </a:buClr>
              <a:buFont typeface="Wingdings" pitchFamily="2" charset="2"/>
              <a:buChar char="§"/>
              <a:defRPr sz="1548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192538878"/>
      </p:ext>
    </p:extLst>
  </p:cSld>
  <p:clrMapOvr>
    <a:masterClrMapping/>
  </p:clrMapOvr>
  <p:transition>
    <p:fade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5" name="Pentagon 4"/>
          <p:cNvSpPr/>
          <p:nvPr userDrawn="1"/>
        </p:nvSpPr>
        <p:spPr bwMode="auto">
          <a:xfrm>
            <a:off x="7225662" y="1922461"/>
            <a:ext cx="7107217" cy="5969751"/>
          </a:xfrm>
          <a:prstGeom prst="homePlate">
            <a:avLst>
              <a:gd name="adj" fmla="val 507"/>
            </a:avLst>
          </a:prstGeom>
          <a:solidFill>
            <a:schemeClr val="bg1"/>
          </a:solidFill>
          <a:ln w="38100" cap="flat" cmpd="sng" algn="ctr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234026" tIns="234026" rIns="234026" bIns="234026" numCol="1" rtlCol="0" anchor="t" anchorCtr="0" compatLnSpc="1">
            <a:prstTxWarp prst="textNoShape">
              <a:avLst/>
            </a:prstTxWarp>
          </a:bodyPr>
          <a:lstStyle/>
          <a:p>
            <a:pPr defTabSz="1188827" fontAlgn="base">
              <a:spcBef>
                <a:spcPct val="0"/>
              </a:spcBef>
              <a:spcAft>
                <a:spcPct val="0"/>
              </a:spcAft>
            </a:pPr>
            <a:r>
              <a:rPr lang="en-IN" sz="2111" b="1" dirty="0">
                <a:solidFill>
                  <a:srgbClr val="000000"/>
                </a:solidFill>
              </a:rPr>
              <a:t>Text</a:t>
            </a:r>
            <a:endParaRPr lang="en-IN" sz="2392" b="1" dirty="0">
              <a:solidFill>
                <a:srgbClr val="000000"/>
              </a:solidFill>
            </a:endParaRPr>
          </a:p>
          <a:p>
            <a:pPr marL="592350" indent="-371510" defTabSz="1188827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IN" sz="2111" dirty="0">
                <a:solidFill>
                  <a:srgbClr val="000000"/>
                </a:solidFill>
              </a:rPr>
              <a:t>Text</a:t>
            </a:r>
          </a:p>
          <a:p>
            <a:pPr marL="592350" indent="-371510" defTabSz="1188827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IN" sz="2111" dirty="0">
                <a:solidFill>
                  <a:srgbClr val="000000"/>
                </a:solidFill>
              </a:rPr>
              <a:t>Text</a:t>
            </a:r>
            <a:endParaRPr lang="en-IN" sz="2111" b="1" dirty="0">
              <a:solidFill>
                <a:srgbClr val="000000"/>
              </a:solidFill>
            </a:endParaRPr>
          </a:p>
        </p:txBody>
      </p:sp>
      <p:sp>
        <p:nvSpPr>
          <p:cNvPr id="6" name="Pentagon 5"/>
          <p:cNvSpPr/>
          <p:nvPr userDrawn="1"/>
        </p:nvSpPr>
        <p:spPr bwMode="auto">
          <a:xfrm>
            <a:off x="375092" y="1922461"/>
            <a:ext cx="7146695" cy="5969751"/>
          </a:xfrm>
          <a:prstGeom prst="homePlate">
            <a:avLst>
              <a:gd name="adj" fmla="val 8913"/>
            </a:avLst>
          </a:prstGeom>
          <a:solidFill>
            <a:schemeClr val="tx2">
              <a:lumMod val="20000"/>
              <a:lumOff val="80000"/>
            </a:schemeClr>
          </a:solidFill>
          <a:ln w="28575" cap="flat" cmpd="sng" algn="ctr">
            <a:solidFill>
              <a:schemeClr val="tx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234026" tIns="234026" rIns="234026" bIns="234026" numCol="1" rtlCol="0" anchor="t" anchorCtr="0" compatLnSpc="1">
            <a:prstTxWarp prst="textNoShape">
              <a:avLst/>
            </a:prstTxWarp>
          </a:bodyPr>
          <a:lstStyle/>
          <a:p>
            <a:pPr defTabSz="1188827" fontAlgn="base">
              <a:spcBef>
                <a:spcPct val="0"/>
              </a:spcBef>
              <a:spcAft>
                <a:spcPct val="0"/>
              </a:spcAft>
            </a:pPr>
            <a:r>
              <a:rPr lang="en-IN" sz="2111" b="1" dirty="0">
                <a:solidFill>
                  <a:srgbClr val="000000"/>
                </a:solidFill>
              </a:rPr>
              <a:t>Text</a:t>
            </a:r>
            <a:endParaRPr lang="en-IN" sz="2392" b="1" dirty="0">
              <a:solidFill>
                <a:srgbClr val="000000"/>
              </a:solidFill>
            </a:endParaRPr>
          </a:p>
          <a:p>
            <a:pPr marL="592350" indent="-371510" defTabSz="1188827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IN" sz="2111" dirty="0">
                <a:solidFill>
                  <a:srgbClr val="000000"/>
                </a:solidFill>
              </a:rPr>
              <a:t>Text</a:t>
            </a:r>
          </a:p>
          <a:p>
            <a:pPr marL="592350" indent="-371510" defTabSz="1188827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IN" sz="2111" dirty="0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350007" y="1330660"/>
            <a:ext cx="13982874" cy="444634"/>
          </a:xfrm>
        </p:spPr>
        <p:txBody>
          <a:bodyPr/>
          <a:lstStyle>
            <a:lvl1pPr>
              <a:buNone/>
              <a:defRPr sz="2111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23035578"/>
      </p:ext>
    </p:extLst>
  </p:cSld>
  <p:clrMapOvr>
    <a:masterClrMapping/>
  </p:clrMapOvr>
  <p:transition>
    <p:fade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 dirty="0">
              <a:solidFill>
                <a:srgbClr val="FFFFFF"/>
              </a:solidFill>
            </a:endParaRPr>
          </a:p>
        </p:txBody>
      </p:sp>
      <p:graphicFrame>
        <p:nvGraphicFramePr>
          <p:cNvPr id="5" name="Diagram 4"/>
          <p:cNvGraphicFramePr/>
          <p:nvPr userDrawn="1"/>
        </p:nvGraphicFramePr>
        <p:xfrm>
          <a:off x="645566" y="1905602"/>
          <a:ext cx="7744897" cy="561561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8390462" y="3840028"/>
            <a:ext cx="5666027" cy="1419365"/>
          </a:xfrm>
          <a:prstGeom prst="rect">
            <a:avLst/>
          </a:prstGeom>
          <a:noFill/>
          <a:ln>
            <a:noFill/>
          </a:ln>
        </p:spPr>
        <p:txBody>
          <a:bodyPr wrap="square" lIns="118872" tIns="59437" rIns="118872" bIns="59437" rtlCol="0">
            <a:spAutoFit/>
          </a:bodyPr>
          <a:lstStyle/>
          <a:p>
            <a:pPr marL="371467" indent="-371467" defTabSz="1188702">
              <a:buFont typeface="Wingdings" pitchFamily="2" charset="2"/>
              <a:buChar char="§"/>
            </a:pPr>
            <a:r>
              <a:rPr lang="en-US" sz="2111" dirty="0">
                <a:solidFill>
                  <a:prstClr val="black"/>
                </a:solidFill>
              </a:rPr>
              <a:t>TEXT</a:t>
            </a:r>
          </a:p>
          <a:p>
            <a:pPr marL="371467" indent="-371467" defTabSz="1188702">
              <a:buFont typeface="Wingdings" pitchFamily="2" charset="2"/>
              <a:buChar char="§"/>
            </a:pPr>
            <a:r>
              <a:rPr lang="en-US" sz="2111" dirty="0">
                <a:solidFill>
                  <a:prstClr val="black"/>
                </a:solidFill>
              </a:rPr>
              <a:t> </a:t>
            </a:r>
          </a:p>
          <a:p>
            <a:pPr marL="371467" indent="-371467" defTabSz="1188702">
              <a:buFont typeface="Wingdings" pitchFamily="2" charset="2"/>
              <a:buChar char="§"/>
            </a:pPr>
            <a:r>
              <a:rPr lang="en-US" sz="2111" dirty="0">
                <a:solidFill>
                  <a:prstClr val="black"/>
                </a:solidFill>
              </a:rPr>
              <a:t> </a:t>
            </a:r>
          </a:p>
          <a:p>
            <a:pPr marL="371467" indent="-371467" defTabSz="1188702">
              <a:buFont typeface="Wingdings" pitchFamily="2" charset="2"/>
              <a:buChar char="§"/>
            </a:pPr>
            <a:r>
              <a:rPr lang="en-US" sz="2111" dirty="0">
                <a:solidFill>
                  <a:prstClr val="black"/>
                </a:solidFill>
              </a:rPr>
              <a:t> 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8390462" y="1883839"/>
            <a:ext cx="5666027" cy="1419365"/>
          </a:xfrm>
          <a:prstGeom prst="rect">
            <a:avLst/>
          </a:prstGeom>
          <a:noFill/>
          <a:ln>
            <a:noFill/>
          </a:ln>
        </p:spPr>
        <p:txBody>
          <a:bodyPr wrap="square" lIns="118872" tIns="59437" rIns="118872" bIns="59437" rtlCol="0">
            <a:spAutoFit/>
          </a:bodyPr>
          <a:lstStyle/>
          <a:p>
            <a:pPr marL="371467" indent="-371467" defTabSz="1188702">
              <a:buFont typeface="Wingdings" pitchFamily="2" charset="2"/>
              <a:buChar char="§"/>
            </a:pPr>
            <a:r>
              <a:rPr lang="en-US" sz="2111" dirty="0">
                <a:solidFill>
                  <a:prstClr val="black"/>
                </a:solidFill>
              </a:rPr>
              <a:t>TEXT</a:t>
            </a:r>
          </a:p>
          <a:p>
            <a:pPr marL="371467" indent="-371467" defTabSz="1188702">
              <a:buFont typeface="Wingdings" pitchFamily="2" charset="2"/>
              <a:buChar char="§"/>
            </a:pPr>
            <a:r>
              <a:rPr lang="en-US" sz="2111" dirty="0">
                <a:solidFill>
                  <a:prstClr val="black"/>
                </a:solidFill>
              </a:rPr>
              <a:t> </a:t>
            </a:r>
          </a:p>
          <a:p>
            <a:pPr marL="371467" indent="-371467" defTabSz="1188702">
              <a:buFont typeface="Wingdings" pitchFamily="2" charset="2"/>
              <a:buChar char="§"/>
            </a:pPr>
            <a:r>
              <a:rPr lang="en-US" sz="2111" dirty="0">
                <a:solidFill>
                  <a:prstClr val="black"/>
                </a:solidFill>
              </a:rPr>
              <a:t> </a:t>
            </a:r>
          </a:p>
          <a:p>
            <a:pPr marL="371467" indent="-371467" defTabSz="1188702">
              <a:buFont typeface="Wingdings" pitchFamily="2" charset="2"/>
              <a:buChar char="§"/>
            </a:pPr>
            <a:r>
              <a:rPr lang="en-US" sz="2111" dirty="0">
                <a:solidFill>
                  <a:prstClr val="black"/>
                </a:solidFill>
              </a:rPr>
              <a:t> 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8390462" y="5796215"/>
            <a:ext cx="5666027" cy="1419365"/>
          </a:xfrm>
          <a:prstGeom prst="rect">
            <a:avLst/>
          </a:prstGeom>
          <a:noFill/>
          <a:ln>
            <a:noFill/>
          </a:ln>
        </p:spPr>
        <p:txBody>
          <a:bodyPr wrap="square" lIns="118872" tIns="59437" rIns="118872" bIns="59437" rtlCol="0">
            <a:spAutoFit/>
          </a:bodyPr>
          <a:lstStyle/>
          <a:p>
            <a:pPr marL="371467" indent="-371467" defTabSz="1188702">
              <a:buFont typeface="Wingdings" pitchFamily="2" charset="2"/>
              <a:buChar char="§"/>
            </a:pPr>
            <a:r>
              <a:rPr lang="en-US" sz="2111" dirty="0">
                <a:solidFill>
                  <a:prstClr val="black"/>
                </a:solidFill>
              </a:rPr>
              <a:t>TEXT</a:t>
            </a:r>
          </a:p>
          <a:p>
            <a:pPr marL="371467" indent="-371467" defTabSz="1188702">
              <a:buFont typeface="Wingdings" pitchFamily="2" charset="2"/>
              <a:buChar char="§"/>
            </a:pPr>
            <a:r>
              <a:rPr lang="en-US" sz="2111" dirty="0">
                <a:solidFill>
                  <a:prstClr val="black"/>
                </a:solidFill>
              </a:rPr>
              <a:t> </a:t>
            </a:r>
          </a:p>
          <a:p>
            <a:pPr marL="371467" indent="-371467" defTabSz="1188702">
              <a:buFont typeface="Wingdings" pitchFamily="2" charset="2"/>
              <a:buChar char="§"/>
            </a:pPr>
            <a:r>
              <a:rPr lang="en-US" sz="2111" dirty="0">
                <a:solidFill>
                  <a:prstClr val="black"/>
                </a:solidFill>
              </a:rPr>
              <a:t> </a:t>
            </a:r>
          </a:p>
          <a:p>
            <a:pPr marL="371467" indent="-371467" defTabSz="1188702">
              <a:buFont typeface="Wingdings" pitchFamily="2" charset="2"/>
              <a:buChar char="§"/>
            </a:pPr>
            <a:r>
              <a:rPr lang="en-US" sz="2111" dirty="0">
                <a:solidFill>
                  <a:prstClr val="black"/>
                </a:solidFill>
              </a:rPr>
              <a:t> </a:t>
            </a:r>
          </a:p>
        </p:txBody>
      </p:sp>
      <p:sp>
        <p:nvSpPr>
          <p:cNvPr id="9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276401" y="1163601"/>
            <a:ext cx="14135451" cy="522775"/>
          </a:xfrm>
        </p:spPr>
        <p:txBody>
          <a:bodyPr/>
          <a:lstStyle>
            <a:lvl1pPr marL="0" indent="0">
              <a:buNone/>
              <a:defRPr sz="2111" b="1">
                <a:latin typeface="Arial" pitchFamily="34" charset="0"/>
                <a:cs typeface="Arial" pitchFamily="34" charset="0"/>
              </a:defRPr>
            </a:lvl1pPr>
            <a:lvl2pPr>
              <a:defRPr sz="1830">
                <a:latin typeface="Arial" pitchFamily="34" charset="0"/>
                <a:cs typeface="Arial" pitchFamily="34" charset="0"/>
              </a:defRPr>
            </a:lvl2pPr>
            <a:lvl3pPr marL="759776" indent="-253259">
              <a:buClr>
                <a:schemeClr val="tx2"/>
              </a:buClr>
              <a:buFont typeface="Wingdings" pitchFamily="2" charset="2"/>
              <a:buChar char="§"/>
              <a:defRPr sz="1548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442477966"/>
      </p:ext>
    </p:extLst>
  </p:cSld>
  <p:clrMapOvr>
    <a:masterClrMapping/>
  </p:clrMapOvr>
  <p:transition>
    <p:fade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61710" y="1796314"/>
            <a:ext cx="3536508" cy="3020859"/>
          </a:xfrm>
          <a:prstGeom prst="rect">
            <a:avLst/>
          </a:prstGeom>
          <a:solidFill>
            <a:srgbClr val="E2FFC5"/>
          </a:solidFill>
        </p:spPr>
        <p:txBody>
          <a:bodyPr wrap="square" lIns="118886" tIns="59442" rIns="118886" bIns="59442" anchor="ctr" anchorCtr="0">
            <a:normAutofit/>
          </a:bodyPr>
          <a:lstStyle/>
          <a:p>
            <a:pPr marL="348804" algn="just" defTabSz="1286610" fontAlgn="base">
              <a:spcBef>
                <a:spcPct val="0"/>
              </a:spcBef>
              <a:spcAft>
                <a:spcPct val="0"/>
              </a:spcAft>
            </a:pPr>
            <a:r>
              <a:rPr lang="en-IN" sz="2111" b="1" dirty="0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4365971" y="1806966"/>
            <a:ext cx="3536508" cy="3020859"/>
          </a:xfrm>
          <a:prstGeom prst="rect">
            <a:avLst/>
          </a:prstGeom>
          <a:solidFill>
            <a:srgbClr val="E2FFC5"/>
          </a:solidFill>
        </p:spPr>
        <p:txBody>
          <a:bodyPr wrap="square" lIns="118886" tIns="59442" rIns="118886" bIns="59442" anchor="ctr" anchorCtr="0">
            <a:normAutofit/>
          </a:bodyPr>
          <a:lstStyle/>
          <a:p>
            <a:pPr marL="348804" algn="just" defTabSz="1286610" fontAlgn="base">
              <a:spcBef>
                <a:spcPct val="0"/>
              </a:spcBef>
              <a:spcAft>
                <a:spcPct val="0"/>
              </a:spcAft>
            </a:pPr>
            <a:r>
              <a:rPr lang="en-IN" sz="2111" b="1" dirty="0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661710" y="4952094"/>
            <a:ext cx="3536508" cy="3020859"/>
          </a:xfrm>
          <a:prstGeom prst="rect">
            <a:avLst/>
          </a:prstGeom>
          <a:solidFill>
            <a:srgbClr val="E2FFC5"/>
          </a:solidFill>
        </p:spPr>
        <p:txBody>
          <a:bodyPr wrap="square" lIns="118886" tIns="59442" rIns="118886" bIns="59442" anchor="ctr" anchorCtr="0">
            <a:normAutofit/>
          </a:bodyPr>
          <a:lstStyle/>
          <a:p>
            <a:pPr marL="348804" algn="just" defTabSz="1286610" fontAlgn="base">
              <a:spcBef>
                <a:spcPct val="0"/>
              </a:spcBef>
              <a:spcAft>
                <a:spcPct val="0"/>
              </a:spcAft>
            </a:pPr>
            <a:r>
              <a:rPr lang="en-IN" sz="2111" b="1" dirty="0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8" name="Rectangle 7"/>
          <p:cNvSpPr/>
          <p:nvPr userDrawn="1"/>
        </p:nvSpPr>
        <p:spPr>
          <a:xfrm rot="425343">
            <a:off x="4537817" y="5048279"/>
            <a:ext cx="3435463" cy="293454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118886" tIns="59442" rIns="118886" bIns="59442" anchor="ctr" anchorCtr="0">
            <a:normAutofit/>
          </a:bodyPr>
          <a:lstStyle/>
          <a:p>
            <a:pPr marL="348804" algn="just" defTabSz="1286610" fontAlgn="base">
              <a:spcBef>
                <a:spcPct val="0"/>
              </a:spcBef>
              <a:spcAft>
                <a:spcPct val="0"/>
              </a:spcAft>
            </a:pPr>
            <a:r>
              <a:rPr lang="en-IN" sz="2111" b="1" dirty="0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8390462" y="1782657"/>
            <a:ext cx="5666027" cy="1419365"/>
          </a:xfrm>
          <a:prstGeom prst="rect">
            <a:avLst/>
          </a:prstGeom>
          <a:noFill/>
          <a:ln>
            <a:noFill/>
          </a:ln>
        </p:spPr>
        <p:txBody>
          <a:bodyPr wrap="square" lIns="118872" tIns="59437" rIns="118872" bIns="59437" rtlCol="0">
            <a:spAutoFit/>
          </a:bodyPr>
          <a:lstStyle/>
          <a:p>
            <a:pPr marL="371467" indent="-371467" defTabSz="1188702">
              <a:buFont typeface="Wingdings" pitchFamily="2" charset="2"/>
              <a:buChar char="§"/>
            </a:pPr>
            <a:r>
              <a:rPr lang="en-US" sz="2111" dirty="0">
                <a:solidFill>
                  <a:prstClr val="black"/>
                </a:solidFill>
              </a:rPr>
              <a:t>TEXT</a:t>
            </a:r>
          </a:p>
          <a:p>
            <a:pPr marL="371467" indent="-371467" defTabSz="1188702">
              <a:buFont typeface="Wingdings" pitchFamily="2" charset="2"/>
              <a:buChar char="§"/>
            </a:pPr>
            <a:r>
              <a:rPr lang="en-US" sz="2111" dirty="0">
                <a:solidFill>
                  <a:prstClr val="black"/>
                </a:solidFill>
              </a:rPr>
              <a:t> </a:t>
            </a:r>
          </a:p>
          <a:p>
            <a:pPr marL="371467" indent="-371467" defTabSz="1188702">
              <a:buFont typeface="Wingdings" pitchFamily="2" charset="2"/>
              <a:buChar char="§"/>
            </a:pPr>
            <a:r>
              <a:rPr lang="en-US" sz="2111" dirty="0">
                <a:solidFill>
                  <a:prstClr val="black"/>
                </a:solidFill>
              </a:rPr>
              <a:t> </a:t>
            </a:r>
          </a:p>
          <a:p>
            <a:pPr marL="371467" indent="-371467" defTabSz="1188702">
              <a:buFont typeface="Wingdings" pitchFamily="2" charset="2"/>
              <a:buChar char="§"/>
            </a:pPr>
            <a:r>
              <a:rPr lang="en-US" sz="2111" dirty="0">
                <a:solidFill>
                  <a:prstClr val="black"/>
                </a:solidFill>
              </a:rPr>
              <a:t> </a:t>
            </a:r>
          </a:p>
        </p:txBody>
      </p:sp>
      <p:sp>
        <p:nvSpPr>
          <p:cNvPr id="10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276401" y="1163601"/>
            <a:ext cx="14135451" cy="522775"/>
          </a:xfrm>
        </p:spPr>
        <p:txBody>
          <a:bodyPr/>
          <a:lstStyle>
            <a:lvl1pPr marL="0" indent="0">
              <a:buNone/>
              <a:defRPr sz="2111" b="1">
                <a:latin typeface="Arial" pitchFamily="34" charset="0"/>
                <a:cs typeface="Arial" pitchFamily="34" charset="0"/>
              </a:defRPr>
            </a:lvl1pPr>
            <a:lvl2pPr>
              <a:defRPr sz="1830">
                <a:latin typeface="Arial" pitchFamily="34" charset="0"/>
                <a:cs typeface="Arial" pitchFamily="34" charset="0"/>
              </a:defRPr>
            </a:lvl2pPr>
            <a:lvl3pPr marL="759776" indent="-253259">
              <a:buClr>
                <a:schemeClr val="tx2"/>
              </a:buClr>
              <a:buFont typeface="Wingdings" pitchFamily="2" charset="2"/>
              <a:buChar char="§"/>
              <a:defRPr sz="1548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11355064"/>
      </p:ext>
    </p:extLst>
  </p:cSld>
  <p:clrMapOvr>
    <a:masterClrMapping/>
  </p:clrMapOvr>
  <p:transition>
    <p:fad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217164" y="1979686"/>
            <a:ext cx="4554387" cy="43155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4114" tIns="62057" rIns="124114" bIns="62057" rtlCol="0" anchor="ctr"/>
          <a:lstStyle/>
          <a:p>
            <a:pPr algn="ctr" defTabSz="1286610" fontAlgn="base">
              <a:spcBef>
                <a:spcPct val="0"/>
              </a:spcBef>
              <a:spcAft>
                <a:spcPct val="0"/>
              </a:spcAft>
            </a:pPr>
            <a:r>
              <a:rPr lang="en-IN" sz="1830" b="1" dirty="0">
                <a:solidFill>
                  <a:srgbClr val="000000"/>
                </a:solidFill>
              </a:rPr>
              <a:t>Description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828852" y="1962823"/>
            <a:ext cx="0" cy="6041718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>
            <a:off x="9711127" y="1979687"/>
            <a:ext cx="0" cy="6041718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 userDrawn="1"/>
        </p:nvSpPr>
        <p:spPr>
          <a:xfrm>
            <a:off x="183215" y="4672401"/>
            <a:ext cx="4554382" cy="11533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124114" tIns="62057" rIns="124114" bIns="62057">
            <a:spAutoFit/>
          </a:bodyPr>
          <a:lstStyle/>
          <a:p>
            <a:pPr marL="129285" indent="-129285" defTabSz="128661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r>
              <a:rPr lang="en-GB" sz="1548" dirty="0">
                <a:solidFill>
                  <a:srgbClr val="000000"/>
                </a:solidFill>
              </a:rPr>
              <a:t>Text</a:t>
            </a:r>
          </a:p>
          <a:p>
            <a:pPr marL="129285" indent="-129285" defTabSz="128661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1548" dirty="0">
              <a:solidFill>
                <a:srgbClr val="000000"/>
              </a:solidFill>
            </a:endParaRPr>
          </a:p>
          <a:p>
            <a:pPr marL="129285" indent="-129285" defTabSz="128661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1548" dirty="0">
              <a:solidFill>
                <a:srgbClr val="000000"/>
              </a:solidFill>
            </a:endParaRPr>
          </a:p>
          <a:p>
            <a:pPr marL="129285" indent="-129285" defTabSz="128661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1548" dirty="0">
              <a:solidFill>
                <a:srgbClr val="000000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217166" y="4069337"/>
            <a:ext cx="14138783" cy="43155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4114" tIns="62057" rIns="124114" bIns="62057" rtlCol="0" anchor="ctr"/>
          <a:lstStyle/>
          <a:p>
            <a:pPr algn="ctr" defTabSz="1286610" fontAlgn="base">
              <a:spcBef>
                <a:spcPct val="0"/>
              </a:spcBef>
              <a:spcAft>
                <a:spcPct val="0"/>
              </a:spcAft>
              <a:buClr>
                <a:srgbClr val="3D7EDB"/>
              </a:buClr>
            </a:pPr>
            <a:r>
              <a:rPr lang="en-GB" sz="2111" b="1" dirty="0">
                <a:solidFill>
                  <a:srgbClr val="000000"/>
                </a:solidFill>
              </a:rPr>
              <a:t>Description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197427" y="2492243"/>
            <a:ext cx="4554382" cy="11533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124114" tIns="62057" rIns="124114" bIns="62057">
            <a:spAutoFit/>
          </a:bodyPr>
          <a:lstStyle/>
          <a:p>
            <a:pPr marL="129285" indent="-129285" defTabSz="128661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r>
              <a:rPr lang="en-GB" sz="1548" dirty="0">
                <a:solidFill>
                  <a:srgbClr val="000000"/>
                </a:solidFill>
              </a:rPr>
              <a:t>Text</a:t>
            </a:r>
          </a:p>
          <a:p>
            <a:pPr marL="129285" indent="-129285" defTabSz="128661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1548" dirty="0">
              <a:solidFill>
                <a:srgbClr val="000000"/>
              </a:solidFill>
            </a:endParaRPr>
          </a:p>
          <a:p>
            <a:pPr marL="129285" indent="-129285" defTabSz="128661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1548" dirty="0">
              <a:solidFill>
                <a:srgbClr val="000000"/>
              </a:solidFill>
            </a:endParaRPr>
          </a:p>
          <a:p>
            <a:pPr marL="129285" indent="-129285" defTabSz="128661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1548" dirty="0">
              <a:solidFill>
                <a:srgbClr val="000000"/>
              </a:solidFill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4927570" y="1979686"/>
            <a:ext cx="4733295" cy="43155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4114" tIns="62057" rIns="124114" bIns="62057" rtlCol="0" anchor="ctr"/>
          <a:lstStyle/>
          <a:p>
            <a:pPr algn="ctr" defTabSz="1286610" fontAlgn="base">
              <a:spcBef>
                <a:spcPct val="0"/>
              </a:spcBef>
              <a:spcAft>
                <a:spcPct val="0"/>
              </a:spcAft>
            </a:pPr>
            <a:r>
              <a:rPr lang="en-IN" sz="1830" b="1" dirty="0">
                <a:solidFill>
                  <a:srgbClr val="000000"/>
                </a:solidFill>
              </a:rPr>
              <a:t>Description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4893620" y="4672401"/>
            <a:ext cx="4733291" cy="11533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124114" tIns="62057" rIns="124114" bIns="62057">
            <a:spAutoFit/>
          </a:bodyPr>
          <a:lstStyle/>
          <a:p>
            <a:pPr marL="129285" indent="-129285" defTabSz="128661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r>
              <a:rPr lang="en-GB" sz="1548" dirty="0">
                <a:solidFill>
                  <a:srgbClr val="000000"/>
                </a:solidFill>
              </a:rPr>
              <a:t>Text</a:t>
            </a:r>
          </a:p>
          <a:p>
            <a:pPr marL="129285" indent="-129285" defTabSz="128661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1548" dirty="0">
              <a:solidFill>
                <a:srgbClr val="000000"/>
              </a:solidFill>
            </a:endParaRPr>
          </a:p>
          <a:p>
            <a:pPr marL="129285" indent="-129285" defTabSz="128661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1548" dirty="0">
              <a:solidFill>
                <a:srgbClr val="000000"/>
              </a:solidFill>
            </a:endParaRPr>
          </a:p>
          <a:p>
            <a:pPr marL="129285" indent="-129285" defTabSz="128661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1548" dirty="0">
              <a:solidFill>
                <a:srgbClr val="000000"/>
              </a:solidFill>
            </a:endParaRPr>
          </a:p>
        </p:txBody>
      </p:sp>
      <p:sp>
        <p:nvSpPr>
          <p:cNvPr id="19" name="Rectangle 18"/>
          <p:cNvSpPr/>
          <p:nvPr userDrawn="1"/>
        </p:nvSpPr>
        <p:spPr>
          <a:xfrm>
            <a:off x="4907831" y="2492243"/>
            <a:ext cx="4733291" cy="11533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124114" tIns="62057" rIns="124114" bIns="62057">
            <a:spAutoFit/>
          </a:bodyPr>
          <a:lstStyle/>
          <a:p>
            <a:pPr marL="129285" indent="-129285" defTabSz="128661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r>
              <a:rPr lang="en-GB" sz="1548" dirty="0">
                <a:solidFill>
                  <a:srgbClr val="000000"/>
                </a:solidFill>
              </a:rPr>
              <a:t>Text</a:t>
            </a:r>
          </a:p>
          <a:p>
            <a:pPr marL="129285" indent="-129285" defTabSz="128661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1548" dirty="0">
              <a:solidFill>
                <a:srgbClr val="000000"/>
              </a:solidFill>
            </a:endParaRPr>
          </a:p>
          <a:p>
            <a:pPr marL="129285" indent="-129285" defTabSz="128661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1548" dirty="0">
              <a:solidFill>
                <a:srgbClr val="000000"/>
              </a:solidFill>
            </a:endParaRPr>
          </a:p>
          <a:p>
            <a:pPr marL="129285" indent="-129285" defTabSz="128661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1548" dirty="0">
              <a:solidFill>
                <a:srgbClr val="000000"/>
              </a:solidFill>
            </a:endParaRPr>
          </a:p>
        </p:txBody>
      </p:sp>
      <p:sp>
        <p:nvSpPr>
          <p:cNvPr id="20" name="Rectangle 19"/>
          <p:cNvSpPr/>
          <p:nvPr userDrawn="1"/>
        </p:nvSpPr>
        <p:spPr>
          <a:xfrm>
            <a:off x="9835518" y="1979686"/>
            <a:ext cx="4554387" cy="43155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4114" tIns="62057" rIns="124114" bIns="62057" rtlCol="0" anchor="ctr"/>
          <a:lstStyle/>
          <a:p>
            <a:pPr algn="ctr" defTabSz="1286610" fontAlgn="base">
              <a:spcBef>
                <a:spcPct val="0"/>
              </a:spcBef>
              <a:spcAft>
                <a:spcPct val="0"/>
              </a:spcAft>
            </a:pPr>
            <a:r>
              <a:rPr lang="en-IN" sz="1830" b="1" dirty="0">
                <a:solidFill>
                  <a:srgbClr val="000000"/>
                </a:solidFill>
              </a:rPr>
              <a:t>Description</a:t>
            </a:r>
          </a:p>
        </p:txBody>
      </p:sp>
      <p:sp>
        <p:nvSpPr>
          <p:cNvPr id="21" name="Rectangle 20"/>
          <p:cNvSpPr/>
          <p:nvPr userDrawn="1"/>
        </p:nvSpPr>
        <p:spPr>
          <a:xfrm>
            <a:off x="9801572" y="4672401"/>
            <a:ext cx="4554382" cy="11533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124114" tIns="62057" rIns="124114" bIns="62057">
            <a:spAutoFit/>
          </a:bodyPr>
          <a:lstStyle/>
          <a:p>
            <a:pPr marL="129285" indent="-129285" defTabSz="128661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r>
              <a:rPr lang="en-GB" sz="1548" dirty="0">
                <a:solidFill>
                  <a:srgbClr val="000000"/>
                </a:solidFill>
              </a:rPr>
              <a:t>Text</a:t>
            </a:r>
          </a:p>
          <a:p>
            <a:pPr marL="129285" indent="-129285" defTabSz="128661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1548" dirty="0">
              <a:solidFill>
                <a:srgbClr val="000000"/>
              </a:solidFill>
            </a:endParaRPr>
          </a:p>
          <a:p>
            <a:pPr marL="129285" indent="-129285" defTabSz="128661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1548" dirty="0">
              <a:solidFill>
                <a:srgbClr val="000000"/>
              </a:solidFill>
            </a:endParaRPr>
          </a:p>
          <a:p>
            <a:pPr marL="129285" indent="-129285" defTabSz="128661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1548" dirty="0">
              <a:solidFill>
                <a:srgbClr val="000000"/>
              </a:solidFill>
            </a:endParaRPr>
          </a:p>
        </p:txBody>
      </p:sp>
      <p:sp>
        <p:nvSpPr>
          <p:cNvPr id="22" name="Rectangle 21"/>
          <p:cNvSpPr/>
          <p:nvPr userDrawn="1"/>
        </p:nvSpPr>
        <p:spPr>
          <a:xfrm>
            <a:off x="9815774" y="2492243"/>
            <a:ext cx="4554382" cy="11533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124114" tIns="62057" rIns="124114" bIns="62057">
            <a:spAutoFit/>
          </a:bodyPr>
          <a:lstStyle/>
          <a:p>
            <a:pPr marL="129285" indent="-129285" defTabSz="128661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r>
              <a:rPr lang="en-GB" sz="1548" dirty="0">
                <a:solidFill>
                  <a:srgbClr val="000000"/>
                </a:solidFill>
              </a:rPr>
              <a:t>Text</a:t>
            </a:r>
          </a:p>
          <a:p>
            <a:pPr marL="129285" indent="-129285" defTabSz="128661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1548" dirty="0">
              <a:solidFill>
                <a:srgbClr val="000000"/>
              </a:solidFill>
            </a:endParaRPr>
          </a:p>
          <a:p>
            <a:pPr marL="129285" indent="-129285" defTabSz="128661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1548" dirty="0">
              <a:solidFill>
                <a:srgbClr val="000000"/>
              </a:solidFill>
            </a:endParaRPr>
          </a:p>
          <a:p>
            <a:pPr marL="129285" indent="-129285" defTabSz="128661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3D7EDB"/>
              </a:buClr>
              <a:buFont typeface="Wingdings" pitchFamily="2" charset="2"/>
              <a:buChar char="§"/>
            </a:pPr>
            <a:endParaRPr lang="en-GB" sz="1548" dirty="0">
              <a:solidFill>
                <a:srgbClr val="000000"/>
              </a:solidFill>
            </a:endParaRPr>
          </a:p>
        </p:txBody>
      </p:sp>
      <p:sp>
        <p:nvSpPr>
          <p:cNvPr id="24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276401" y="1163601"/>
            <a:ext cx="14135451" cy="522775"/>
          </a:xfrm>
        </p:spPr>
        <p:txBody>
          <a:bodyPr/>
          <a:lstStyle>
            <a:lvl1pPr marL="0" indent="0">
              <a:buNone/>
              <a:defRPr sz="2111" b="1">
                <a:latin typeface="Arial" pitchFamily="34" charset="0"/>
                <a:cs typeface="Arial" pitchFamily="34" charset="0"/>
              </a:defRPr>
            </a:lvl1pPr>
            <a:lvl2pPr>
              <a:defRPr sz="1830">
                <a:latin typeface="Arial" pitchFamily="34" charset="0"/>
                <a:cs typeface="Arial" pitchFamily="34" charset="0"/>
              </a:defRPr>
            </a:lvl2pPr>
            <a:lvl3pPr marL="759776" indent="-253259">
              <a:buClr>
                <a:schemeClr val="tx2"/>
              </a:buClr>
              <a:buFont typeface="Wingdings" pitchFamily="2" charset="2"/>
              <a:buChar char="§"/>
              <a:defRPr sz="1548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350296059"/>
      </p:ext>
    </p:extLst>
  </p:cSld>
  <p:clrMapOvr>
    <a:masterClrMapping/>
  </p:clrMapOvr>
  <p:transition>
    <p:fade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>
            <a:spLocks noChangeArrowheads="1"/>
          </p:cNvSpPr>
          <p:nvPr userDrawn="1"/>
        </p:nvSpPr>
        <p:spPr bwMode="gray">
          <a:xfrm>
            <a:off x="473417" y="1545530"/>
            <a:ext cx="13621931" cy="561017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330727" tIns="94492" rIns="94492" bIns="94492" anchor="ctr"/>
          <a:lstStyle/>
          <a:p>
            <a:pPr marL="445811" indent="-445811" defTabSz="1286610" eaLnBrk="0" fontAlgn="base" hangingPunct="0">
              <a:spcBef>
                <a:spcPct val="25000"/>
              </a:spcBef>
              <a:spcAft>
                <a:spcPct val="0"/>
              </a:spcAft>
              <a:buFont typeface="+mj-lt"/>
              <a:buAutoNum type="arabicPeriod"/>
              <a:defRPr/>
            </a:pPr>
            <a:r>
              <a:rPr lang="en-US" sz="2111" dirty="0">
                <a:solidFill>
                  <a:srgbClr val="000000"/>
                </a:solidFill>
              </a:rPr>
              <a:t>Text</a:t>
            </a:r>
            <a:endParaRPr lang="en-IN" sz="2111" noProof="1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gray">
          <a:xfrm>
            <a:off x="473417" y="2310210"/>
            <a:ext cx="13621931" cy="561017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330727" tIns="94492" rIns="94492" bIns="94492" anchor="ctr"/>
          <a:lstStyle/>
          <a:p>
            <a:pPr defTabSz="1286610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endParaRPr lang="en-US" sz="2111" dirty="0">
              <a:solidFill>
                <a:srgbClr val="000000"/>
              </a:solidFill>
            </a:endParaRPr>
          </a:p>
          <a:p>
            <a:pPr marL="445811" indent="-445811" defTabSz="1286610" eaLnBrk="0" fontAlgn="base" hangingPunct="0">
              <a:spcBef>
                <a:spcPct val="25000"/>
              </a:spcBef>
              <a:spcAft>
                <a:spcPct val="0"/>
              </a:spcAft>
              <a:buFont typeface="+mj-lt"/>
              <a:buAutoNum type="arabicPeriod" startAt="2"/>
              <a:defRPr/>
            </a:pPr>
            <a:r>
              <a:rPr lang="en-US" sz="2111" dirty="0">
                <a:solidFill>
                  <a:srgbClr val="000000"/>
                </a:solidFill>
              </a:rPr>
              <a:t>Text</a:t>
            </a:r>
          </a:p>
          <a:p>
            <a:pPr defTabSz="1286610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endParaRPr lang="en-US" sz="2111" noProof="1">
              <a:solidFill>
                <a:srgbClr val="000000"/>
              </a:solidFill>
            </a:endParaRP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gray">
          <a:xfrm>
            <a:off x="473417" y="3074889"/>
            <a:ext cx="13621931" cy="561017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330727" tIns="94492" rIns="94492" bIns="94492" anchor="ctr"/>
          <a:lstStyle/>
          <a:p>
            <a:pPr defTabSz="1286610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endParaRPr lang="en-US" sz="2111" dirty="0">
              <a:solidFill>
                <a:srgbClr val="000000"/>
              </a:solidFill>
            </a:endParaRPr>
          </a:p>
          <a:p>
            <a:pPr marL="445811" indent="-445811" defTabSz="1286610" eaLnBrk="0" fontAlgn="base" hangingPunct="0">
              <a:spcBef>
                <a:spcPct val="25000"/>
              </a:spcBef>
              <a:spcAft>
                <a:spcPct val="0"/>
              </a:spcAft>
              <a:buFont typeface="+mj-lt"/>
              <a:buAutoNum type="arabicPeriod" startAt="3"/>
              <a:defRPr/>
            </a:pPr>
            <a:r>
              <a:rPr lang="en-US" sz="2111" dirty="0">
                <a:solidFill>
                  <a:srgbClr val="000000"/>
                </a:solidFill>
              </a:rPr>
              <a:t>Text</a:t>
            </a:r>
          </a:p>
          <a:p>
            <a:pPr defTabSz="1286610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endParaRPr lang="en-US" sz="2111" noProof="1">
              <a:solidFill>
                <a:srgbClr val="000000"/>
              </a:solidFill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gray">
          <a:xfrm>
            <a:off x="473417" y="4604249"/>
            <a:ext cx="13621931" cy="561017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330727" tIns="94492" rIns="94492" bIns="94492" anchor="ctr"/>
          <a:lstStyle/>
          <a:p>
            <a:pPr defTabSz="1286610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endParaRPr lang="en-US" sz="2111" dirty="0">
              <a:solidFill>
                <a:srgbClr val="000000"/>
              </a:solidFill>
            </a:endParaRPr>
          </a:p>
          <a:p>
            <a:pPr marL="445811" indent="-445811" defTabSz="1286610" eaLnBrk="0" fontAlgn="base" hangingPunct="0">
              <a:spcBef>
                <a:spcPct val="25000"/>
              </a:spcBef>
              <a:spcAft>
                <a:spcPct val="0"/>
              </a:spcAft>
              <a:buFont typeface="+mj-lt"/>
              <a:buAutoNum type="arabicPeriod" startAt="5"/>
              <a:defRPr/>
            </a:pPr>
            <a:r>
              <a:rPr lang="en-US" sz="2111" dirty="0">
                <a:solidFill>
                  <a:srgbClr val="000000"/>
                </a:solidFill>
              </a:rPr>
              <a:t>Text</a:t>
            </a:r>
          </a:p>
          <a:p>
            <a:pPr defTabSz="1286610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endParaRPr lang="en-US" sz="2111" noProof="1">
              <a:solidFill>
                <a:srgbClr val="000000"/>
              </a:solidFill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gray">
          <a:xfrm>
            <a:off x="473417" y="3839569"/>
            <a:ext cx="13621931" cy="561017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330727" tIns="94492" rIns="94492" bIns="94492" anchor="ctr"/>
          <a:lstStyle/>
          <a:p>
            <a:pPr marL="445811" indent="-445811" defTabSz="1286610" eaLnBrk="0" fontAlgn="base" hangingPunct="0">
              <a:spcBef>
                <a:spcPct val="25000"/>
              </a:spcBef>
              <a:spcAft>
                <a:spcPct val="0"/>
              </a:spcAft>
              <a:buFont typeface="+mj-lt"/>
              <a:buAutoNum type="arabicPeriod" startAt="4"/>
              <a:defRPr/>
            </a:pPr>
            <a:r>
              <a:rPr lang="en-US" sz="2111" dirty="0">
                <a:solidFill>
                  <a:srgbClr val="000000"/>
                </a:solidFill>
              </a:rPr>
              <a:t>Text</a:t>
            </a:r>
            <a:endParaRPr lang="en-US" sz="2111" noProof="1">
              <a:solidFill>
                <a:srgbClr val="000000"/>
              </a:solidFill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gray">
          <a:xfrm>
            <a:off x="473417" y="5368929"/>
            <a:ext cx="13621931" cy="561017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330727" tIns="94492" rIns="94492" bIns="94492" anchor="ctr"/>
          <a:lstStyle/>
          <a:p>
            <a:pPr marL="445811" indent="-445811" defTabSz="1286610" eaLnBrk="0" fontAlgn="base" hangingPunct="0">
              <a:spcBef>
                <a:spcPct val="25000"/>
              </a:spcBef>
              <a:spcAft>
                <a:spcPct val="0"/>
              </a:spcAft>
              <a:buFont typeface="+mj-lt"/>
              <a:buAutoNum type="arabicPeriod" startAt="6"/>
              <a:defRPr/>
            </a:pPr>
            <a:r>
              <a:rPr lang="en-US" sz="2111" dirty="0">
                <a:solidFill>
                  <a:srgbClr val="000000"/>
                </a:solidFill>
              </a:rPr>
              <a:t>Text</a:t>
            </a:r>
            <a:endParaRPr lang="en-US" sz="2111" noProof="1">
              <a:solidFill>
                <a:srgbClr val="000000"/>
              </a:solidFill>
            </a:endParaRPr>
          </a:p>
        </p:txBody>
      </p:sp>
      <p:sp>
        <p:nvSpPr>
          <p:cNvPr id="11" name="Rectangle 4"/>
          <p:cNvSpPr>
            <a:spLocks noChangeArrowheads="1"/>
          </p:cNvSpPr>
          <p:nvPr userDrawn="1"/>
        </p:nvSpPr>
        <p:spPr bwMode="gray">
          <a:xfrm>
            <a:off x="473417" y="6133608"/>
            <a:ext cx="13621931" cy="561017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330727" tIns="94492" rIns="94492" bIns="94492" anchor="ctr"/>
          <a:lstStyle/>
          <a:p>
            <a:pPr defTabSz="1286610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endParaRPr lang="en-US" sz="2111" dirty="0">
              <a:solidFill>
                <a:srgbClr val="000000"/>
              </a:solidFill>
            </a:endParaRPr>
          </a:p>
          <a:p>
            <a:pPr marL="445811" indent="-445811" defTabSz="1286610" eaLnBrk="0" fontAlgn="base" hangingPunct="0">
              <a:spcBef>
                <a:spcPct val="25000"/>
              </a:spcBef>
              <a:spcAft>
                <a:spcPct val="0"/>
              </a:spcAft>
              <a:buFont typeface="+mj-lt"/>
              <a:buAutoNum type="arabicPeriod" startAt="7"/>
              <a:defRPr/>
            </a:pPr>
            <a:r>
              <a:rPr lang="en-US" sz="2111" dirty="0">
                <a:solidFill>
                  <a:srgbClr val="000000"/>
                </a:solidFill>
              </a:rPr>
              <a:t>Text</a:t>
            </a:r>
          </a:p>
          <a:p>
            <a:pPr defTabSz="1286610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endParaRPr lang="en-US" sz="2111" noProof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8410254"/>
      </p:ext>
    </p:extLst>
  </p:cSld>
  <p:clrMapOvr>
    <a:masterClrMapping/>
  </p:clrMapOvr>
  <p:transition>
    <p:fade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2" name="Content Placeholder 22"/>
          <p:cNvSpPr>
            <a:spLocks noGrp="1"/>
          </p:cNvSpPr>
          <p:nvPr userDrawn="1"/>
        </p:nvSpPr>
        <p:spPr bwMode="auto">
          <a:xfrm>
            <a:off x="2297687" y="1724863"/>
            <a:ext cx="11590734" cy="1206010"/>
          </a:xfrm>
          <a:prstGeom prst="rect">
            <a:avLst/>
          </a:prstGeom>
          <a:solidFill>
            <a:srgbClr val="00B0F0">
              <a:lumMod val="20000"/>
              <a:lumOff val="80000"/>
            </a:srgbClr>
          </a:solidFill>
          <a:ln w="12700">
            <a:solidFill>
              <a:srgbClr val="00B0F0"/>
            </a:solidFill>
            <a:miter lim="800000"/>
            <a:headEnd/>
            <a:tailEnd/>
          </a:ln>
          <a:effectLst/>
        </p:spPr>
        <p:txBody>
          <a:bodyPr vert="horz" wrap="square" lIns="475537" tIns="59442" rIns="59442" bIns="59442" numCol="1" anchor="ctr" anchorCtr="0" compatLnSpc="1">
            <a:prstTxWarp prst="textNoShape">
              <a:avLst/>
            </a:prstTxWarp>
          </a:bodyPr>
          <a:lstStyle>
            <a:lvl1pPr marL="228600" indent="-228600" algn="l" defTabSz="1019175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4080"/>
              </a:buClr>
              <a:buSzPct val="90000"/>
              <a:buFont typeface="Wingdings" pitchFamily="2" charset="2"/>
              <a:buChar char="n"/>
              <a:defRPr sz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390525" indent="-142875" algn="l" defTabSz="1019175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4080"/>
              </a:buClr>
              <a:buSzPct val="100000"/>
              <a:buFont typeface="Arial" pitchFamily="34" charset="0"/>
              <a:buChar char="–"/>
              <a:defRPr sz="1100">
                <a:solidFill>
                  <a:srgbClr val="000000"/>
                </a:solidFill>
                <a:latin typeface="+mn-lt"/>
              </a:defRPr>
            </a:lvl2pPr>
            <a:lvl3pPr marL="504825" indent="-104775" algn="l" defTabSz="1019175" rtl="0" eaLnBrk="1" fontAlgn="base" hangingPunct="1">
              <a:spcBef>
                <a:spcPts val="200"/>
              </a:spcBef>
              <a:spcAft>
                <a:spcPct val="0"/>
              </a:spcAft>
              <a:buClr>
                <a:srgbClr val="004080"/>
              </a:buClr>
              <a:buSzPct val="100000"/>
              <a:buFont typeface="Wingdings" pitchFamily="2" charset="2"/>
              <a:buChar char="w"/>
              <a:defRPr sz="1000">
                <a:solidFill>
                  <a:srgbClr val="000000"/>
                </a:solidFill>
                <a:latin typeface="+mn-lt"/>
              </a:defRPr>
            </a:lvl3pPr>
            <a:lvl4pPr marL="904875" indent="-212725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4pPr>
            <a:lvl5pPr marL="11477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5pPr>
            <a:lvl6pPr marL="16049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6pPr>
            <a:lvl7pPr marL="20621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7pPr>
            <a:lvl8pPr marL="25193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8pPr>
            <a:lvl9pPr marL="29765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297205" indent="-297205" defTabSz="1325047">
              <a:spcBef>
                <a:spcPts val="780"/>
              </a:spcBef>
              <a:defRPr/>
            </a:pPr>
            <a:r>
              <a:rPr lang="en-US" sz="1830" kern="0" dirty="0"/>
              <a:t>Sample 1</a:t>
            </a:r>
          </a:p>
          <a:p>
            <a:pPr marL="507728" lvl="1" indent="-185756" defTabSz="1325047">
              <a:spcBef>
                <a:spcPts val="520"/>
              </a:spcBef>
              <a:defRPr/>
            </a:pPr>
            <a:r>
              <a:rPr lang="en-US" sz="1830" kern="0" dirty="0"/>
              <a:t>Sample 2</a:t>
            </a:r>
          </a:p>
          <a:p>
            <a:pPr marL="656332" lvl="2" indent="-136219" defTabSz="1325047">
              <a:spcBef>
                <a:spcPts val="261"/>
              </a:spcBef>
              <a:defRPr/>
            </a:pPr>
            <a:r>
              <a:rPr lang="en-US" sz="1830" kern="0" dirty="0"/>
              <a:t>Sample 3</a:t>
            </a:r>
          </a:p>
        </p:txBody>
      </p:sp>
      <p:sp>
        <p:nvSpPr>
          <p:cNvPr id="14" name="Oval 13"/>
          <p:cNvSpPr/>
          <p:nvPr userDrawn="1"/>
        </p:nvSpPr>
        <p:spPr>
          <a:xfrm>
            <a:off x="1140665" y="1650046"/>
            <a:ext cx="1594164" cy="1364560"/>
          </a:xfrm>
          <a:prstGeom prst="ellipse">
            <a:avLst/>
          </a:prstGeom>
          <a:solidFill>
            <a:srgbClr val="00B0F0"/>
          </a:solidFill>
          <a:ln w="6350" cap="flat" cmpd="sng" algn="ctr">
            <a:solidFill>
              <a:srgbClr val="00B0F0"/>
            </a:solidFill>
            <a:prstDash val="solid"/>
          </a:ln>
          <a:effectLst/>
        </p:spPr>
        <p:txBody>
          <a:bodyPr lIns="118886" tIns="59442" rIns="118886" bIns="59442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188827">
              <a:defRPr/>
            </a:pPr>
            <a:r>
              <a:rPr lang="en-US" sz="1830" b="1" dirty="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17" name="Content Placeholder 22"/>
          <p:cNvSpPr>
            <a:spLocks noGrp="1"/>
          </p:cNvSpPr>
          <p:nvPr userDrawn="1"/>
        </p:nvSpPr>
        <p:spPr bwMode="auto">
          <a:xfrm>
            <a:off x="2907975" y="3508266"/>
            <a:ext cx="10919346" cy="1206010"/>
          </a:xfrm>
          <a:prstGeom prst="rect">
            <a:avLst/>
          </a:prstGeom>
          <a:solidFill>
            <a:srgbClr val="00B0F0">
              <a:lumMod val="20000"/>
              <a:lumOff val="80000"/>
            </a:srgbClr>
          </a:solidFill>
          <a:ln w="12700">
            <a:solidFill>
              <a:srgbClr val="00B0F0"/>
            </a:solidFill>
            <a:miter lim="800000"/>
            <a:headEnd/>
            <a:tailEnd/>
          </a:ln>
          <a:effectLst/>
        </p:spPr>
        <p:txBody>
          <a:bodyPr vert="horz" wrap="square" lIns="475537" tIns="59442" rIns="59442" bIns="59442" numCol="1" anchor="ctr" anchorCtr="0" compatLnSpc="1">
            <a:prstTxWarp prst="textNoShape">
              <a:avLst/>
            </a:prstTxWarp>
          </a:bodyPr>
          <a:lstStyle>
            <a:lvl1pPr marL="228600" indent="-228600" algn="l" defTabSz="1019175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4080"/>
              </a:buClr>
              <a:buSzPct val="90000"/>
              <a:buFont typeface="Wingdings" pitchFamily="2" charset="2"/>
              <a:buChar char="n"/>
              <a:defRPr sz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390525" indent="-142875" algn="l" defTabSz="1019175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4080"/>
              </a:buClr>
              <a:buSzPct val="100000"/>
              <a:buFont typeface="Arial" pitchFamily="34" charset="0"/>
              <a:buChar char="–"/>
              <a:defRPr sz="1100">
                <a:solidFill>
                  <a:srgbClr val="000000"/>
                </a:solidFill>
                <a:latin typeface="+mn-lt"/>
              </a:defRPr>
            </a:lvl2pPr>
            <a:lvl3pPr marL="504825" indent="-104775" algn="l" defTabSz="1019175" rtl="0" eaLnBrk="1" fontAlgn="base" hangingPunct="1">
              <a:spcBef>
                <a:spcPts val="200"/>
              </a:spcBef>
              <a:spcAft>
                <a:spcPct val="0"/>
              </a:spcAft>
              <a:buClr>
                <a:srgbClr val="004080"/>
              </a:buClr>
              <a:buSzPct val="100000"/>
              <a:buFont typeface="Wingdings" pitchFamily="2" charset="2"/>
              <a:buChar char="w"/>
              <a:defRPr sz="1000">
                <a:solidFill>
                  <a:srgbClr val="000000"/>
                </a:solidFill>
                <a:latin typeface="+mn-lt"/>
              </a:defRPr>
            </a:lvl3pPr>
            <a:lvl4pPr marL="904875" indent="-212725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4pPr>
            <a:lvl5pPr marL="11477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5pPr>
            <a:lvl6pPr marL="16049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6pPr>
            <a:lvl7pPr marL="20621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7pPr>
            <a:lvl8pPr marL="25193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8pPr>
            <a:lvl9pPr marL="29765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297205" indent="-297205" defTabSz="1325047">
              <a:spcBef>
                <a:spcPts val="780"/>
              </a:spcBef>
              <a:defRPr/>
            </a:pPr>
            <a:r>
              <a:rPr lang="en-US" sz="1830" kern="0" dirty="0"/>
              <a:t>Sample 1</a:t>
            </a:r>
          </a:p>
          <a:p>
            <a:pPr marL="507728" lvl="1" indent="-185756" defTabSz="1325047">
              <a:spcBef>
                <a:spcPts val="520"/>
              </a:spcBef>
              <a:defRPr/>
            </a:pPr>
            <a:r>
              <a:rPr lang="en-US" sz="1830" kern="0" dirty="0"/>
              <a:t>Sample 2</a:t>
            </a:r>
          </a:p>
          <a:p>
            <a:pPr marL="656332" lvl="2" indent="-136219" defTabSz="1325047">
              <a:spcBef>
                <a:spcPts val="261"/>
              </a:spcBef>
              <a:defRPr/>
            </a:pPr>
            <a:r>
              <a:rPr lang="en-US" sz="1830" kern="0" dirty="0"/>
              <a:t>Sample 3</a:t>
            </a:r>
          </a:p>
        </p:txBody>
      </p:sp>
      <p:sp>
        <p:nvSpPr>
          <p:cNvPr id="18" name="Oval 17"/>
          <p:cNvSpPr/>
          <p:nvPr userDrawn="1"/>
        </p:nvSpPr>
        <p:spPr>
          <a:xfrm>
            <a:off x="1750950" y="3433451"/>
            <a:ext cx="1594164" cy="1364560"/>
          </a:xfrm>
          <a:prstGeom prst="ellipse">
            <a:avLst/>
          </a:prstGeom>
          <a:solidFill>
            <a:srgbClr val="00B0F0"/>
          </a:solidFill>
          <a:ln w="6350" cap="flat" cmpd="sng" algn="ctr">
            <a:solidFill>
              <a:srgbClr val="00B0F0"/>
            </a:solidFill>
            <a:prstDash val="solid"/>
          </a:ln>
          <a:effectLst/>
        </p:spPr>
        <p:txBody>
          <a:bodyPr lIns="118886" tIns="59442" rIns="118886" bIns="59442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188827">
              <a:defRPr/>
            </a:pPr>
            <a:r>
              <a:rPr lang="en-US" sz="1830" b="1" dirty="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19" name="Content Placeholder 22"/>
          <p:cNvSpPr>
            <a:spLocks noGrp="1"/>
          </p:cNvSpPr>
          <p:nvPr userDrawn="1"/>
        </p:nvSpPr>
        <p:spPr bwMode="auto">
          <a:xfrm>
            <a:off x="2408927" y="5378668"/>
            <a:ext cx="11438760" cy="1206010"/>
          </a:xfrm>
          <a:prstGeom prst="rect">
            <a:avLst/>
          </a:prstGeom>
          <a:solidFill>
            <a:srgbClr val="00B0F0">
              <a:lumMod val="20000"/>
              <a:lumOff val="80000"/>
            </a:srgbClr>
          </a:solidFill>
          <a:ln w="12700">
            <a:solidFill>
              <a:srgbClr val="00B0F0"/>
            </a:solidFill>
            <a:miter lim="800000"/>
            <a:headEnd/>
            <a:tailEnd/>
          </a:ln>
          <a:effectLst/>
        </p:spPr>
        <p:txBody>
          <a:bodyPr vert="horz" wrap="square" lIns="475537" tIns="59442" rIns="59442" bIns="59442" numCol="1" anchor="ctr" anchorCtr="0" compatLnSpc="1">
            <a:prstTxWarp prst="textNoShape">
              <a:avLst/>
            </a:prstTxWarp>
          </a:bodyPr>
          <a:lstStyle>
            <a:lvl1pPr marL="228600" indent="-228600" algn="l" defTabSz="1019175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4080"/>
              </a:buClr>
              <a:buSzPct val="90000"/>
              <a:buFont typeface="Wingdings" pitchFamily="2" charset="2"/>
              <a:buChar char="n"/>
              <a:defRPr sz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390525" indent="-142875" algn="l" defTabSz="1019175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4080"/>
              </a:buClr>
              <a:buSzPct val="100000"/>
              <a:buFont typeface="Arial" pitchFamily="34" charset="0"/>
              <a:buChar char="–"/>
              <a:defRPr sz="1100">
                <a:solidFill>
                  <a:srgbClr val="000000"/>
                </a:solidFill>
                <a:latin typeface="+mn-lt"/>
              </a:defRPr>
            </a:lvl2pPr>
            <a:lvl3pPr marL="504825" indent="-104775" algn="l" defTabSz="1019175" rtl="0" eaLnBrk="1" fontAlgn="base" hangingPunct="1">
              <a:spcBef>
                <a:spcPts val="200"/>
              </a:spcBef>
              <a:spcAft>
                <a:spcPct val="0"/>
              </a:spcAft>
              <a:buClr>
                <a:srgbClr val="004080"/>
              </a:buClr>
              <a:buSzPct val="100000"/>
              <a:buFont typeface="Wingdings" pitchFamily="2" charset="2"/>
              <a:buChar char="w"/>
              <a:defRPr sz="1000">
                <a:solidFill>
                  <a:srgbClr val="000000"/>
                </a:solidFill>
                <a:latin typeface="+mn-lt"/>
              </a:defRPr>
            </a:lvl3pPr>
            <a:lvl4pPr marL="904875" indent="-212725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4pPr>
            <a:lvl5pPr marL="11477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5pPr>
            <a:lvl6pPr marL="16049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6pPr>
            <a:lvl7pPr marL="20621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7pPr>
            <a:lvl8pPr marL="25193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8pPr>
            <a:lvl9pPr marL="29765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297205" indent="-297205" defTabSz="1325047">
              <a:spcBef>
                <a:spcPts val="780"/>
              </a:spcBef>
              <a:defRPr/>
            </a:pPr>
            <a:r>
              <a:rPr lang="en-US" sz="1830" kern="0" dirty="0"/>
              <a:t>Sample 1</a:t>
            </a:r>
          </a:p>
          <a:p>
            <a:pPr marL="507728" lvl="1" indent="-185756" defTabSz="1325047">
              <a:spcBef>
                <a:spcPts val="520"/>
              </a:spcBef>
              <a:defRPr/>
            </a:pPr>
            <a:r>
              <a:rPr lang="en-US" sz="1830" kern="0" dirty="0"/>
              <a:t>Sample 2</a:t>
            </a:r>
          </a:p>
          <a:p>
            <a:pPr marL="656332" lvl="2" indent="-136219" defTabSz="1325047">
              <a:spcBef>
                <a:spcPts val="261"/>
              </a:spcBef>
              <a:defRPr/>
            </a:pPr>
            <a:r>
              <a:rPr lang="en-US" sz="1830" kern="0" dirty="0"/>
              <a:t>Sample 3</a:t>
            </a:r>
          </a:p>
        </p:txBody>
      </p:sp>
      <p:sp>
        <p:nvSpPr>
          <p:cNvPr id="20" name="Oval 19"/>
          <p:cNvSpPr/>
          <p:nvPr userDrawn="1"/>
        </p:nvSpPr>
        <p:spPr>
          <a:xfrm>
            <a:off x="1251910" y="5303853"/>
            <a:ext cx="1594164" cy="1364560"/>
          </a:xfrm>
          <a:prstGeom prst="ellipse">
            <a:avLst/>
          </a:prstGeom>
          <a:solidFill>
            <a:srgbClr val="00B0F0"/>
          </a:solidFill>
          <a:ln w="6350" cap="flat" cmpd="sng" algn="ctr">
            <a:solidFill>
              <a:srgbClr val="00B0F0"/>
            </a:solidFill>
            <a:prstDash val="solid"/>
          </a:ln>
          <a:effectLst/>
        </p:spPr>
        <p:txBody>
          <a:bodyPr lIns="118886" tIns="59442" rIns="118886" bIns="59442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188827">
              <a:defRPr/>
            </a:pPr>
            <a:r>
              <a:rPr lang="en-US" sz="1830" b="1" dirty="0">
                <a:solidFill>
                  <a:srgbClr val="FFFFFF"/>
                </a:solidFill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863050047"/>
      </p:ext>
    </p:extLst>
  </p:cSld>
  <p:clrMapOvr>
    <a:masterClrMapping/>
  </p:clrMapOvr>
  <p:transition>
    <p:fade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39F07A-BD6C-422E-A88F-CB6016A8B5A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319087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PP header horizon met logo's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5085" y="490435"/>
            <a:ext cx="14657713" cy="1883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438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48687" y="2854831"/>
            <a:ext cx="13352712" cy="1375890"/>
          </a:xfrm>
        </p:spPr>
        <p:txBody>
          <a:bodyPr bIns="49478"/>
          <a:lstStyle>
            <a:lvl1pPr>
              <a:defRPr sz="491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4438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48687" y="7442408"/>
            <a:ext cx="13352712" cy="501886"/>
          </a:xfrm>
        </p:spPr>
        <p:txBody>
          <a:bodyPr tIns="49478" rIns="98956" bIns="49478"/>
          <a:lstStyle>
            <a:lvl1pPr marL="0" indent="0">
              <a:buFontTx/>
              <a:buNone/>
              <a:defRPr sz="2667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87531722"/>
      </p:ext>
    </p:extLst>
  </p:cSld>
  <p:clrMapOvr>
    <a:masterClrMapping/>
  </p:clrMapOvr>
  <p:transition>
    <p:fade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6" descr="TATA-arc2_trimmed"/>
          <p:cNvPicPr>
            <a:picLocks noChangeAspect="1" noChangeArrowheads="1"/>
          </p:cNvPicPr>
          <p:nvPr/>
        </p:nvPicPr>
        <p:blipFill>
          <a:blip r:embed="rId2" cstate="print">
            <a:lum bright="-2000" contrast="26000"/>
          </a:blip>
          <a:srcRect t="1779"/>
          <a:stretch>
            <a:fillRect/>
          </a:stretch>
        </p:blipFill>
        <p:spPr bwMode="auto">
          <a:xfrm>
            <a:off x="3" y="3"/>
            <a:ext cx="14647537" cy="26410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30" descr="TataSteel_Blue_RGB_A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12105" y="818668"/>
            <a:ext cx="2724474" cy="6125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29" descr="Tata_Blue_RGB_A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2752367" y="412197"/>
            <a:ext cx="1366051" cy="915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50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66500" y="3452142"/>
            <a:ext cx="13352714" cy="585851"/>
          </a:xfrm>
        </p:spPr>
        <p:txBody>
          <a:bodyPr anchor="ctr"/>
          <a:lstStyle>
            <a:lvl1pPr>
              <a:defRPr sz="4786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50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79221" y="3131549"/>
            <a:ext cx="13352712" cy="295789"/>
          </a:xfrm>
        </p:spPr>
        <p:txBody>
          <a:bodyPr/>
          <a:lstStyle>
            <a:lvl1pPr marL="0" indent="0">
              <a:buFontTx/>
              <a:buNone/>
              <a:defRPr sz="2674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422241085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IN" dirty="0">
              <a:solidFill>
                <a:prstClr val="black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IN" dirty="0">
              <a:solidFill>
                <a:prstClr val="black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3067129-5F27-481A-B47B-914711BE8CBE}" type="slidenum">
              <a:rPr lang="en-IN" smtClean="0">
                <a:solidFill>
                  <a:prstClr val="black"/>
                </a:solidFill>
              </a:rPr>
              <a:pPr/>
              <a:t>‹#›</a:t>
            </a:fld>
            <a:endParaRPr lang="en-IN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0599720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7456" y="5297476"/>
            <a:ext cx="12454732" cy="1637328"/>
          </a:xfrm>
        </p:spPr>
        <p:txBody>
          <a:bodyPr/>
          <a:lstStyle>
            <a:lvl1pPr algn="l">
              <a:defRPr sz="5628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7456" y="3494123"/>
            <a:ext cx="12454732" cy="1803350"/>
          </a:xfrm>
        </p:spPr>
        <p:txBody>
          <a:bodyPr anchor="b"/>
          <a:lstStyle>
            <a:lvl1pPr marL="0" indent="0">
              <a:buNone/>
              <a:defRPr sz="2815"/>
            </a:lvl1pPr>
            <a:lvl2pPr marL="643396" indent="0">
              <a:buNone/>
              <a:defRPr sz="2532"/>
            </a:lvl2pPr>
            <a:lvl3pPr marL="1286791" indent="0">
              <a:buNone/>
              <a:defRPr sz="2251"/>
            </a:lvl3pPr>
            <a:lvl4pPr marL="1930188" indent="0">
              <a:buNone/>
              <a:defRPr sz="1970"/>
            </a:lvl4pPr>
            <a:lvl5pPr marL="2573585" indent="0">
              <a:buNone/>
              <a:defRPr sz="1970"/>
            </a:lvl5pPr>
            <a:lvl6pPr marL="3216980" indent="0">
              <a:buNone/>
              <a:defRPr sz="1970"/>
            </a:lvl6pPr>
            <a:lvl7pPr marL="3860377" indent="0">
              <a:buNone/>
              <a:defRPr sz="1970"/>
            </a:lvl7pPr>
            <a:lvl8pPr marL="4503772" indent="0">
              <a:buNone/>
              <a:defRPr sz="1970"/>
            </a:lvl8pPr>
            <a:lvl9pPr marL="5147168" indent="0">
              <a:buNone/>
              <a:defRPr sz="197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IN" dirty="0">
              <a:solidFill>
                <a:prstClr val="black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IN" dirty="0">
              <a:solidFill>
                <a:prstClr val="black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3067129-5F27-481A-B47B-914711BE8CBE}" type="slidenum">
              <a:rPr lang="en-IN" smtClean="0">
                <a:solidFill>
                  <a:prstClr val="black"/>
                </a:solidFill>
              </a:rPr>
              <a:pPr/>
              <a:t>‹#›</a:t>
            </a:fld>
            <a:endParaRPr lang="en-IN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8171566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1586" y="1572451"/>
            <a:ext cx="6537716" cy="5869954"/>
          </a:xfrm>
        </p:spPr>
        <p:txBody>
          <a:bodyPr/>
          <a:lstStyle>
            <a:lvl1pPr>
              <a:defRPr sz="3941"/>
            </a:lvl1pPr>
            <a:lvl2pPr>
              <a:defRPr sz="3377"/>
            </a:lvl2pPr>
            <a:lvl3pPr>
              <a:defRPr sz="2815"/>
            </a:lvl3pPr>
            <a:lvl4pPr>
              <a:defRPr sz="2532"/>
            </a:lvl4pPr>
            <a:lvl5pPr>
              <a:defRPr sz="2532"/>
            </a:lvl5pPr>
            <a:lvl6pPr>
              <a:defRPr sz="2532"/>
            </a:lvl6pPr>
            <a:lvl7pPr>
              <a:defRPr sz="2532"/>
            </a:lvl7pPr>
            <a:lvl8pPr>
              <a:defRPr sz="2532"/>
            </a:lvl8pPr>
            <a:lvl9pPr>
              <a:defRPr sz="2532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453521" y="1572451"/>
            <a:ext cx="6540261" cy="5869954"/>
          </a:xfrm>
        </p:spPr>
        <p:txBody>
          <a:bodyPr/>
          <a:lstStyle>
            <a:lvl1pPr>
              <a:defRPr sz="3941"/>
            </a:lvl1pPr>
            <a:lvl2pPr>
              <a:defRPr sz="3377"/>
            </a:lvl2pPr>
            <a:lvl3pPr>
              <a:defRPr sz="2815"/>
            </a:lvl3pPr>
            <a:lvl4pPr>
              <a:defRPr sz="2532"/>
            </a:lvl4pPr>
            <a:lvl5pPr>
              <a:defRPr sz="2532"/>
            </a:lvl5pPr>
            <a:lvl6pPr>
              <a:defRPr sz="2532"/>
            </a:lvl6pPr>
            <a:lvl7pPr>
              <a:defRPr sz="2532"/>
            </a:lvl7pPr>
            <a:lvl8pPr>
              <a:defRPr sz="2532"/>
            </a:lvl8pPr>
            <a:lvl9pPr>
              <a:defRPr sz="2532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IN" dirty="0">
              <a:solidFill>
                <a:prstClr val="black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IN" dirty="0">
              <a:solidFill>
                <a:prstClr val="black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3067129-5F27-481A-B47B-914711BE8CBE}" type="slidenum">
              <a:rPr lang="en-IN" smtClean="0">
                <a:solidFill>
                  <a:prstClr val="black"/>
                </a:solidFill>
              </a:rPr>
              <a:pPr/>
              <a:t>‹#›</a:t>
            </a:fld>
            <a:endParaRPr lang="en-IN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0650045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2633" y="330140"/>
            <a:ext cx="13187362" cy="137398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2634" y="1845340"/>
            <a:ext cx="6474121" cy="769048"/>
          </a:xfrm>
        </p:spPr>
        <p:txBody>
          <a:bodyPr anchor="b"/>
          <a:lstStyle>
            <a:lvl1pPr marL="0" indent="0">
              <a:buNone/>
              <a:defRPr sz="3377" b="1"/>
            </a:lvl1pPr>
            <a:lvl2pPr marL="643396" indent="0">
              <a:buNone/>
              <a:defRPr sz="2815" b="1"/>
            </a:lvl2pPr>
            <a:lvl3pPr marL="1286791" indent="0">
              <a:buNone/>
              <a:defRPr sz="2532" b="1"/>
            </a:lvl3pPr>
            <a:lvl4pPr marL="1930188" indent="0">
              <a:buNone/>
              <a:defRPr sz="2251" b="1"/>
            </a:lvl4pPr>
            <a:lvl5pPr marL="2573585" indent="0">
              <a:buNone/>
              <a:defRPr sz="2251" b="1"/>
            </a:lvl5pPr>
            <a:lvl6pPr marL="3216980" indent="0">
              <a:buNone/>
              <a:defRPr sz="2251" b="1"/>
            </a:lvl6pPr>
            <a:lvl7pPr marL="3860377" indent="0">
              <a:buNone/>
              <a:defRPr sz="2251" b="1"/>
            </a:lvl7pPr>
            <a:lvl8pPr marL="4503772" indent="0">
              <a:buNone/>
              <a:defRPr sz="2251" b="1"/>
            </a:lvl8pPr>
            <a:lvl9pPr marL="5147168" indent="0">
              <a:buNone/>
              <a:defRPr sz="2251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32634" y="2614381"/>
            <a:ext cx="6474121" cy="4749778"/>
          </a:xfrm>
        </p:spPr>
        <p:txBody>
          <a:bodyPr/>
          <a:lstStyle>
            <a:lvl1pPr>
              <a:defRPr sz="3377"/>
            </a:lvl1pPr>
            <a:lvl2pPr>
              <a:defRPr sz="2815"/>
            </a:lvl2pPr>
            <a:lvl3pPr>
              <a:defRPr sz="2532"/>
            </a:lvl3pPr>
            <a:lvl4pPr>
              <a:defRPr sz="2251"/>
            </a:lvl4pPr>
            <a:lvl5pPr>
              <a:defRPr sz="2251"/>
            </a:lvl5pPr>
            <a:lvl6pPr>
              <a:defRPr sz="2251"/>
            </a:lvl6pPr>
            <a:lvl7pPr>
              <a:defRPr sz="2251"/>
            </a:lvl7pPr>
            <a:lvl8pPr>
              <a:defRPr sz="2251"/>
            </a:lvl8pPr>
            <a:lvl9pPr>
              <a:defRPr sz="225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7443337" y="1845340"/>
            <a:ext cx="6476665" cy="769048"/>
          </a:xfrm>
        </p:spPr>
        <p:txBody>
          <a:bodyPr anchor="b"/>
          <a:lstStyle>
            <a:lvl1pPr marL="0" indent="0">
              <a:buNone/>
              <a:defRPr sz="3377" b="1"/>
            </a:lvl1pPr>
            <a:lvl2pPr marL="643396" indent="0">
              <a:buNone/>
              <a:defRPr sz="2815" b="1"/>
            </a:lvl2pPr>
            <a:lvl3pPr marL="1286791" indent="0">
              <a:buNone/>
              <a:defRPr sz="2532" b="1"/>
            </a:lvl3pPr>
            <a:lvl4pPr marL="1930188" indent="0">
              <a:buNone/>
              <a:defRPr sz="2251" b="1"/>
            </a:lvl4pPr>
            <a:lvl5pPr marL="2573585" indent="0">
              <a:buNone/>
              <a:defRPr sz="2251" b="1"/>
            </a:lvl5pPr>
            <a:lvl6pPr marL="3216980" indent="0">
              <a:buNone/>
              <a:defRPr sz="2251" b="1"/>
            </a:lvl6pPr>
            <a:lvl7pPr marL="3860377" indent="0">
              <a:buNone/>
              <a:defRPr sz="2251" b="1"/>
            </a:lvl7pPr>
            <a:lvl8pPr marL="4503772" indent="0">
              <a:buNone/>
              <a:defRPr sz="2251" b="1"/>
            </a:lvl8pPr>
            <a:lvl9pPr marL="5147168" indent="0">
              <a:buNone/>
              <a:defRPr sz="2251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443337" y="2614381"/>
            <a:ext cx="6476665" cy="4749778"/>
          </a:xfrm>
        </p:spPr>
        <p:txBody>
          <a:bodyPr/>
          <a:lstStyle>
            <a:lvl1pPr>
              <a:defRPr sz="3377"/>
            </a:lvl1pPr>
            <a:lvl2pPr>
              <a:defRPr sz="2815"/>
            </a:lvl2pPr>
            <a:lvl3pPr>
              <a:defRPr sz="2532"/>
            </a:lvl3pPr>
            <a:lvl4pPr>
              <a:defRPr sz="2251"/>
            </a:lvl4pPr>
            <a:lvl5pPr>
              <a:defRPr sz="2251"/>
            </a:lvl5pPr>
            <a:lvl6pPr>
              <a:defRPr sz="2251"/>
            </a:lvl6pPr>
            <a:lvl7pPr>
              <a:defRPr sz="2251"/>
            </a:lvl7pPr>
            <a:lvl8pPr>
              <a:defRPr sz="2251"/>
            </a:lvl8pPr>
            <a:lvl9pPr>
              <a:defRPr sz="225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IN" dirty="0">
              <a:solidFill>
                <a:prstClr val="black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IN" dirty="0">
              <a:solidFill>
                <a:prstClr val="black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3067129-5F27-481A-B47B-914711BE8CBE}" type="slidenum">
              <a:rPr lang="en-IN" smtClean="0">
                <a:solidFill>
                  <a:prstClr val="black"/>
                </a:solidFill>
              </a:rPr>
              <a:pPr/>
              <a:t>‹#›</a:t>
            </a:fld>
            <a:endParaRPr lang="en-IN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2692162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IN" dirty="0">
              <a:solidFill>
                <a:prstClr val="black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IN" dirty="0">
              <a:solidFill>
                <a:prstClr val="black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3067129-5F27-481A-B47B-914711BE8CBE}" type="slidenum">
              <a:rPr lang="en-IN" smtClean="0">
                <a:solidFill>
                  <a:prstClr val="black"/>
                </a:solidFill>
              </a:rPr>
              <a:pPr/>
              <a:t>‹#›</a:t>
            </a:fld>
            <a:endParaRPr lang="en-IN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0892571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1808595" y="7783986"/>
            <a:ext cx="1696753" cy="2166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ctr">
              <a:defRPr sz="1407">
                <a:latin typeface="Arial" charset="0"/>
                <a:cs typeface="+mn-cs"/>
              </a:defRPr>
            </a:lvl1pPr>
          </a:lstStyle>
          <a:p>
            <a:endParaRPr lang="en-IN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183146" y="7439630"/>
            <a:ext cx="5199647" cy="2166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ctr">
              <a:defRPr sz="1407" b="0">
                <a:latin typeface="Arial" charset="0"/>
                <a:cs typeface="+mn-cs"/>
              </a:defRPr>
            </a:lvl1pPr>
          </a:lstStyle>
          <a:p>
            <a:endParaRPr lang="en-IN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3774743" y="7783986"/>
            <a:ext cx="219025" cy="2166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defRPr sz="1407">
                <a:latin typeface="Arial" charset="0"/>
                <a:cs typeface="+mn-cs"/>
              </a:defRPr>
            </a:lvl1pPr>
          </a:lstStyle>
          <a:p>
            <a:fld id="{83067129-5F27-481A-B47B-914711BE8CBE}" type="slidenum">
              <a:rPr lang="en-IN" smtClean="0">
                <a:solidFill>
                  <a:prstClr val="black"/>
                </a:solidFill>
              </a:rPr>
              <a:pPr/>
              <a:t>‹#›</a:t>
            </a:fld>
            <a:endParaRPr lang="en-IN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9801583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2642" y="328231"/>
            <a:ext cx="4820613" cy="1396882"/>
          </a:xfrm>
        </p:spPr>
        <p:txBody>
          <a:bodyPr anchor="b"/>
          <a:lstStyle>
            <a:lvl1pPr algn="l">
              <a:defRPr sz="2815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28782" y="328233"/>
            <a:ext cx="8191225" cy="7035930"/>
          </a:xfrm>
        </p:spPr>
        <p:txBody>
          <a:bodyPr/>
          <a:lstStyle>
            <a:lvl1pPr>
              <a:defRPr sz="4503"/>
            </a:lvl1pPr>
            <a:lvl2pPr>
              <a:defRPr sz="3941"/>
            </a:lvl2pPr>
            <a:lvl3pPr>
              <a:defRPr sz="3377"/>
            </a:lvl3pPr>
            <a:lvl4pPr>
              <a:defRPr sz="2815"/>
            </a:lvl4pPr>
            <a:lvl5pPr>
              <a:defRPr sz="2815"/>
            </a:lvl5pPr>
            <a:lvl6pPr>
              <a:defRPr sz="2815"/>
            </a:lvl6pPr>
            <a:lvl7pPr>
              <a:defRPr sz="2815"/>
            </a:lvl7pPr>
            <a:lvl8pPr>
              <a:defRPr sz="2815"/>
            </a:lvl8pPr>
            <a:lvl9pPr>
              <a:defRPr sz="281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32642" y="1725113"/>
            <a:ext cx="4820613" cy="5639049"/>
          </a:xfrm>
        </p:spPr>
        <p:txBody>
          <a:bodyPr/>
          <a:lstStyle>
            <a:lvl1pPr marL="0" indent="0">
              <a:buNone/>
              <a:defRPr sz="1970"/>
            </a:lvl1pPr>
            <a:lvl2pPr marL="643396" indent="0">
              <a:buNone/>
              <a:defRPr sz="1689"/>
            </a:lvl2pPr>
            <a:lvl3pPr marL="1286791" indent="0">
              <a:buNone/>
              <a:defRPr sz="1407"/>
            </a:lvl3pPr>
            <a:lvl4pPr marL="1930188" indent="0">
              <a:buNone/>
              <a:defRPr sz="1267"/>
            </a:lvl4pPr>
            <a:lvl5pPr marL="2573585" indent="0">
              <a:buNone/>
              <a:defRPr sz="1267"/>
            </a:lvl5pPr>
            <a:lvl6pPr marL="3216980" indent="0">
              <a:buNone/>
              <a:defRPr sz="1267"/>
            </a:lvl6pPr>
            <a:lvl7pPr marL="3860377" indent="0">
              <a:buNone/>
              <a:defRPr sz="1267"/>
            </a:lvl7pPr>
            <a:lvl8pPr marL="4503772" indent="0">
              <a:buNone/>
              <a:defRPr sz="1267"/>
            </a:lvl8pPr>
            <a:lvl9pPr marL="5147168" indent="0">
              <a:buNone/>
              <a:defRPr sz="12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IN" dirty="0">
              <a:solidFill>
                <a:prstClr val="black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IN" dirty="0">
              <a:solidFill>
                <a:prstClr val="black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3067129-5F27-481A-B47B-914711BE8CBE}" type="slidenum">
              <a:rPr lang="en-IN" smtClean="0">
                <a:solidFill>
                  <a:prstClr val="black"/>
                </a:solidFill>
              </a:rPr>
              <a:pPr/>
              <a:t>‹#›</a:t>
            </a:fld>
            <a:endParaRPr lang="en-IN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9260623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72020" y="5770737"/>
            <a:ext cx="8791575" cy="681267"/>
          </a:xfrm>
        </p:spPr>
        <p:txBody>
          <a:bodyPr anchor="b"/>
          <a:lstStyle>
            <a:lvl1pPr algn="l">
              <a:defRPr sz="2815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872020" y="736606"/>
            <a:ext cx="8791575" cy="4946333"/>
          </a:xfrm>
        </p:spPr>
        <p:txBody>
          <a:bodyPr/>
          <a:lstStyle>
            <a:lvl1pPr marL="0" indent="0">
              <a:buNone/>
              <a:defRPr sz="4503"/>
            </a:lvl1pPr>
            <a:lvl2pPr marL="643396" indent="0">
              <a:buNone/>
              <a:defRPr sz="3941"/>
            </a:lvl2pPr>
            <a:lvl3pPr marL="1286791" indent="0">
              <a:buNone/>
              <a:defRPr sz="3377"/>
            </a:lvl3pPr>
            <a:lvl4pPr marL="1930188" indent="0">
              <a:buNone/>
              <a:defRPr sz="2815"/>
            </a:lvl4pPr>
            <a:lvl5pPr marL="2573585" indent="0">
              <a:buNone/>
              <a:defRPr sz="2815"/>
            </a:lvl5pPr>
            <a:lvl6pPr marL="3216980" indent="0">
              <a:buNone/>
              <a:defRPr sz="2815"/>
            </a:lvl6pPr>
            <a:lvl7pPr marL="3860377" indent="0">
              <a:buNone/>
              <a:defRPr sz="2815"/>
            </a:lvl7pPr>
            <a:lvl8pPr marL="4503772" indent="0">
              <a:buNone/>
              <a:defRPr sz="2815"/>
            </a:lvl8pPr>
            <a:lvl9pPr marL="5147168" indent="0">
              <a:buNone/>
              <a:defRPr sz="2815"/>
            </a:lvl9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872020" y="6452002"/>
            <a:ext cx="8791575" cy="967513"/>
          </a:xfrm>
        </p:spPr>
        <p:txBody>
          <a:bodyPr/>
          <a:lstStyle>
            <a:lvl1pPr marL="0" indent="0">
              <a:buNone/>
              <a:defRPr sz="1970"/>
            </a:lvl1pPr>
            <a:lvl2pPr marL="643396" indent="0">
              <a:buNone/>
              <a:defRPr sz="1689"/>
            </a:lvl2pPr>
            <a:lvl3pPr marL="1286791" indent="0">
              <a:buNone/>
              <a:defRPr sz="1407"/>
            </a:lvl3pPr>
            <a:lvl4pPr marL="1930188" indent="0">
              <a:buNone/>
              <a:defRPr sz="1267"/>
            </a:lvl4pPr>
            <a:lvl5pPr marL="2573585" indent="0">
              <a:buNone/>
              <a:defRPr sz="1267"/>
            </a:lvl5pPr>
            <a:lvl6pPr marL="3216980" indent="0">
              <a:buNone/>
              <a:defRPr sz="1267"/>
            </a:lvl6pPr>
            <a:lvl7pPr marL="3860377" indent="0">
              <a:buNone/>
              <a:defRPr sz="1267"/>
            </a:lvl7pPr>
            <a:lvl8pPr marL="4503772" indent="0">
              <a:buNone/>
              <a:defRPr sz="1267"/>
            </a:lvl8pPr>
            <a:lvl9pPr marL="5147168" indent="0">
              <a:buNone/>
              <a:defRPr sz="12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IN" dirty="0">
              <a:solidFill>
                <a:prstClr val="black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IN" dirty="0">
              <a:solidFill>
                <a:prstClr val="black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3067129-5F27-481A-B47B-914711BE8CBE}" type="slidenum">
              <a:rPr lang="en-IN" smtClean="0">
                <a:solidFill>
                  <a:prstClr val="black"/>
                </a:solidFill>
              </a:rPr>
              <a:pPr/>
              <a:t>‹#›</a:t>
            </a:fld>
            <a:endParaRPr lang="en-IN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899117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IN" dirty="0">
              <a:solidFill>
                <a:prstClr val="black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IN" dirty="0">
              <a:solidFill>
                <a:prstClr val="black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3067129-5F27-481A-B47B-914711BE8CBE}" type="slidenum">
              <a:rPr lang="en-IN" smtClean="0">
                <a:solidFill>
                  <a:prstClr val="black"/>
                </a:solidFill>
              </a:rPr>
              <a:pPr/>
              <a:t>‹#›</a:t>
            </a:fld>
            <a:endParaRPr lang="en-IN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98938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1011402"/>
              </p:ext>
            </p:extLst>
          </p:nvPr>
        </p:nvGraphicFramePr>
        <p:xfrm>
          <a:off x="2236" y="1913"/>
          <a:ext cx="2227" cy="190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0" name="think-cell Slide" r:id="rId5" imgW="421" imgH="420" progId="TCLayout.ActiveDocument.1">
                  <p:embed/>
                </p:oleObj>
              </mc:Choice>
              <mc:Fallback>
                <p:oleObj name="think-cell Slide" r:id="rId5" imgW="421" imgH="42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236" y="1913"/>
                        <a:ext cx="2227" cy="190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A94C4D3-6147-4121-8180-8ACBED0E9081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90269" cy="190302"/>
          </a:xfrm>
          <a:prstGeom prst="rect">
            <a:avLst/>
          </a:prstGeom>
          <a:solidFill>
            <a:schemeClr val="accent1"/>
          </a:solidFill>
          <a:ln w="19050" cap="flat" cmpd="sng" algn="ctr">
            <a:solidFill>
              <a:srgbClr val="808080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9590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807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73585" y="627356"/>
            <a:ext cx="13980331" cy="433186"/>
          </a:xfrm>
        </p:spPr>
        <p:txBody>
          <a:bodyPr/>
          <a:lstStyle>
            <a:lvl1pPr>
              <a:defRPr sz="2807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4"/>
          </p:nvPr>
        </p:nvSpPr>
        <p:spPr>
          <a:xfrm>
            <a:off x="317539" y="201216"/>
            <a:ext cx="5766927" cy="25953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8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14117432" y="230350"/>
            <a:ext cx="392330" cy="263726"/>
          </a:xfrm>
          <a:prstGeom prst="rect">
            <a:avLst/>
          </a:prstGeom>
        </p:spPr>
        <p:txBody>
          <a:bodyPr vert="horz" lIns="0" tIns="47732" rIns="75168" bIns="47732" rtlCol="0" anchor="ctr"/>
          <a:lstStyle>
            <a:lvl1pPr algn="l">
              <a:defRPr sz="1544" b="1">
                <a:solidFill>
                  <a:schemeClr val="bg1"/>
                </a:solidFill>
                <a:latin typeface="+mn-lt"/>
              </a:defRPr>
            </a:lvl1pPr>
          </a:lstStyle>
          <a:p>
            <a:fld id="{7103653F-4628-4CCA-BBFC-10994C39EA7C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Tijdelijke aanduiding voor inhoud 2"/>
          <p:cNvSpPr>
            <a:spLocks noGrp="1"/>
          </p:cNvSpPr>
          <p:nvPr>
            <p:ph idx="15"/>
          </p:nvPr>
        </p:nvSpPr>
        <p:spPr>
          <a:xfrm>
            <a:off x="335627" y="1315368"/>
            <a:ext cx="13957772" cy="6256431"/>
          </a:xfrm>
        </p:spPr>
        <p:txBody>
          <a:bodyPr/>
          <a:lstStyle>
            <a:lvl1pPr>
              <a:defRPr sz="2245">
                <a:latin typeface="Arial" pitchFamily="34" charset="0"/>
                <a:cs typeface="Arial" pitchFamily="34" charset="0"/>
              </a:defRPr>
            </a:lvl1pPr>
            <a:lvl2pPr>
              <a:defRPr sz="1964">
                <a:latin typeface="Arial" pitchFamily="34" charset="0"/>
                <a:cs typeface="Arial" pitchFamily="34" charset="0"/>
              </a:defRPr>
            </a:lvl2pPr>
            <a:lvl3pPr marL="820086" indent="-273362">
              <a:buClr>
                <a:schemeClr val="tx2"/>
              </a:buClr>
              <a:buFont typeface="Wingdings" pitchFamily="2" charset="2"/>
              <a:buChar char="§"/>
              <a:defRPr sz="1684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128708482"/>
      </p:ext>
    </p:extLst>
  </p:cSld>
  <p:clrMapOvr>
    <a:masterClrMapping/>
  </p:clrMapOvr>
  <p:transition>
    <p:fad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656231" y="358766"/>
            <a:ext cx="3337542" cy="708363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43595" y="358766"/>
            <a:ext cx="9768417" cy="708363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IN" dirty="0">
              <a:solidFill>
                <a:prstClr val="black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IN" dirty="0">
              <a:solidFill>
                <a:prstClr val="black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3067129-5F27-481A-B47B-914711BE8CBE}" type="slidenum">
              <a:rPr lang="en-IN" smtClean="0">
                <a:solidFill>
                  <a:prstClr val="black"/>
                </a:solidFill>
              </a:rPr>
              <a:pPr/>
              <a:t>‹#›</a:t>
            </a:fld>
            <a:endParaRPr lang="en-IN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6562026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2633" y="330141"/>
            <a:ext cx="13187362" cy="137398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732633" y="1923582"/>
            <a:ext cx="13187362" cy="5440585"/>
          </a:xfrm>
        </p:spPr>
        <p:txBody>
          <a:bodyPr/>
          <a:lstStyle/>
          <a:p>
            <a:pPr lvl="0"/>
            <a:r>
              <a:rPr lang="en-US" noProof="0" dirty="0"/>
              <a:t>Click icon to add table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11808595" y="7783986"/>
            <a:ext cx="1696753" cy="216603"/>
          </a:xfrm>
          <a:prstGeom prst="rect">
            <a:avLst/>
          </a:prstGeom>
          <a:ln/>
        </p:spPr>
        <p:txBody>
          <a:bodyPr/>
          <a:lstStyle>
            <a:lvl1pPr>
              <a:defRPr sz="1407" b="0">
                <a:latin typeface="+mn-lt"/>
              </a:defRPr>
            </a:lvl1pPr>
          </a:lstStyle>
          <a:p>
            <a:endParaRPr lang="en-IN" dirty="0">
              <a:solidFill>
                <a:prstClr val="black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5194562" y="7816428"/>
            <a:ext cx="5199647" cy="216603"/>
          </a:xfrm>
          <a:prstGeom prst="rect">
            <a:avLst/>
          </a:prstGeom>
          <a:ln/>
        </p:spPr>
        <p:txBody>
          <a:bodyPr/>
          <a:lstStyle>
            <a:lvl1pPr>
              <a:defRPr sz="1407" b="0">
                <a:latin typeface="+mn-lt"/>
              </a:defRPr>
            </a:lvl1pPr>
          </a:lstStyle>
          <a:p>
            <a:endParaRPr lang="en-IN" dirty="0">
              <a:solidFill>
                <a:prstClr val="black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13774743" y="7783986"/>
            <a:ext cx="219025" cy="216603"/>
          </a:xfrm>
          <a:prstGeom prst="rect">
            <a:avLst/>
          </a:prstGeom>
          <a:ln/>
        </p:spPr>
        <p:txBody>
          <a:bodyPr/>
          <a:lstStyle>
            <a:lvl1pPr>
              <a:defRPr sz="1407" b="0">
                <a:latin typeface="+mn-lt"/>
              </a:defRPr>
            </a:lvl1pPr>
          </a:lstStyle>
          <a:p>
            <a:fld id="{83067129-5F27-481A-B47B-914711BE8CBE}" type="slidenum">
              <a:rPr lang="en-IN" smtClean="0">
                <a:solidFill>
                  <a:prstClr val="black"/>
                </a:solidFill>
              </a:rPr>
              <a:pPr/>
              <a:t>‹#›</a:t>
            </a:fld>
            <a:endParaRPr lang="en-IN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0547279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4155054" y="7915661"/>
            <a:ext cx="309325" cy="303306"/>
          </a:xfrm>
          <a:prstGeom prst="rect">
            <a:avLst/>
          </a:prstGeom>
        </p:spPr>
        <p:txBody>
          <a:bodyPr/>
          <a:lstStyle>
            <a:lvl1pPr algn="r" fontAlgn="auto">
              <a:spcBef>
                <a:spcPts val="0"/>
              </a:spcBef>
              <a:spcAft>
                <a:spcPts val="0"/>
              </a:spcAft>
              <a:defRPr sz="1970">
                <a:latin typeface="+mn-lt"/>
              </a:defRPr>
            </a:lvl1pPr>
          </a:lstStyle>
          <a:p>
            <a:fld id="{83067129-5F27-481A-B47B-914711BE8CBE}" type="slidenum">
              <a:rPr lang="en-IN" smtClean="0">
                <a:solidFill>
                  <a:prstClr val="black"/>
                </a:solidFill>
              </a:rPr>
              <a:pPr/>
              <a:t>‹#›</a:t>
            </a:fld>
            <a:endParaRPr lang="en-IN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83856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6" descr="TATA-arc2_trimmed"/>
          <p:cNvPicPr>
            <a:picLocks noChangeAspect="1" noChangeArrowheads="1"/>
          </p:cNvPicPr>
          <p:nvPr/>
        </p:nvPicPr>
        <p:blipFill>
          <a:blip r:embed="rId2" cstate="print">
            <a:lum bright="-2000" contrast="26000"/>
          </a:blip>
          <a:srcRect t="1779"/>
          <a:stretch>
            <a:fillRect/>
          </a:stretch>
        </p:blipFill>
        <p:spPr bwMode="auto">
          <a:xfrm>
            <a:off x="3" y="3"/>
            <a:ext cx="14647537" cy="26410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30" descr="TataSteel_Blue_RGB_A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12105" y="818668"/>
            <a:ext cx="2724474" cy="6125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29" descr="Tata_Blue_RGB_A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2752367" y="412197"/>
            <a:ext cx="1366051" cy="915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50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66500" y="3452142"/>
            <a:ext cx="13352714" cy="585851"/>
          </a:xfrm>
        </p:spPr>
        <p:txBody>
          <a:bodyPr anchor="ctr"/>
          <a:lstStyle>
            <a:lvl1pPr>
              <a:defRPr sz="4786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50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79221" y="3131549"/>
            <a:ext cx="13352712" cy="295789"/>
          </a:xfrm>
        </p:spPr>
        <p:txBody>
          <a:bodyPr/>
          <a:lstStyle>
            <a:lvl1pPr marL="0" indent="0">
              <a:buFontTx/>
              <a:buNone/>
              <a:defRPr sz="2674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882766583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C496687-1BED-4EFB-9A05-B04BC64592BD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8513783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7456" y="5297476"/>
            <a:ext cx="12454732" cy="1637328"/>
          </a:xfrm>
        </p:spPr>
        <p:txBody>
          <a:bodyPr/>
          <a:lstStyle>
            <a:lvl1pPr algn="l">
              <a:defRPr sz="5628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7456" y="3494123"/>
            <a:ext cx="12454732" cy="1803350"/>
          </a:xfrm>
        </p:spPr>
        <p:txBody>
          <a:bodyPr anchor="b"/>
          <a:lstStyle>
            <a:lvl1pPr marL="0" indent="0">
              <a:buNone/>
              <a:defRPr sz="2815"/>
            </a:lvl1pPr>
            <a:lvl2pPr marL="643396" indent="0">
              <a:buNone/>
              <a:defRPr sz="2532"/>
            </a:lvl2pPr>
            <a:lvl3pPr marL="1286791" indent="0">
              <a:buNone/>
              <a:defRPr sz="2251"/>
            </a:lvl3pPr>
            <a:lvl4pPr marL="1930188" indent="0">
              <a:buNone/>
              <a:defRPr sz="1970"/>
            </a:lvl4pPr>
            <a:lvl5pPr marL="2573585" indent="0">
              <a:buNone/>
              <a:defRPr sz="1970"/>
            </a:lvl5pPr>
            <a:lvl6pPr marL="3216980" indent="0">
              <a:buNone/>
              <a:defRPr sz="1970"/>
            </a:lvl6pPr>
            <a:lvl7pPr marL="3860377" indent="0">
              <a:buNone/>
              <a:defRPr sz="1970"/>
            </a:lvl7pPr>
            <a:lvl8pPr marL="4503772" indent="0">
              <a:buNone/>
              <a:defRPr sz="1970"/>
            </a:lvl8pPr>
            <a:lvl9pPr marL="5147168" indent="0">
              <a:buNone/>
              <a:defRPr sz="197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35D41DC-1992-47D4-A0E0-5D025043BE58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9479844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1586" y="1572451"/>
            <a:ext cx="6537716" cy="5869954"/>
          </a:xfrm>
        </p:spPr>
        <p:txBody>
          <a:bodyPr/>
          <a:lstStyle>
            <a:lvl1pPr>
              <a:defRPr sz="3941"/>
            </a:lvl1pPr>
            <a:lvl2pPr>
              <a:defRPr sz="3377"/>
            </a:lvl2pPr>
            <a:lvl3pPr>
              <a:defRPr sz="2815"/>
            </a:lvl3pPr>
            <a:lvl4pPr>
              <a:defRPr sz="2532"/>
            </a:lvl4pPr>
            <a:lvl5pPr>
              <a:defRPr sz="2532"/>
            </a:lvl5pPr>
            <a:lvl6pPr>
              <a:defRPr sz="2532"/>
            </a:lvl6pPr>
            <a:lvl7pPr>
              <a:defRPr sz="2532"/>
            </a:lvl7pPr>
            <a:lvl8pPr>
              <a:defRPr sz="2532"/>
            </a:lvl8pPr>
            <a:lvl9pPr>
              <a:defRPr sz="2532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453521" y="1572451"/>
            <a:ext cx="6540261" cy="5869954"/>
          </a:xfrm>
        </p:spPr>
        <p:txBody>
          <a:bodyPr/>
          <a:lstStyle>
            <a:lvl1pPr>
              <a:defRPr sz="3941"/>
            </a:lvl1pPr>
            <a:lvl2pPr>
              <a:defRPr sz="3377"/>
            </a:lvl2pPr>
            <a:lvl3pPr>
              <a:defRPr sz="2815"/>
            </a:lvl3pPr>
            <a:lvl4pPr>
              <a:defRPr sz="2532"/>
            </a:lvl4pPr>
            <a:lvl5pPr>
              <a:defRPr sz="2532"/>
            </a:lvl5pPr>
            <a:lvl6pPr>
              <a:defRPr sz="2532"/>
            </a:lvl6pPr>
            <a:lvl7pPr>
              <a:defRPr sz="2532"/>
            </a:lvl7pPr>
            <a:lvl8pPr>
              <a:defRPr sz="2532"/>
            </a:lvl8pPr>
            <a:lvl9pPr>
              <a:defRPr sz="2532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681ECB0-CDC5-4451-860B-EB4ED3B54245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8094339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2633" y="330140"/>
            <a:ext cx="13187362" cy="137398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2634" y="1845340"/>
            <a:ext cx="6474121" cy="769048"/>
          </a:xfrm>
        </p:spPr>
        <p:txBody>
          <a:bodyPr anchor="b"/>
          <a:lstStyle>
            <a:lvl1pPr marL="0" indent="0">
              <a:buNone/>
              <a:defRPr sz="3377" b="1"/>
            </a:lvl1pPr>
            <a:lvl2pPr marL="643396" indent="0">
              <a:buNone/>
              <a:defRPr sz="2815" b="1"/>
            </a:lvl2pPr>
            <a:lvl3pPr marL="1286791" indent="0">
              <a:buNone/>
              <a:defRPr sz="2532" b="1"/>
            </a:lvl3pPr>
            <a:lvl4pPr marL="1930188" indent="0">
              <a:buNone/>
              <a:defRPr sz="2251" b="1"/>
            </a:lvl4pPr>
            <a:lvl5pPr marL="2573585" indent="0">
              <a:buNone/>
              <a:defRPr sz="2251" b="1"/>
            </a:lvl5pPr>
            <a:lvl6pPr marL="3216980" indent="0">
              <a:buNone/>
              <a:defRPr sz="2251" b="1"/>
            </a:lvl6pPr>
            <a:lvl7pPr marL="3860377" indent="0">
              <a:buNone/>
              <a:defRPr sz="2251" b="1"/>
            </a:lvl7pPr>
            <a:lvl8pPr marL="4503772" indent="0">
              <a:buNone/>
              <a:defRPr sz="2251" b="1"/>
            </a:lvl8pPr>
            <a:lvl9pPr marL="5147168" indent="0">
              <a:buNone/>
              <a:defRPr sz="2251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32634" y="2614381"/>
            <a:ext cx="6474121" cy="4749778"/>
          </a:xfrm>
        </p:spPr>
        <p:txBody>
          <a:bodyPr/>
          <a:lstStyle>
            <a:lvl1pPr>
              <a:defRPr sz="3377"/>
            </a:lvl1pPr>
            <a:lvl2pPr>
              <a:defRPr sz="2815"/>
            </a:lvl2pPr>
            <a:lvl3pPr>
              <a:defRPr sz="2532"/>
            </a:lvl3pPr>
            <a:lvl4pPr>
              <a:defRPr sz="2251"/>
            </a:lvl4pPr>
            <a:lvl5pPr>
              <a:defRPr sz="2251"/>
            </a:lvl5pPr>
            <a:lvl6pPr>
              <a:defRPr sz="2251"/>
            </a:lvl6pPr>
            <a:lvl7pPr>
              <a:defRPr sz="2251"/>
            </a:lvl7pPr>
            <a:lvl8pPr>
              <a:defRPr sz="2251"/>
            </a:lvl8pPr>
            <a:lvl9pPr>
              <a:defRPr sz="225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7443337" y="1845340"/>
            <a:ext cx="6476665" cy="769048"/>
          </a:xfrm>
        </p:spPr>
        <p:txBody>
          <a:bodyPr anchor="b"/>
          <a:lstStyle>
            <a:lvl1pPr marL="0" indent="0">
              <a:buNone/>
              <a:defRPr sz="3377" b="1"/>
            </a:lvl1pPr>
            <a:lvl2pPr marL="643396" indent="0">
              <a:buNone/>
              <a:defRPr sz="2815" b="1"/>
            </a:lvl2pPr>
            <a:lvl3pPr marL="1286791" indent="0">
              <a:buNone/>
              <a:defRPr sz="2532" b="1"/>
            </a:lvl3pPr>
            <a:lvl4pPr marL="1930188" indent="0">
              <a:buNone/>
              <a:defRPr sz="2251" b="1"/>
            </a:lvl4pPr>
            <a:lvl5pPr marL="2573585" indent="0">
              <a:buNone/>
              <a:defRPr sz="2251" b="1"/>
            </a:lvl5pPr>
            <a:lvl6pPr marL="3216980" indent="0">
              <a:buNone/>
              <a:defRPr sz="2251" b="1"/>
            </a:lvl6pPr>
            <a:lvl7pPr marL="3860377" indent="0">
              <a:buNone/>
              <a:defRPr sz="2251" b="1"/>
            </a:lvl7pPr>
            <a:lvl8pPr marL="4503772" indent="0">
              <a:buNone/>
              <a:defRPr sz="2251" b="1"/>
            </a:lvl8pPr>
            <a:lvl9pPr marL="5147168" indent="0">
              <a:buNone/>
              <a:defRPr sz="2251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443337" y="2614381"/>
            <a:ext cx="6476665" cy="4749778"/>
          </a:xfrm>
        </p:spPr>
        <p:txBody>
          <a:bodyPr/>
          <a:lstStyle>
            <a:lvl1pPr>
              <a:defRPr sz="3377"/>
            </a:lvl1pPr>
            <a:lvl2pPr>
              <a:defRPr sz="2815"/>
            </a:lvl2pPr>
            <a:lvl3pPr>
              <a:defRPr sz="2532"/>
            </a:lvl3pPr>
            <a:lvl4pPr>
              <a:defRPr sz="2251"/>
            </a:lvl4pPr>
            <a:lvl5pPr>
              <a:defRPr sz="2251"/>
            </a:lvl5pPr>
            <a:lvl6pPr>
              <a:defRPr sz="2251"/>
            </a:lvl6pPr>
            <a:lvl7pPr>
              <a:defRPr sz="2251"/>
            </a:lvl7pPr>
            <a:lvl8pPr>
              <a:defRPr sz="2251"/>
            </a:lvl8pPr>
            <a:lvl9pPr>
              <a:defRPr sz="225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69857A7-084A-4CB0-8292-B9FFFC180A38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5781479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CBC175F-2938-4604-B2E6-62EA3D5CFDBD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0180059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1808595" y="7783986"/>
            <a:ext cx="1696753" cy="2166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ctr">
              <a:defRPr sz="1407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194562" y="7816428"/>
            <a:ext cx="5199647" cy="2166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ctr">
              <a:defRPr sz="1407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3774743" y="7783986"/>
            <a:ext cx="219025" cy="2166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defRPr sz="1407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0CA63A39-C7E0-4864-8F92-84922ECB1F5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52101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with image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6907" y="593618"/>
            <a:ext cx="14234164" cy="433186"/>
          </a:xfrm>
        </p:spPr>
        <p:txBody>
          <a:bodyPr/>
          <a:lstStyle>
            <a:lvl1pPr>
              <a:defRPr sz="2807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271038" y="1212623"/>
            <a:ext cx="14022352" cy="444634"/>
          </a:xfrm>
        </p:spPr>
        <p:txBody>
          <a:bodyPr/>
          <a:lstStyle>
            <a:lvl1pPr>
              <a:buNone/>
              <a:defRPr sz="2245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ijdelijke aanduiding voor tekst 20"/>
          <p:cNvSpPr>
            <a:spLocks noGrp="1"/>
          </p:cNvSpPr>
          <p:nvPr>
            <p:ph type="body" sz="quarter" idx="19"/>
          </p:nvPr>
        </p:nvSpPr>
        <p:spPr>
          <a:xfrm>
            <a:off x="3887894" y="1919708"/>
            <a:ext cx="10251069" cy="1583865"/>
          </a:xfrm>
          <a:solidFill>
            <a:schemeClr val="tx2">
              <a:lumMod val="20000"/>
              <a:lumOff val="80000"/>
            </a:schemeClr>
          </a:solidFill>
        </p:spPr>
        <p:txBody>
          <a:bodyPr anchor="t" anchorCtr="0"/>
          <a:lstStyle>
            <a:lvl1pPr>
              <a:spcBef>
                <a:spcPts val="0"/>
              </a:spcBef>
              <a:defRPr sz="1964"/>
            </a:lvl1pPr>
            <a:lvl2pPr>
              <a:spcBef>
                <a:spcPts val="0"/>
              </a:spcBef>
              <a:defRPr sz="1964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2" name="Tijdelijke aanduiding voor tekst 20"/>
          <p:cNvSpPr>
            <a:spLocks noGrp="1"/>
          </p:cNvSpPr>
          <p:nvPr>
            <p:ph type="body" sz="quarter" idx="20"/>
          </p:nvPr>
        </p:nvSpPr>
        <p:spPr>
          <a:xfrm>
            <a:off x="3887894" y="5872105"/>
            <a:ext cx="10251069" cy="1583865"/>
          </a:xfrm>
          <a:solidFill>
            <a:schemeClr val="tx2">
              <a:lumMod val="20000"/>
              <a:lumOff val="80000"/>
            </a:schemeClr>
          </a:solidFill>
        </p:spPr>
        <p:txBody>
          <a:bodyPr anchor="t" anchorCtr="0"/>
          <a:lstStyle>
            <a:lvl1pPr>
              <a:spcBef>
                <a:spcPts val="0"/>
              </a:spcBef>
              <a:defRPr sz="1964"/>
            </a:lvl1pPr>
            <a:lvl2pPr>
              <a:spcBef>
                <a:spcPts val="0"/>
              </a:spcBef>
              <a:defRPr sz="1964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Tijdelijke aanduiding voor tekst 20"/>
          <p:cNvSpPr>
            <a:spLocks noGrp="1"/>
          </p:cNvSpPr>
          <p:nvPr>
            <p:ph type="body" sz="quarter" idx="21"/>
          </p:nvPr>
        </p:nvSpPr>
        <p:spPr>
          <a:xfrm>
            <a:off x="3887894" y="3895907"/>
            <a:ext cx="10251069" cy="1583865"/>
          </a:xfrm>
          <a:solidFill>
            <a:schemeClr val="tx2">
              <a:lumMod val="20000"/>
              <a:lumOff val="80000"/>
            </a:schemeClr>
          </a:solidFill>
        </p:spPr>
        <p:txBody>
          <a:bodyPr anchor="t" anchorCtr="0"/>
          <a:lstStyle>
            <a:lvl1pPr>
              <a:spcBef>
                <a:spcPts val="0"/>
              </a:spcBef>
              <a:defRPr sz="1964"/>
            </a:lvl1pPr>
            <a:lvl2pPr>
              <a:spcBef>
                <a:spcPts val="0"/>
              </a:spcBef>
              <a:defRPr sz="1964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ijdelijke aanduiding voor afbeelding 12"/>
          <p:cNvSpPr>
            <a:spLocks noGrp="1"/>
          </p:cNvSpPr>
          <p:nvPr>
            <p:ph type="pic" sz="quarter" idx="22"/>
          </p:nvPr>
        </p:nvSpPr>
        <p:spPr>
          <a:xfrm>
            <a:off x="375114" y="1919708"/>
            <a:ext cx="3226928" cy="1583865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 dirty="0"/>
              <a:t>Click icon to add picture</a:t>
            </a:r>
            <a:endParaRPr lang="nl-NL" noProof="0"/>
          </a:p>
        </p:txBody>
      </p:sp>
      <p:sp>
        <p:nvSpPr>
          <p:cNvPr id="14" name="Tijdelijke aanduiding voor afbeelding 12"/>
          <p:cNvSpPr>
            <a:spLocks noGrp="1"/>
          </p:cNvSpPr>
          <p:nvPr>
            <p:ph type="pic" sz="quarter" idx="23"/>
          </p:nvPr>
        </p:nvSpPr>
        <p:spPr>
          <a:xfrm>
            <a:off x="355374" y="3895907"/>
            <a:ext cx="3244085" cy="1583865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 dirty="0"/>
              <a:t>Click icon to add picture</a:t>
            </a:r>
            <a:endParaRPr lang="nl-NL" noProof="0"/>
          </a:p>
        </p:txBody>
      </p:sp>
      <p:sp>
        <p:nvSpPr>
          <p:cNvPr id="15" name="Tijdelijke aanduiding voor afbeelding 12"/>
          <p:cNvSpPr>
            <a:spLocks noGrp="1"/>
          </p:cNvSpPr>
          <p:nvPr>
            <p:ph type="pic" sz="quarter" idx="24"/>
          </p:nvPr>
        </p:nvSpPr>
        <p:spPr>
          <a:xfrm>
            <a:off x="394854" y="5872105"/>
            <a:ext cx="3204602" cy="1583865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 dirty="0"/>
              <a:t>Click icon to add picture</a:t>
            </a:r>
            <a:endParaRPr lang="nl-NL" noProof="0"/>
          </a:p>
        </p:txBody>
      </p:sp>
      <p:sp>
        <p:nvSpPr>
          <p:cNvPr id="10" name="Rectangle 5"/>
          <p:cNvSpPr>
            <a:spLocks noGrp="1" noChangeArrowheads="1"/>
          </p:cNvSpPr>
          <p:nvPr>
            <p:ph type="sldNum" sz="quarter" idx="2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1C7F818-1137-44F4-B6D6-BECAD6B9515E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1" name="Rectangle 6"/>
          <p:cNvSpPr>
            <a:spLocks noGrp="1" noChangeArrowheads="1"/>
          </p:cNvSpPr>
          <p:nvPr>
            <p:ph type="ftr" sz="quarter" idx="26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6127875"/>
      </p:ext>
    </p:extLst>
  </p:cSld>
  <p:clrMapOvr>
    <a:masterClrMapping/>
  </p:clrMapOvr>
  <p:transition>
    <p:fade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2642" y="328231"/>
            <a:ext cx="4820613" cy="1396882"/>
          </a:xfrm>
        </p:spPr>
        <p:txBody>
          <a:bodyPr anchor="b"/>
          <a:lstStyle>
            <a:lvl1pPr algn="l">
              <a:defRPr sz="2815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28782" y="328233"/>
            <a:ext cx="8191225" cy="7035930"/>
          </a:xfrm>
        </p:spPr>
        <p:txBody>
          <a:bodyPr/>
          <a:lstStyle>
            <a:lvl1pPr>
              <a:defRPr sz="4503"/>
            </a:lvl1pPr>
            <a:lvl2pPr>
              <a:defRPr sz="3941"/>
            </a:lvl2pPr>
            <a:lvl3pPr>
              <a:defRPr sz="3377"/>
            </a:lvl3pPr>
            <a:lvl4pPr>
              <a:defRPr sz="2815"/>
            </a:lvl4pPr>
            <a:lvl5pPr>
              <a:defRPr sz="2815"/>
            </a:lvl5pPr>
            <a:lvl6pPr>
              <a:defRPr sz="2815"/>
            </a:lvl6pPr>
            <a:lvl7pPr>
              <a:defRPr sz="2815"/>
            </a:lvl7pPr>
            <a:lvl8pPr>
              <a:defRPr sz="2815"/>
            </a:lvl8pPr>
            <a:lvl9pPr>
              <a:defRPr sz="281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32642" y="1725113"/>
            <a:ext cx="4820613" cy="5639049"/>
          </a:xfrm>
        </p:spPr>
        <p:txBody>
          <a:bodyPr/>
          <a:lstStyle>
            <a:lvl1pPr marL="0" indent="0">
              <a:buNone/>
              <a:defRPr sz="1970"/>
            </a:lvl1pPr>
            <a:lvl2pPr marL="643396" indent="0">
              <a:buNone/>
              <a:defRPr sz="1689"/>
            </a:lvl2pPr>
            <a:lvl3pPr marL="1286791" indent="0">
              <a:buNone/>
              <a:defRPr sz="1407"/>
            </a:lvl3pPr>
            <a:lvl4pPr marL="1930188" indent="0">
              <a:buNone/>
              <a:defRPr sz="1267"/>
            </a:lvl4pPr>
            <a:lvl5pPr marL="2573585" indent="0">
              <a:buNone/>
              <a:defRPr sz="1267"/>
            </a:lvl5pPr>
            <a:lvl6pPr marL="3216980" indent="0">
              <a:buNone/>
              <a:defRPr sz="1267"/>
            </a:lvl6pPr>
            <a:lvl7pPr marL="3860377" indent="0">
              <a:buNone/>
              <a:defRPr sz="1267"/>
            </a:lvl7pPr>
            <a:lvl8pPr marL="4503772" indent="0">
              <a:buNone/>
              <a:defRPr sz="1267"/>
            </a:lvl8pPr>
            <a:lvl9pPr marL="5147168" indent="0">
              <a:buNone/>
              <a:defRPr sz="12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C444E95-B54B-403F-9631-48E14DE3D34D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2981615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72020" y="5770737"/>
            <a:ext cx="8791575" cy="681267"/>
          </a:xfrm>
        </p:spPr>
        <p:txBody>
          <a:bodyPr anchor="b"/>
          <a:lstStyle>
            <a:lvl1pPr algn="l">
              <a:defRPr sz="2815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872020" y="736606"/>
            <a:ext cx="8791575" cy="4946333"/>
          </a:xfrm>
        </p:spPr>
        <p:txBody>
          <a:bodyPr/>
          <a:lstStyle>
            <a:lvl1pPr marL="0" indent="0">
              <a:buNone/>
              <a:defRPr sz="4503"/>
            </a:lvl1pPr>
            <a:lvl2pPr marL="643396" indent="0">
              <a:buNone/>
              <a:defRPr sz="3941"/>
            </a:lvl2pPr>
            <a:lvl3pPr marL="1286791" indent="0">
              <a:buNone/>
              <a:defRPr sz="3377"/>
            </a:lvl3pPr>
            <a:lvl4pPr marL="1930188" indent="0">
              <a:buNone/>
              <a:defRPr sz="2815"/>
            </a:lvl4pPr>
            <a:lvl5pPr marL="2573585" indent="0">
              <a:buNone/>
              <a:defRPr sz="2815"/>
            </a:lvl5pPr>
            <a:lvl6pPr marL="3216980" indent="0">
              <a:buNone/>
              <a:defRPr sz="2815"/>
            </a:lvl6pPr>
            <a:lvl7pPr marL="3860377" indent="0">
              <a:buNone/>
              <a:defRPr sz="2815"/>
            </a:lvl7pPr>
            <a:lvl8pPr marL="4503772" indent="0">
              <a:buNone/>
              <a:defRPr sz="2815"/>
            </a:lvl8pPr>
            <a:lvl9pPr marL="5147168" indent="0">
              <a:buNone/>
              <a:defRPr sz="2815"/>
            </a:lvl9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872020" y="6452002"/>
            <a:ext cx="8791575" cy="967513"/>
          </a:xfrm>
        </p:spPr>
        <p:txBody>
          <a:bodyPr/>
          <a:lstStyle>
            <a:lvl1pPr marL="0" indent="0">
              <a:buNone/>
              <a:defRPr sz="1970"/>
            </a:lvl1pPr>
            <a:lvl2pPr marL="643396" indent="0">
              <a:buNone/>
              <a:defRPr sz="1689"/>
            </a:lvl2pPr>
            <a:lvl3pPr marL="1286791" indent="0">
              <a:buNone/>
              <a:defRPr sz="1407"/>
            </a:lvl3pPr>
            <a:lvl4pPr marL="1930188" indent="0">
              <a:buNone/>
              <a:defRPr sz="1267"/>
            </a:lvl4pPr>
            <a:lvl5pPr marL="2573585" indent="0">
              <a:buNone/>
              <a:defRPr sz="1267"/>
            </a:lvl5pPr>
            <a:lvl6pPr marL="3216980" indent="0">
              <a:buNone/>
              <a:defRPr sz="1267"/>
            </a:lvl6pPr>
            <a:lvl7pPr marL="3860377" indent="0">
              <a:buNone/>
              <a:defRPr sz="1267"/>
            </a:lvl7pPr>
            <a:lvl8pPr marL="4503772" indent="0">
              <a:buNone/>
              <a:defRPr sz="1267"/>
            </a:lvl8pPr>
            <a:lvl9pPr marL="5147168" indent="0">
              <a:buNone/>
              <a:defRPr sz="12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712B013-0D25-4073-8AC0-5D4D2C01A4DE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8345314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AA8E95F-8484-4B7A-A669-CDC086623C31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1017893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656231" y="358766"/>
            <a:ext cx="3337542" cy="708363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43595" y="358766"/>
            <a:ext cx="9768417" cy="708363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32E23C8-58BC-4026-A5DF-705441523B31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3763677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2633" y="330141"/>
            <a:ext cx="13187362" cy="137398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732633" y="1923582"/>
            <a:ext cx="13187362" cy="5440585"/>
          </a:xfrm>
        </p:spPr>
        <p:txBody>
          <a:bodyPr/>
          <a:lstStyle/>
          <a:p>
            <a:pPr lvl="0"/>
            <a:r>
              <a:rPr lang="en-US" noProof="0" dirty="0"/>
              <a:t>Click icon to add table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11808595" y="7783986"/>
            <a:ext cx="1696753" cy="216603"/>
          </a:xfrm>
          <a:prstGeom prst="rect">
            <a:avLst/>
          </a:prstGeom>
          <a:ln/>
        </p:spPr>
        <p:txBody>
          <a:bodyPr/>
          <a:lstStyle>
            <a:lvl1pPr>
              <a:defRPr sz="1407" b="0">
                <a:latin typeface="+mn-lt"/>
              </a:defRPr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5194562" y="7816428"/>
            <a:ext cx="5199647" cy="216603"/>
          </a:xfrm>
          <a:prstGeom prst="rect">
            <a:avLst/>
          </a:prstGeom>
          <a:ln/>
        </p:spPr>
        <p:txBody>
          <a:bodyPr/>
          <a:lstStyle>
            <a:lvl1pPr>
              <a:defRPr sz="1407" b="0">
                <a:latin typeface="+mn-lt"/>
              </a:defRPr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13774743" y="7783986"/>
            <a:ext cx="219025" cy="216603"/>
          </a:xfrm>
          <a:prstGeom prst="rect">
            <a:avLst/>
          </a:prstGeom>
          <a:ln/>
        </p:spPr>
        <p:txBody>
          <a:bodyPr/>
          <a:lstStyle>
            <a:lvl1pPr>
              <a:defRPr sz="1407" b="0">
                <a:latin typeface="+mn-lt"/>
              </a:defRPr>
            </a:lvl1pPr>
          </a:lstStyle>
          <a:p>
            <a:pPr>
              <a:defRPr/>
            </a:pPr>
            <a:fld id="{CC496687-1BED-4EFB-9A05-B04BC64592BD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9014681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100%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3" name="Object 5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352" y="1916"/>
          <a:ext cx="2348" cy="19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53" name="Object 5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352" y="1916"/>
                        <a:ext cx="2348" cy="190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Click to edit title</a:t>
            </a:r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/>
        <p:txBody>
          <a:bodyPr vert="horz"/>
          <a:lstStyle>
            <a:lvl1pPr marL="219406" indent="-219406">
              <a:buClr>
                <a:schemeClr val="tx2"/>
              </a:buClr>
              <a:buFont typeface="Wingdings" pitchFamily="2" charset="2"/>
              <a:buChar char="§"/>
              <a:defRPr/>
            </a:lvl1pPr>
            <a:lvl2pPr>
              <a:buClr>
                <a:schemeClr val="tx2"/>
              </a:buClr>
              <a:buFont typeface="Wingdings" pitchFamily="2" charset="2"/>
              <a:buChar char="§"/>
              <a:defRPr/>
            </a:lvl2pPr>
            <a:lvl3pPr>
              <a:buClr>
                <a:schemeClr val="tx2"/>
              </a:buClr>
              <a:buFont typeface="Wingdings" pitchFamily="2" charset="2"/>
              <a:buChar char="§"/>
              <a:defRPr baseline="0"/>
            </a:lvl3pPr>
            <a:lvl4pPr>
              <a:buClr>
                <a:schemeClr val="tx2"/>
              </a:buClr>
              <a:buFont typeface="Wingdings" pitchFamily="2" charset="2"/>
              <a:buChar char="§"/>
              <a:defRPr baseline="0"/>
            </a:lvl4pPr>
          </a:lstStyle>
          <a:p>
            <a:pPr lvl="0"/>
            <a:r>
              <a:rPr lang="en-GB" dirty="0"/>
              <a:t>Click to add text</a:t>
            </a:r>
          </a:p>
          <a:p>
            <a:pPr lvl="2"/>
            <a:r>
              <a:rPr lang="en-GB" dirty="0"/>
              <a:t>Level 2</a:t>
            </a: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E0908C-D037-4276-B023-3DE644EA2E36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07799527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PP header horizon met logo's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5085" y="490435"/>
            <a:ext cx="14657713" cy="1883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438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48687" y="2854831"/>
            <a:ext cx="13352712" cy="1375890"/>
          </a:xfrm>
        </p:spPr>
        <p:txBody>
          <a:bodyPr bIns="49478"/>
          <a:lstStyle>
            <a:lvl1pPr>
              <a:defRPr sz="491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4438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48687" y="7442408"/>
            <a:ext cx="13352712" cy="501886"/>
          </a:xfrm>
        </p:spPr>
        <p:txBody>
          <a:bodyPr tIns="49478" rIns="98956" bIns="49478"/>
          <a:lstStyle>
            <a:lvl1pPr marL="0" indent="0">
              <a:buFontTx/>
              <a:buNone/>
              <a:defRPr sz="2667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10610624"/>
      </p:ext>
    </p:extLst>
  </p:cSld>
  <p:clrMapOvr>
    <a:masterClrMapping/>
  </p:clrMapOvr>
  <p:transition>
    <p:fade/>
  </p:transition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236" y="1913"/>
          <a:ext cx="2227" cy="190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6"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236" y="1913"/>
                        <a:ext cx="2227" cy="190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73585" y="627356"/>
            <a:ext cx="13980331" cy="433186"/>
          </a:xfrm>
        </p:spPr>
        <p:txBody>
          <a:bodyPr/>
          <a:lstStyle>
            <a:lvl1pPr>
              <a:defRPr sz="2807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4"/>
          </p:nvPr>
        </p:nvSpPr>
        <p:spPr>
          <a:xfrm>
            <a:off x="317539" y="201216"/>
            <a:ext cx="5766927" cy="25953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8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14117432" y="230350"/>
            <a:ext cx="392330" cy="263726"/>
          </a:xfrm>
          <a:prstGeom prst="rect">
            <a:avLst/>
          </a:prstGeom>
        </p:spPr>
        <p:txBody>
          <a:bodyPr vert="horz" lIns="0" tIns="47732" rIns="75168" bIns="47732" rtlCol="0" anchor="ctr"/>
          <a:lstStyle>
            <a:lvl1pPr algn="l">
              <a:defRPr sz="1544" b="1">
                <a:solidFill>
                  <a:schemeClr val="bg1"/>
                </a:solidFill>
                <a:latin typeface="+mn-lt"/>
              </a:defRPr>
            </a:lvl1pPr>
          </a:lstStyle>
          <a:p>
            <a:fld id="{7103653F-4628-4CCA-BBFC-10994C39EA7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jdelijke aanduiding voor inhoud 2"/>
          <p:cNvSpPr>
            <a:spLocks noGrp="1"/>
          </p:cNvSpPr>
          <p:nvPr>
            <p:ph idx="15"/>
          </p:nvPr>
        </p:nvSpPr>
        <p:spPr>
          <a:xfrm>
            <a:off x="335627" y="1315368"/>
            <a:ext cx="13957772" cy="6256431"/>
          </a:xfrm>
        </p:spPr>
        <p:txBody>
          <a:bodyPr/>
          <a:lstStyle>
            <a:lvl1pPr>
              <a:defRPr sz="2245">
                <a:latin typeface="Arial" pitchFamily="34" charset="0"/>
                <a:cs typeface="Arial" pitchFamily="34" charset="0"/>
              </a:defRPr>
            </a:lvl1pPr>
            <a:lvl2pPr>
              <a:defRPr sz="1964">
                <a:latin typeface="Arial" pitchFamily="34" charset="0"/>
                <a:cs typeface="Arial" pitchFamily="34" charset="0"/>
              </a:defRPr>
            </a:lvl2pPr>
            <a:lvl3pPr marL="820086" indent="-273362">
              <a:buClr>
                <a:schemeClr val="tx2"/>
              </a:buClr>
              <a:buFont typeface="Wingdings" pitchFamily="2" charset="2"/>
              <a:buChar char="§"/>
              <a:defRPr sz="1684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815582508"/>
      </p:ext>
    </p:extLst>
  </p:cSld>
  <p:clrMapOvr>
    <a:masterClrMapping/>
  </p:clrMapOvr>
  <p:transition>
    <p:fade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with image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6907" y="593618"/>
            <a:ext cx="14234164" cy="433186"/>
          </a:xfrm>
        </p:spPr>
        <p:txBody>
          <a:bodyPr/>
          <a:lstStyle>
            <a:lvl1pPr>
              <a:defRPr sz="2807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271038" y="1212623"/>
            <a:ext cx="14022352" cy="444634"/>
          </a:xfrm>
        </p:spPr>
        <p:txBody>
          <a:bodyPr/>
          <a:lstStyle>
            <a:lvl1pPr>
              <a:buNone/>
              <a:defRPr sz="2245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ijdelijke aanduiding voor tekst 20"/>
          <p:cNvSpPr>
            <a:spLocks noGrp="1"/>
          </p:cNvSpPr>
          <p:nvPr>
            <p:ph type="body" sz="quarter" idx="19"/>
          </p:nvPr>
        </p:nvSpPr>
        <p:spPr>
          <a:xfrm>
            <a:off x="3887894" y="1919708"/>
            <a:ext cx="10251069" cy="1583865"/>
          </a:xfrm>
          <a:solidFill>
            <a:schemeClr val="tx2">
              <a:lumMod val="20000"/>
              <a:lumOff val="80000"/>
            </a:schemeClr>
          </a:solidFill>
        </p:spPr>
        <p:txBody>
          <a:bodyPr anchor="t" anchorCtr="0"/>
          <a:lstStyle>
            <a:lvl1pPr>
              <a:spcBef>
                <a:spcPts val="0"/>
              </a:spcBef>
              <a:defRPr sz="1964"/>
            </a:lvl1pPr>
            <a:lvl2pPr>
              <a:spcBef>
                <a:spcPts val="0"/>
              </a:spcBef>
              <a:defRPr sz="1964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2" name="Tijdelijke aanduiding voor tekst 20"/>
          <p:cNvSpPr>
            <a:spLocks noGrp="1"/>
          </p:cNvSpPr>
          <p:nvPr>
            <p:ph type="body" sz="quarter" idx="20"/>
          </p:nvPr>
        </p:nvSpPr>
        <p:spPr>
          <a:xfrm>
            <a:off x="3887894" y="5872105"/>
            <a:ext cx="10251069" cy="1583865"/>
          </a:xfrm>
          <a:solidFill>
            <a:schemeClr val="tx2">
              <a:lumMod val="20000"/>
              <a:lumOff val="80000"/>
            </a:schemeClr>
          </a:solidFill>
        </p:spPr>
        <p:txBody>
          <a:bodyPr anchor="t" anchorCtr="0"/>
          <a:lstStyle>
            <a:lvl1pPr>
              <a:spcBef>
                <a:spcPts val="0"/>
              </a:spcBef>
              <a:defRPr sz="1964"/>
            </a:lvl1pPr>
            <a:lvl2pPr>
              <a:spcBef>
                <a:spcPts val="0"/>
              </a:spcBef>
              <a:defRPr sz="1964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Tijdelijke aanduiding voor tekst 20"/>
          <p:cNvSpPr>
            <a:spLocks noGrp="1"/>
          </p:cNvSpPr>
          <p:nvPr>
            <p:ph type="body" sz="quarter" idx="21"/>
          </p:nvPr>
        </p:nvSpPr>
        <p:spPr>
          <a:xfrm>
            <a:off x="3887894" y="3895907"/>
            <a:ext cx="10251069" cy="1583865"/>
          </a:xfrm>
          <a:solidFill>
            <a:schemeClr val="tx2">
              <a:lumMod val="20000"/>
              <a:lumOff val="80000"/>
            </a:schemeClr>
          </a:solidFill>
        </p:spPr>
        <p:txBody>
          <a:bodyPr anchor="t" anchorCtr="0"/>
          <a:lstStyle>
            <a:lvl1pPr>
              <a:spcBef>
                <a:spcPts val="0"/>
              </a:spcBef>
              <a:defRPr sz="1964"/>
            </a:lvl1pPr>
            <a:lvl2pPr>
              <a:spcBef>
                <a:spcPts val="0"/>
              </a:spcBef>
              <a:defRPr sz="1964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ijdelijke aanduiding voor afbeelding 12"/>
          <p:cNvSpPr>
            <a:spLocks noGrp="1"/>
          </p:cNvSpPr>
          <p:nvPr>
            <p:ph type="pic" sz="quarter" idx="22"/>
          </p:nvPr>
        </p:nvSpPr>
        <p:spPr>
          <a:xfrm>
            <a:off x="375114" y="1919708"/>
            <a:ext cx="3226928" cy="1583865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 dirty="0"/>
              <a:t>Click icon to add picture</a:t>
            </a:r>
            <a:endParaRPr lang="nl-NL" noProof="0"/>
          </a:p>
        </p:txBody>
      </p:sp>
      <p:sp>
        <p:nvSpPr>
          <p:cNvPr id="14" name="Tijdelijke aanduiding voor afbeelding 12"/>
          <p:cNvSpPr>
            <a:spLocks noGrp="1"/>
          </p:cNvSpPr>
          <p:nvPr>
            <p:ph type="pic" sz="quarter" idx="23"/>
          </p:nvPr>
        </p:nvSpPr>
        <p:spPr>
          <a:xfrm>
            <a:off x="355374" y="3895907"/>
            <a:ext cx="3244085" cy="1583865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 dirty="0"/>
              <a:t>Click icon to add picture</a:t>
            </a:r>
            <a:endParaRPr lang="nl-NL" noProof="0"/>
          </a:p>
        </p:txBody>
      </p:sp>
      <p:sp>
        <p:nvSpPr>
          <p:cNvPr id="15" name="Tijdelijke aanduiding voor afbeelding 12"/>
          <p:cNvSpPr>
            <a:spLocks noGrp="1"/>
          </p:cNvSpPr>
          <p:nvPr>
            <p:ph type="pic" sz="quarter" idx="24"/>
          </p:nvPr>
        </p:nvSpPr>
        <p:spPr>
          <a:xfrm>
            <a:off x="394854" y="5872105"/>
            <a:ext cx="3204602" cy="1583865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 dirty="0"/>
              <a:t>Click icon to add picture</a:t>
            </a:r>
            <a:endParaRPr lang="nl-NL" noProof="0"/>
          </a:p>
        </p:txBody>
      </p:sp>
      <p:sp>
        <p:nvSpPr>
          <p:cNvPr id="10" name="Rectangle 5"/>
          <p:cNvSpPr>
            <a:spLocks noGrp="1" noChangeArrowheads="1"/>
          </p:cNvSpPr>
          <p:nvPr>
            <p:ph type="sldNum" sz="quarter" idx="2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1C7F818-1137-44F4-B6D6-BECAD6B9515E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ftr" sz="quarter" idx="26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3737169"/>
      </p:ext>
    </p:extLst>
  </p:cSld>
  <p:clrMapOvr>
    <a:masterClrMapping/>
  </p:clrMapOvr>
  <p:transition>
    <p:fade/>
  </p:transition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image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8687" y="1015220"/>
            <a:ext cx="13352712" cy="433186"/>
          </a:xfrm>
        </p:spPr>
        <p:txBody>
          <a:bodyPr/>
          <a:lstStyle>
            <a:lvl1pPr>
              <a:defRPr sz="2807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646150" y="1819716"/>
            <a:ext cx="13378153" cy="444634"/>
          </a:xfrm>
        </p:spPr>
        <p:txBody>
          <a:bodyPr/>
          <a:lstStyle>
            <a:lvl1pPr>
              <a:buNone/>
              <a:defRPr sz="2245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ijdelijke aanduiding voor tekst 20"/>
          <p:cNvSpPr>
            <a:spLocks noGrp="1"/>
          </p:cNvSpPr>
          <p:nvPr>
            <p:ph type="body" sz="quarter" idx="19"/>
          </p:nvPr>
        </p:nvSpPr>
        <p:spPr>
          <a:xfrm>
            <a:off x="5214959" y="2509950"/>
            <a:ext cx="8791575" cy="2423400"/>
          </a:xfrm>
          <a:solidFill>
            <a:schemeClr val="tx2">
              <a:lumMod val="20000"/>
              <a:lumOff val="80000"/>
            </a:schemeClr>
          </a:solidFill>
        </p:spPr>
        <p:txBody>
          <a:bodyPr anchor="t" anchorCtr="0"/>
          <a:lstStyle>
            <a:lvl1pPr>
              <a:spcBef>
                <a:spcPts val="0"/>
              </a:spcBef>
              <a:defRPr sz="1964"/>
            </a:lvl1pPr>
            <a:lvl2pPr>
              <a:spcBef>
                <a:spcPts val="0"/>
              </a:spcBef>
              <a:defRPr sz="1964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Tijdelijke aanduiding voor tekst 20"/>
          <p:cNvSpPr>
            <a:spLocks noGrp="1"/>
          </p:cNvSpPr>
          <p:nvPr>
            <p:ph type="body" sz="quarter" idx="21"/>
          </p:nvPr>
        </p:nvSpPr>
        <p:spPr>
          <a:xfrm>
            <a:off x="5214959" y="5262240"/>
            <a:ext cx="8791575" cy="2423400"/>
          </a:xfrm>
          <a:solidFill>
            <a:schemeClr val="tx2">
              <a:lumMod val="20000"/>
              <a:lumOff val="80000"/>
            </a:schemeClr>
          </a:solidFill>
        </p:spPr>
        <p:txBody>
          <a:bodyPr anchor="t" anchorCtr="0"/>
          <a:lstStyle>
            <a:lvl1pPr>
              <a:spcBef>
                <a:spcPts val="0"/>
              </a:spcBef>
              <a:defRPr sz="1964"/>
            </a:lvl1pPr>
            <a:lvl2pPr>
              <a:spcBef>
                <a:spcPts val="0"/>
              </a:spcBef>
              <a:defRPr sz="1964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ijdelijke aanduiding voor afbeelding 12"/>
          <p:cNvSpPr>
            <a:spLocks noGrp="1" noChangeAspect="1"/>
          </p:cNvSpPr>
          <p:nvPr>
            <p:ph type="pic" sz="quarter" idx="22"/>
          </p:nvPr>
        </p:nvSpPr>
        <p:spPr>
          <a:xfrm>
            <a:off x="648685" y="2509950"/>
            <a:ext cx="4222725" cy="24234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 dirty="0"/>
              <a:t>Click icon to add picture</a:t>
            </a:r>
            <a:endParaRPr lang="nl-NL" noProof="0"/>
          </a:p>
        </p:txBody>
      </p:sp>
      <p:sp>
        <p:nvSpPr>
          <p:cNvPr id="14" name="Tijdelijke aanduiding voor afbeelding 12"/>
          <p:cNvSpPr>
            <a:spLocks noGrp="1" noChangeAspect="1"/>
          </p:cNvSpPr>
          <p:nvPr>
            <p:ph type="pic" sz="quarter" idx="23"/>
          </p:nvPr>
        </p:nvSpPr>
        <p:spPr>
          <a:xfrm>
            <a:off x="646100" y="5262240"/>
            <a:ext cx="4222725" cy="24234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 dirty="0"/>
              <a:t>Click icon to add picture</a:t>
            </a:r>
            <a:endParaRPr lang="nl-NL" noProof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sldNum" sz="quarter" idx="24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5A22AC8-36D9-4965-81AD-19038FCC0CCE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ftr" sz="quarter" idx="2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54726655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image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8687" y="1015220"/>
            <a:ext cx="13352712" cy="433186"/>
          </a:xfrm>
        </p:spPr>
        <p:txBody>
          <a:bodyPr/>
          <a:lstStyle>
            <a:lvl1pPr>
              <a:defRPr sz="2807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646150" y="1819716"/>
            <a:ext cx="13378153" cy="444634"/>
          </a:xfrm>
        </p:spPr>
        <p:txBody>
          <a:bodyPr/>
          <a:lstStyle>
            <a:lvl1pPr>
              <a:buNone/>
              <a:defRPr sz="2245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ijdelijke aanduiding voor tekst 20"/>
          <p:cNvSpPr>
            <a:spLocks noGrp="1"/>
          </p:cNvSpPr>
          <p:nvPr>
            <p:ph type="body" sz="quarter" idx="19"/>
          </p:nvPr>
        </p:nvSpPr>
        <p:spPr>
          <a:xfrm>
            <a:off x="5214959" y="2509950"/>
            <a:ext cx="8791575" cy="2423400"/>
          </a:xfrm>
          <a:solidFill>
            <a:schemeClr val="tx2">
              <a:lumMod val="20000"/>
              <a:lumOff val="80000"/>
            </a:schemeClr>
          </a:solidFill>
        </p:spPr>
        <p:txBody>
          <a:bodyPr anchor="t" anchorCtr="0"/>
          <a:lstStyle>
            <a:lvl1pPr>
              <a:spcBef>
                <a:spcPts val="0"/>
              </a:spcBef>
              <a:defRPr sz="1964"/>
            </a:lvl1pPr>
            <a:lvl2pPr>
              <a:spcBef>
                <a:spcPts val="0"/>
              </a:spcBef>
              <a:defRPr sz="1964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Tijdelijke aanduiding voor tekst 20"/>
          <p:cNvSpPr>
            <a:spLocks noGrp="1"/>
          </p:cNvSpPr>
          <p:nvPr>
            <p:ph type="body" sz="quarter" idx="21"/>
          </p:nvPr>
        </p:nvSpPr>
        <p:spPr>
          <a:xfrm>
            <a:off x="5214959" y="5262240"/>
            <a:ext cx="8791575" cy="2423400"/>
          </a:xfrm>
          <a:solidFill>
            <a:schemeClr val="tx2">
              <a:lumMod val="20000"/>
              <a:lumOff val="80000"/>
            </a:schemeClr>
          </a:solidFill>
        </p:spPr>
        <p:txBody>
          <a:bodyPr anchor="t" anchorCtr="0"/>
          <a:lstStyle>
            <a:lvl1pPr>
              <a:spcBef>
                <a:spcPts val="0"/>
              </a:spcBef>
              <a:defRPr sz="1964"/>
            </a:lvl1pPr>
            <a:lvl2pPr>
              <a:spcBef>
                <a:spcPts val="0"/>
              </a:spcBef>
              <a:defRPr sz="1964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ijdelijke aanduiding voor afbeelding 12"/>
          <p:cNvSpPr>
            <a:spLocks noGrp="1" noChangeAspect="1"/>
          </p:cNvSpPr>
          <p:nvPr>
            <p:ph type="pic" sz="quarter" idx="22"/>
          </p:nvPr>
        </p:nvSpPr>
        <p:spPr>
          <a:xfrm>
            <a:off x="648685" y="2509950"/>
            <a:ext cx="4222725" cy="24234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 dirty="0"/>
              <a:t>Click icon to add picture</a:t>
            </a:r>
            <a:endParaRPr lang="nl-NL" noProof="0"/>
          </a:p>
        </p:txBody>
      </p:sp>
      <p:sp>
        <p:nvSpPr>
          <p:cNvPr id="14" name="Tijdelijke aanduiding voor afbeelding 12"/>
          <p:cNvSpPr>
            <a:spLocks noGrp="1" noChangeAspect="1"/>
          </p:cNvSpPr>
          <p:nvPr>
            <p:ph type="pic" sz="quarter" idx="23"/>
          </p:nvPr>
        </p:nvSpPr>
        <p:spPr>
          <a:xfrm>
            <a:off x="646100" y="5262240"/>
            <a:ext cx="4222725" cy="24234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 dirty="0"/>
              <a:t>Click icon to add picture</a:t>
            </a:r>
            <a:endParaRPr lang="nl-NL" noProof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sldNum" sz="quarter" idx="24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5A22AC8-36D9-4965-81AD-19038FCC0CCE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0" name="Rectangle 6"/>
          <p:cNvSpPr>
            <a:spLocks noGrp="1" noChangeArrowheads="1"/>
          </p:cNvSpPr>
          <p:nvPr>
            <p:ph type="ftr" sz="quarter" idx="2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8992532"/>
      </p:ext>
    </p:extLst>
  </p:cSld>
  <p:clrMapOvr>
    <a:masterClrMapping/>
  </p:clrMapOvr>
  <p:transition>
    <p:fade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72290" y="627346"/>
            <a:ext cx="14059297" cy="433186"/>
          </a:xfrm>
        </p:spPr>
        <p:txBody>
          <a:bodyPr/>
          <a:lstStyle>
            <a:lvl1pPr>
              <a:defRPr sz="2807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16" name="Tijdelijke aanduiding voor tekst 15"/>
          <p:cNvSpPr>
            <a:spLocks noGrp="1"/>
          </p:cNvSpPr>
          <p:nvPr>
            <p:ph type="body" sz="quarter" idx="14"/>
          </p:nvPr>
        </p:nvSpPr>
        <p:spPr>
          <a:xfrm>
            <a:off x="533042" y="2307581"/>
            <a:ext cx="6732106" cy="432750"/>
          </a:xfrm>
          <a:solidFill>
            <a:schemeClr val="tx2">
              <a:lumMod val="20000"/>
              <a:lumOff val="80000"/>
            </a:schemeClr>
          </a:solidFill>
        </p:spPr>
        <p:txBody>
          <a:bodyPr lIns="194796" anchor="ctr"/>
          <a:lstStyle>
            <a:lvl1pPr marL="0" indent="0" algn="l">
              <a:spcBef>
                <a:spcPts val="0"/>
              </a:spcBef>
              <a:buNone/>
              <a:defRPr sz="196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7" name="Tijdelijke aanduiding voor tekst 15"/>
          <p:cNvSpPr>
            <a:spLocks noGrp="1"/>
          </p:cNvSpPr>
          <p:nvPr>
            <p:ph type="body" sz="quarter" idx="15"/>
          </p:nvPr>
        </p:nvSpPr>
        <p:spPr>
          <a:xfrm>
            <a:off x="7676983" y="2307581"/>
            <a:ext cx="6655819" cy="432750"/>
          </a:xfrm>
          <a:solidFill>
            <a:schemeClr val="accent5">
              <a:lumMod val="60000"/>
              <a:lumOff val="40000"/>
            </a:schemeClr>
          </a:solidFill>
        </p:spPr>
        <p:txBody>
          <a:bodyPr lIns="194796" anchor="ctr"/>
          <a:lstStyle>
            <a:lvl1pPr marL="0" indent="0">
              <a:spcBef>
                <a:spcPts val="0"/>
              </a:spcBef>
              <a:buNone/>
              <a:defRPr sz="196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330273" y="1263216"/>
            <a:ext cx="14081579" cy="444634"/>
          </a:xfrm>
        </p:spPr>
        <p:txBody>
          <a:bodyPr/>
          <a:lstStyle>
            <a:lvl1pPr>
              <a:buNone/>
              <a:defRPr sz="2245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ijdelijke aanduiding voor tekst 20"/>
          <p:cNvSpPr>
            <a:spLocks noGrp="1"/>
          </p:cNvSpPr>
          <p:nvPr>
            <p:ph type="body" sz="quarter" idx="19"/>
          </p:nvPr>
        </p:nvSpPr>
        <p:spPr>
          <a:xfrm>
            <a:off x="533042" y="2718695"/>
            <a:ext cx="6732106" cy="4721303"/>
          </a:xfrm>
        </p:spPr>
        <p:txBody>
          <a:bodyPr/>
          <a:lstStyle>
            <a:lvl1pPr>
              <a:defRPr sz="1964"/>
            </a:lvl1pPr>
            <a:lvl2pPr>
              <a:defRPr sz="1964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1" name="Tijdelijke aanduiding voor tekst 20"/>
          <p:cNvSpPr>
            <a:spLocks noGrp="1"/>
          </p:cNvSpPr>
          <p:nvPr>
            <p:ph type="body" sz="quarter" idx="20"/>
          </p:nvPr>
        </p:nvSpPr>
        <p:spPr>
          <a:xfrm>
            <a:off x="7677059" y="2718695"/>
            <a:ext cx="6655819" cy="4721303"/>
          </a:xfrm>
        </p:spPr>
        <p:txBody>
          <a:bodyPr/>
          <a:lstStyle>
            <a:lvl1pPr>
              <a:defRPr sz="1964"/>
            </a:lvl1pPr>
            <a:lvl2pPr>
              <a:defRPr sz="1964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8" name="Rectangle 5"/>
          <p:cNvSpPr>
            <a:spLocks noGrp="1" noChangeArrowheads="1"/>
          </p:cNvSpPr>
          <p:nvPr>
            <p:ph type="sldNum" sz="quarter" idx="2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EEDDE4F-381E-4904-8E4A-86B45F5FCC9F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2" name="Rectangle 6"/>
          <p:cNvSpPr>
            <a:spLocks noGrp="1" noChangeArrowheads="1"/>
          </p:cNvSpPr>
          <p:nvPr>
            <p:ph type="ftr" sz="quarter" idx="2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47214286"/>
      </p:ext>
    </p:extLst>
  </p:cSld>
  <p:clrMapOvr>
    <a:masterClrMapping/>
  </p:clrMapOvr>
  <p:transition>
    <p:fade/>
  </p:transition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PP header horizon met logo's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5084" y="490435"/>
            <a:ext cx="14657713" cy="1883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438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48687" y="2854831"/>
            <a:ext cx="13352712" cy="1375890"/>
          </a:xfrm>
        </p:spPr>
        <p:txBody>
          <a:bodyPr bIns="49478"/>
          <a:lstStyle>
            <a:lvl1pPr>
              <a:defRPr sz="4195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4438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48687" y="7442409"/>
            <a:ext cx="13352712" cy="501886"/>
          </a:xfrm>
        </p:spPr>
        <p:txBody>
          <a:bodyPr tIns="49478" rIns="98956" bIns="49478"/>
          <a:lstStyle>
            <a:lvl1pPr marL="0" indent="0">
              <a:buFontTx/>
              <a:buNone/>
              <a:defRPr sz="2277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80108620"/>
      </p:ext>
    </p:extLst>
  </p:cSld>
  <p:clrMapOvr>
    <a:masterClrMapping/>
  </p:clrMapOvr>
  <p:transition>
    <p:fade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239" y="1914"/>
          <a:ext cx="2227" cy="190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4"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239" y="1914"/>
                        <a:ext cx="2227" cy="190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73587" y="627356"/>
            <a:ext cx="13980331" cy="433186"/>
          </a:xfrm>
        </p:spPr>
        <p:txBody>
          <a:bodyPr/>
          <a:lstStyle>
            <a:lvl1pPr>
              <a:defRPr sz="2397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4"/>
          </p:nvPr>
        </p:nvSpPr>
        <p:spPr>
          <a:xfrm>
            <a:off x="317539" y="201216"/>
            <a:ext cx="5766927" cy="259530"/>
          </a:xfrm>
          <a:ln/>
        </p:spPr>
        <p:txBody>
          <a:bodyPr/>
          <a:lstStyle>
            <a:lvl1pPr>
              <a:defRPr/>
            </a:lvl1pPr>
          </a:lstStyle>
          <a:p>
            <a:pPr defTabSz="1095856">
              <a:defRPr/>
            </a:pP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8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14117433" y="230350"/>
            <a:ext cx="392330" cy="263726"/>
          </a:xfrm>
          <a:prstGeom prst="rect">
            <a:avLst/>
          </a:prstGeom>
        </p:spPr>
        <p:txBody>
          <a:bodyPr vert="horz" lIns="0" tIns="47732" rIns="75168" bIns="47732" rtlCol="0" anchor="ctr"/>
          <a:lstStyle>
            <a:lvl1pPr algn="l">
              <a:defRPr sz="1317" b="1">
                <a:solidFill>
                  <a:schemeClr val="bg1"/>
                </a:solidFill>
                <a:latin typeface="+mn-lt"/>
              </a:defRPr>
            </a:lvl1pPr>
          </a:lstStyle>
          <a:p>
            <a:pPr defTabSz="1095856"/>
            <a:fld id="{7103653F-4628-4CCA-BBFC-10994C39EA7C}" type="slidenum">
              <a:rPr lang="en-US" smtClean="0">
                <a:solidFill>
                  <a:srgbClr val="FFFFFF"/>
                </a:solidFill>
              </a:rPr>
              <a:pPr defTabSz="1095856"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Tijdelijke aanduiding voor inhoud 2"/>
          <p:cNvSpPr>
            <a:spLocks noGrp="1"/>
          </p:cNvSpPr>
          <p:nvPr>
            <p:ph idx="15"/>
          </p:nvPr>
        </p:nvSpPr>
        <p:spPr>
          <a:xfrm>
            <a:off x="335627" y="1315368"/>
            <a:ext cx="13957772" cy="6256431"/>
          </a:xfrm>
        </p:spPr>
        <p:txBody>
          <a:bodyPr/>
          <a:lstStyle>
            <a:lvl1pPr>
              <a:defRPr sz="1919">
                <a:latin typeface="Arial" pitchFamily="34" charset="0"/>
                <a:cs typeface="Arial" pitchFamily="34" charset="0"/>
              </a:defRPr>
            </a:lvl1pPr>
            <a:lvl2pPr>
              <a:defRPr sz="1678">
                <a:latin typeface="Arial" pitchFamily="34" charset="0"/>
                <a:cs typeface="Arial" pitchFamily="34" charset="0"/>
              </a:defRPr>
            </a:lvl2pPr>
            <a:lvl3pPr marL="700355" indent="-233452">
              <a:buClr>
                <a:schemeClr val="tx2"/>
              </a:buClr>
              <a:buFont typeface="Wingdings" pitchFamily="2" charset="2"/>
              <a:buChar char="§"/>
              <a:defRPr sz="1438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004164515"/>
      </p:ext>
    </p:extLst>
  </p:cSld>
  <p:clrMapOvr>
    <a:masterClrMapping/>
  </p:clrMapOvr>
  <p:transition>
    <p:fade/>
  </p:transition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with image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6910" y="593618"/>
            <a:ext cx="14234164" cy="433186"/>
          </a:xfrm>
        </p:spPr>
        <p:txBody>
          <a:bodyPr/>
          <a:lstStyle>
            <a:lvl1pPr>
              <a:defRPr sz="2397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271042" y="1212625"/>
            <a:ext cx="14022352" cy="444634"/>
          </a:xfrm>
        </p:spPr>
        <p:txBody>
          <a:bodyPr/>
          <a:lstStyle>
            <a:lvl1pPr>
              <a:buNone/>
              <a:defRPr sz="1919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ijdelijke aanduiding voor tekst 20"/>
          <p:cNvSpPr>
            <a:spLocks noGrp="1"/>
          </p:cNvSpPr>
          <p:nvPr>
            <p:ph type="body" sz="quarter" idx="19"/>
          </p:nvPr>
        </p:nvSpPr>
        <p:spPr>
          <a:xfrm>
            <a:off x="3887895" y="1919708"/>
            <a:ext cx="10251069" cy="1583865"/>
          </a:xfrm>
          <a:solidFill>
            <a:schemeClr val="tx2">
              <a:lumMod val="20000"/>
              <a:lumOff val="80000"/>
            </a:schemeClr>
          </a:solidFill>
        </p:spPr>
        <p:txBody>
          <a:bodyPr anchor="t" anchorCtr="0"/>
          <a:lstStyle>
            <a:lvl1pPr>
              <a:spcBef>
                <a:spcPts val="0"/>
              </a:spcBef>
              <a:defRPr sz="1678"/>
            </a:lvl1pPr>
            <a:lvl2pPr>
              <a:spcBef>
                <a:spcPts val="0"/>
              </a:spcBef>
              <a:defRPr sz="1678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2" name="Tijdelijke aanduiding voor tekst 20"/>
          <p:cNvSpPr>
            <a:spLocks noGrp="1"/>
          </p:cNvSpPr>
          <p:nvPr>
            <p:ph type="body" sz="quarter" idx="20"/>
          </p:nvPr>
        </p:nvSpPr>
        <p:spPr>
          <a:xfrm>
            <a:off x="3887895" y="5872105"/>
            <a:ext cx="10251069" cy="1583865"/>
          </a:xfrm>
          <a:solidFill>
            <a:schemeClr val="tx2">
              <a:lumMod val="20000"/>
              <a:lumOff val="80000"/>
            </a:schemeClr>
          </a:solidFill>
        </p:spPr>
        <p:txBody>
          <a:bodyPr anchor="t" anchorCtr="0"/>
          <a:lstStyle>
            <a:lvl1pPr>
              <a:spcBef>
                <a:spcPts val="0"/>
              </a:spcBef>
              <a:defRPr sz="1678"/>
            </a:lvl1pPr>
            <a:lvl2pPr>
              <a:spcBef>
                <a:spcPts val="0"/>
              </a:spcBef>
              <a:defRPr sz="1678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Tijdelijke aanduiding voor tekst 20"/>
          <p:cNvSpPr>
            <a:spLocks noGrp="1"/>
          </p:cNvSpPr>
          <p:nvPr>
            <p:ph type="body" sz="quarter" idx="21"/>
          </p:nvPr>
        </p:nvSpPr>
        <p:spPr>
          <a:xfrm>
            <a:off x="3887895" y="3895907"/>
            <a:ext cx="10251069" cy="1583865"/>
          </a:xfrm>
          <a:solidFill>
            <a:schemeClr val="tx2">
              <a:lumMod val="20000"/>
              <a:lumOff val="80000"/>
            </a:schemeClr>
          </a:solidFill>
        </p:spPr>
        <p:txBody>
          <a:bodyPr anchor="t" anchorCtr="0"/>
          <a:lstStyle>
            <a:lvl1pPr>
              <a:spcBef>
                <a:spcPts val="0"/>
              </a:spcBef>
              <a:defRPr sz="1678"/>
            </a:lvl1pPr>
            <a:lvl2pPr>
              <a:spcBef>
                <a:spcPts val="0"/>
              </a:spcBef>
              <a:defRPr sz="1678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ijdelijke aanduiding voor afbeelding 12"/>
          <p:cNvSpPr>
            <a:spLocks noGrp="1"/>
          </p:cNvSpPr>
          <p:nvPr>
            <p:ph type="pic" sz="quarter" idx="22"/>
          </p:nvPr>
        </p:nvSpPr>
        <p:spPr>
          <a:xfrm>
            <a:off x="375114" y="1919708"/>
            <a:ext cx="3226928" cy="1583865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 dirty="0"/>
              <a:t>Click icon to add picture</a:t>
            </a:r>
            <a:endParaRPr lang="nl-NL" noProof="0"/>
          </a:p>
        </p:txBody>
      </p:sp>
      <p:sp>
        <p:nvSpPr>
          <p:cNvPr id="14" name="Tijdelijke aanduiding voor afbeelding 12"/>
          <p:cNvSpPr>
            <a:spLocks noGrp="1"/>
          </p:cNvSpPr>
          <p:nvPr>
            <p:ph type="pic" sz="quarter" idx="23"/>
          </p:nvPr>
        </p:nvSpPr>
        <p:spPr>
          <a:xfrm>
            <a:off x="355374" y="3895907"/>
            <a:ext cx="3244085" cy="1583865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 dirty="0"/>
              <a:t>Click icon to add picture</a:t>
            </a:r>
            <a:endParaRPr lang="nl-NL" noProof="0"/>
          </a:p>
        </p:txBody>
      </p:sp>
      <p:sp>
        <p:nvSpPr>
          <p:cNvPr id="15" name="Tijdelijke aanduiding voor afbeelding 12"/>
          <p:cNvSpPr>
            <a:spLocks noGrp="1"/>
          </p:cNvSpPr>
          <p:nvPr>
            <p:ph type="pic" sz="quarter" idx="24"/>
          </p:nvPr>
        </p:nvSpPr>
        <p:spPr>
          <a:xfrm>
            <a:off x="394855" y="5872105"/>
            <a:ext cx="3204602" cy="1583865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 dirty="0"/>
              <a:t>Click icon to add picture</a:t>
            </a:r>
            <a:endParaRPr lang="nl-NL" noProof="0"/>
          </a:p>
        </p:txBody>
      </p:sp>
      <p:sp>
        <p:nvSpPr>
          <p:cNvPr id="10" name="Rectangle 5"/>
          <p:cNvSpPr>
            <a:spLocks noGrp="1" noChangeArrowheads="1"/>
          </p:cNvSpPr>
          <p:nvPr>
            <p:ph type="sldNum" sz="quarter" idx="2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1095856">
              <a:defRPr/>
            </a:pPr>
            <a:fld id="{F1C7F818-1137-44F4-B6D6-BECAD6B9515E}" type="slidenum">
              <a:rPr lang="en-GB" smtClean="0">
                <a:solidFill>
                  <a:srgbClr val="FFFFFF"/>
                </a:solidFill>
              </a:rPr>
              <a:pPr defTabSz="1095856"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1" name="Rectangle 6"/>
          <p:cNvSpPr>
            <a:spLocks noGrp="1" noChangeArrowheads="1"/>
          </p:cNvSpPr>
          <p:nvPr>
            <p:ph type="ftr" sz="quarter" idx="26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1095856">
              <a:defRPr/>
            </a:pPr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0209119"/>
      </p:ext>
    </p:extLst>
  </p:cSld>
  <p:clrMapOvr>
    <a:masterClrMapping/>
  </p:clrMapOvr>
  <p:transition>
    <p:fade/>
  </p:transition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image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8687" y="1015220"/>
            <a:ext cx="13352712" cy="433186"/>
          </a:xfrm>
        </p:spPr>
        <p:txBody>
          <a:bodyPr/>
          <a:lstStyle>
            <a:lvl1pPr>
              <a:defRPr sz="2397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646150" y="1819718"/>
            <a:ext cx="13378153" cy="444634"/>
          </a:xfrm>
        </p:spPr>
        <p:txBody>
          <a:bodyPr/>
          <a:lstStyle>
            <a:lvl1pPr>
              <a:buNone/>
              <a:defRPr sz="1919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ijdelijke aanduiding voor tekst 20"/>
          <p:cNvSpPr>
            <a:spLocks noGrp="1"/>
          </p:cNvSpPr>
          <p:nvPr>
            <p:ph type="body" sz="quarter" idx="19"/>
          </p:nvPr>
        </p:nvSpPr>
        <p:spPr>
          <a:xfrm>
            <a:off x="5214959" y="2509950"/>
            <a:ext cx="8791575" cy="2423400"/>
          </a:xfrm>
          <a:solidFill>
            <a:schemeClr val="tx2">
              <a:lumMod val="20000"/>
              <a:lumOff val="80000"/>
            </a:schemeClr>
          </a:solidFill>
        </p:spPr>
        <p:txBody>
          <a:bodyPr anchor="t" anchorCtr="0"/>
          <a:lstStyle>
            <a:lvl1pPr>
              <a:spcBef>
                <a:spcPts val="0"/>
              </a:spcBef>
              <a:defRPr sz="1678"/>
            </a:lvl1pPr>
            <a:lvl2pPr>
              <a:spcBef>
                <a:spcPts val="0"/>
              </a:spcBef>
              <a:defRPr sz="1678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Tijdelijke aanduiding voor tekst 20"/>
          <p:cNvSpPr>
            <a:spLocks noGrp="1"/>
          </p:cNvSpPr>
          <p:nvPr>
            <p:ph type="body" sz="quarter" idx="21"/>
          </p:nvPr>
        </p:nvSpPr>
        <p:spPr>
          <a:xfrm>
            <a:off x="5214959" y="5262240"/>
            <a:ext cx="8791575" cy="2423400"/>
          </a:xfrm>
          <a:solidFill>
            <a:schemeClr val="tx2">
              <a:lumMod val="20000"/>
              <a:lumOff val="80000"/>
            </a:schemeClr>
          </a:solidFill>
        </p:spPr>
        <p:txBody>
          <a:bodyPr anchor="t" anchorCtr="0"/>
          <a:lstStyle>
            <a:lvl1pPr>
              <a:spcBef>
                <a:spcPts val="0"/>
              </a:spcBef>
              <a:defRPr sz="1678"/>
            </a:lvl1pPr>
            <a:lvl2pPr>
              <a:spcBef>
                <a:spcPts val="0"/>
              </a:spcBef>
              <a:defRPr sz="1678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ijdelijke aanduiding voor afbeelding 12"/>
          <p:cNvSpPr>
            <a:spLocks noGrp="1" noChangeAspect="1"/>
          </p:cNvSpPr>
          <p:nvPr>
            <p:ph type="pic" sz="quarter" idx="22"/>
          </p:nvPr>
        </p:nvSpPr>
        <p:spPr>
          <a:xfrm>
            <a:off x="648685" y="2509950"/>
            <a:ext cx="4222725" cy="24234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 dirty="0"/>
              <a:t>Click icon to add picture</a:t>
            </a:r>
            <a:endParaRPr lang="nl-NL" noProof="0"/>
          </a:p>
        </p:txBody>
      </p:sp>
      <p:sp>
        <p:nvSpPr>
          <p:cNvPr id="14" name="Tijdelijke aanduiding voor afbeelding 12"/>
          <p:cNvSpPr>
            <a:spLocks noGrp="1" noChangeAspect="1"/>
          </p:cNvSpPr>
          <p:nvPr>
            <p:ph type="pic" sz="quarter" idx="23"/>
          </p:nvPr>
        </p:nvSpPr>
        <p:spPr>
          <a:xfrm>
            <a:off x="646100" y="5262240"/>
            <a:ext cx="4222725" cy="24234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 dirty="0"/>
              <a:t>Click icon to add picture</a:t>
            </a:r>
            <a:endParaRPr lang="nl-NL" noProof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sldNum" sz="quarter" idx="24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1095856">
              <a:defRPr/>
            </a:pPr>
            <a:fld id="{35A22AC8-36D9-4965-81AD-19038FCC0CCE}" type="slidenum">
              <a:rPr lang="en-GB" smtClean="0">
                <a:solidFill>
                  <a:srgbClr val="FFFFFF"/>
                </a:solidFill>
              </a:rPr>
              <a:pPr defTabSz="1095856"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0" name="Rectangle 6"/>
          <p:cNvSpPr>
            <a:spLocks noGrp="1" noChangeArrowheads="1"/>
          </p:cNvSpPr>
          <p:nvPr>
            <p:ph type="ftr" sz="quarter" idx="2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1095856">
              <a:defRPr/>
            </a:pPr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2156104"/>
      </p:ext>
    </p:extLst>
  </p:cSld>
  <p:clrMapOvr>
    <a:masterClrMapping/>
  </p:clrMapOvr>
  <p:transition>
    <p:fade/>
  </p:transition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72290" y="627346"/>
            <a:ext cx="14059297" cy="433186"/>
          </a:xfrm>
        </p:spPr>
        <p:txBody>
          <a:bodyPr/>
          <a:lstStyle>
            <a:lvl1pPr>
              <a:defRPr sz="2397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16" name="Tijdelijke aanduiding voor tekst 15"/>
          <p:cNvSpPr>
            <a:spLocks noGrp="1"/>
          </p:cNvSpPr>
          <p:nvPr>
            <p:ph type="body" sz="quarter" idx="14"/>
          </p:nvPr>
        </p:nvSpPr>
        <p:spPr>
          <a:xfrm>
            <a:off x="533045" y="2307581"/>
            <a:ext cx="6732106" cy="432750"/>
          </a:xfrm>
          <a:solidFill>
            <a:schemeClr val="tx2">
              <a:lumMod val="20000"/>
              <a:lumOff val="80000"/>
            </a:schemeClr>
          </a:solidFill>
        </p:spPr>
        <p:txBody>
          <a:bodyPr lIns="194796" anchor="ctr"/>
          <a:lstStyle>
            <a:lvl1pPr marL="0" indent="0" algn="l">
              <a:spcBef>
                <a:spcPts val="0"/>
              </a:spcBef>
              <a:buNone/>
              <a:defRPr sz="1678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7" name="Tijdelijke aanduiding voor tekst 15"/>
          <p:cNvSpPr>
            <a:spLocks noGrp="1"/>
          </p:cNvSpPr>
          <p:nvPr>
            <p:ph type="body" sz="quarter" idx="15"/>
          </p:nvPr>
        </p:nvSpPr>
        <p:spPr>
          <a:xfrm>
            <a:off x="7676983" y="2307581"/>
            <a:ext cx="6655819" cy="432750"/>
          </a:xfrm>
          <a:solidFill>
            <a:schemeClr val="accent5">
              <a:lumMod val="60000"/>
              <a:lumOff val="40000"/>
            </a:schemeClr>
          </a:solidFill>
        </p:spPr>
        <p:txBody>
          <a:bodyPr lIns="194796" anchor="ctr"/>
          <a:lstStyle>
            <a:lvl1pPr marL="0" indent="0">
              <a:spcBef>
                <a:spcPts val="0"/>
              </a:spcBef>
              <a:buNone/>
              <a:defRPr sz="1678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330273" y="1263217"/>
            <a:ext cx="14081579" cy="444634"/>
          </a:xfrm>
        </p:spPr>
        <p:txBody>
          <a:bodyPr/>
          <a:lstStyle>
            <a:lvl1pPr>
              <a:buNone/>
              <a:defRPr sz="1919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ijdelijke aanduiding voor tekst 20"/>
          <p:cNvSpPr>
            <a:spLocks noGrp="1"/>
          </p:cNvSpPr>
          <p:nvPr>
            <p:ph type="body" sz="quarter" idx="19"/>
          </p:nvPr>
        </p:nvSpPr>
        <p:spPr>
          <a:xfrm>
            <a:off x="533045" y="2718695"/>
            <a:ext cx="6732106" cy="4721303"/>
          </a:xfrm>
        </p:spPr>
        <p:txBody>
          <a:bodyPr/>
          <a:lstStyle>
            <a:lvl1pPr>
              <a:defRPr sz="1678"/>
            </a:lvl1pPr>
            <a:lvl2pPr>
              <a:defRPr sz="1678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1" name="Tijdelijke aanduiding voor tekst 20"/>
          <p:cNvSpPr>
            <a:spLocks noGrp="1"/>
          </p:cNvSpPr>
          <p:nvPr>
            <p:ph type="body" sz="quarter" idx="20"/>
          </p:nvPr>
        </p:nvSpPr>
        <p:spPr>
          <a:xfrm>
            <a:off x="7677062" y="2718695"/>
            <a:ext cx="6655819" cy="4721303"/>
          </a:xfrm>
        </p:spPr>
        <p:txBody>
          <a:bodyPr/>
          <a:lstStyle>
            <a:lvl1pPr>
              <a:defRPr sz="1678"/>
            </a:lvl1pPr>
            <a:lvl2pPr>
              <a:defRPr sz="1678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8" name="Rectangle 5"/>
          <p:cNvSpPr>
            <a:spLocks noGrp="1" noChangeArrowheads="1"/>
          </p:cNvSpPr>
          <p:nvPr>
            <p:ph type="sldNum" sz="quarter" idx="2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1095856">
              <a:defRPr/>
            </a:pPr>
            <a:fld id="{DEEDDE4F-381E-4904-8E4A-86B45F5FCC9F}" type="slidenum">
              <a:rPr lang="en-GB" smtClean="0">
                <a:solidFill>
                  <a:srgbClr val="FFFFFF"/>
                </a:solidFill>
              </a:rPr>
              <a:pPr defTabSz="1095856"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2" name="Rectangle 6"/>
          <p:cNvSpPr>
            <a:spLocks noGrp="1" noChangeArrowheads="1"/>
          </p:cNvSpPr>
          <p:nvPr>
            <p:ph type="ftr" sz="quarter" idx="2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1095856">
              <a:defRPr/>
            </a:pPr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4766884"/>
      </p:ext>
    </p:extLst>
  </p:cSld>
  <p:clrMapOvr>
    <a:masterClrMapping/>
  </p:clrMapOvr>
  <p:transition>
    <p:fade/>
  </p:transition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1095856"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1095856"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1095856">
              <a:defRPr/>
            </a:pPr>
            <a:fld id="{CFC0D264-C67B-4B5B-8C99-22CE2A93B471}" type="slidenum">
              <a:rPr lang="en-US" smtClean="0">
                <a:solidFill>
                  <a:srgbClr val="000000"/>
                </a:solidFill>
              </a:rPr>
              <a:pPr defTabSz="1095856"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0053592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79589046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93108022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732632" y="330161"/>
            <a:ext cx="13187362" cy="7034021"/>
          </a:xfrm>
          <a:prstGeom prst="rect">
            <a:avLst/>
          </a:prstGeom>
        </p:spPr>
        <p:txBody>
          <a:bodyPr lIns="87256" tIns="43628" rIns="87256" bIns="43628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3" name="Picture 29" descr="TataSteel_Blue_RGB_A4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1066" y="7893179"/>
            <a:ext cx="1617249" cy="329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29" descr="Tata_Blue_RGB_A4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3736861" y="72746"/>
            <a:ext cx="840230" cy="7459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7"/>
          <p:cNvSpPr txBox="1">
            <a:spLocks noChangeArrowheads="1"/>
          </p:cNvSpPr>
          <p:nvPr userDrawn="1"/>
        </p:nvSpPr>
        <p:spPr>
          <a:xfrm>
            <a:off x="13736849" y="7950012"/>
            <a:ext cx="880176" cy="274796"/>
          </a:xfrm>
          <a:prstGeom prst="rect">
            <a:avLst/>
          </a:prstGeom>
        </p:spPr>
        <p:txBody>
          <a:bodyPr lIns="104856" tIns="52428" rIns="104856" bIns="52428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2D1396A-07DD-4653-864B-AD3554A63B29}" type="slidenum">
              <a:rPr lang="en-US" sz="1442" b="1" smtClean="0">
                <a:solidFill>
                  <a:prstClr val="black">
                    <a:tint val="75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442" b="1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6204781"/>
      </p:ext>
    </p:extLst>
  </p:cSld>
  <p:clrMapOvr>
    <a:masterClrMapping/>
  </p:clrMapOvr>
  <p:transition>
    <p:dissolv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72290" y="627346"/>
            <a:ext cx="14059297" cy="433186"/>
          </a:xfrm>
        </p:spPr>
        <p:txBody>
          <a:bodyPr/>
          <a:lstStyle>
            <a:lvl1pPr>
              <a:defRPr sz="2807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16" name="Tijdelijke aanduiding voor tekst 15"/>
          <p:cNvSpPr>
            <a:spLocks noGrp="1"/>
          </p:cNvSpPr>
          <p:nvPr>
            <p:ph type="body" sz="quarter" idx="14"/>
          </p:nvPr>
        </p:nvSpPr>
        <p:spPr>
          <a:xfrm>
            <a:off x="533042" y="2307581"/>
            <a:ext cx="6732106" cy="432750"/>
          </a:xfrm>
          <a:solidFill>
            <a:schemeClr val="tx2">
              <a:lumMod val="20000"/>
              <a:lumOff val="80000"/>
            </a:schemeClr>
          </a:solidFill>
        </p:spPr>
        <p:txBody>
          <a:bodyPr lIns="194796" anchor="ctr"/>
          <a:lstStyle>
            <a:lvl1pPr marL="0" indent="0" algn="l">
              <a:spcBef>
                <a:spcPts val="0"/>
              </a:spcBef>
              <a:buNone/>
              <a:defRPr sz="196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7" name="Tijdelijke aanduiding voor tekst 15"/>
          <p:cNvSpPr>
            <a:spLocks noGrp="1"/>
          </p:cNvSpPr>
          <p:nvPr>
            <p:ph type="body" sz="quarter" idx="15"/>
          </p:nvPr>
        </p:nvSpPr>
        <p:spPr>
          <a:xfrm>
            <a:off x="7676983" y="2307581"/>
            <a:ext cx="6655819" cy="432750"/>
          </a:xfrm>
          <a:solidFill>
            <a:schemeClr val="accent5">
              <a:lumMod val="60000"/>
              <a:lumOff val="40000"/>
            </a:schemeClr>
          </a:solidFill>
        </p:spPr>
        <p:txBody>
          <a:bodyPr lIns="194796" anchor="ctr"/>
          <a:lstStyle>
            <a:lvl1pPr marL="0" indent="0">
              <a:spcBef>
                <a:spcPts val="0"/>
              </a:spcBef>
              <a:buNone/>
              <a:defRPr sz="196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330273" y="1263216"/>
            <a:ext cx="14081579" cy="444634"/>
          </a:xfrm>
        </p:spPr>
        <p:txBody>
          <a:bodyPr/>
          <a:lstStyle>
            <a:lvl1pPr>
              <a:buNone/>
              <a:defRPr sz="2245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ijdelijke aanduiding voor tekst 20"/>
          <p:cNvSpPr>
            <a:spLocks noGrp="1"/>
          </p:cNvSpPr>
          <p:nvPr>
            <p:ph type="body" sz="quarter" idx="19"/>
          </p:nvPr>
        </p:nvSpPr>
        <p:spPr>
          <a:xfrm>
            <a:off x="533042" y="2718695"/>
            <a:ext cx="6732106" cy="4721303"/>
          </a:xfrm>
        </p:spPr>
        <p:txBody>
          <a:bodyPr/>
          <a:lstStyle>
            <a:lvl1pPr>
              <a:defRPr sz="1964"/>
            </a:lvl1pPr>
            <a:lvl2pPr>
              <a:defRPr sz="1964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1" name="Tijdelijke aanduiding voor tekst 20"/>
          <p:cNvSpPr>
            <a:spLocks noGrp="1"/>
          </p:cNvSpPr>
          <p:nvPr>
            <p:ph type="body" sz="quarter" idx="20"/>
          </p:nvPr>
        </p:nvSpPr>
        <p:spPr>
          <a:xfrm>
            <a:off x="7677059" y="2718695"/>
            <a:ext cx="6655819" cy="4721303"/>
          </a:xfrm>
        </p:spPr>
        <p:txBody>
          <a:bodyPr/>
          <a:lstStyle>
            <a:lvl1pPr>
              <a:defRPr sz="1964"/>
            </a:lvl1pPr>
            <a:lvl2pPr>
              <a:defRPr sz="1964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8" name="Rectangle 5"/>
          <p:cNvSpPr>
            <a:spLocks noGrp="1" noChangeArrowheads="1"/>
          </p:cNvSpPr>
          <p:nvPr>
            <p:ph type="sldNum" sz="quarter" idx="2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EEDDE4F-381E-4904-8E4A-86B45F5FCC9F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2" name="Rectangle 6"/>
          <p:cNvSpPr>
            <a:spLocks noGrp="1" noChangeArrowheads="1"/>
          </p:cNvSpPr>
          <p:nvPr>
            <p:ph type="ftr" sz="quarter" idx="2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4960471"/>
      </p:ext>
    </p:extLst>
  </p:cSld>
  <p:clrMapOvr>
    <a:masterClrMapping/>
  </p:clrMapOvr>
  <p:transition>
    <p:fade/>
  </p:transition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73579" y="627365"/>
            <a:ext cx="13980331" cy="433186"/>
          </a:xfrm>
        </p:spPr>
        <p:txBody>
          <a:bodyPr/>
          <a:lstStyle>
            <a:lvl1pPr>
              <a:defRPr sz="1997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8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14117433" y="230362"/>
            <a:ext cx="392328" cy="263726"/>
          </a:xfrm>
          <a:prstGeom prst="rect">
            <a:avLst/>
          </a:prstGeom>
        </p:spPr>
        <p:txBody>
          <a:bodyPr vert="horz" lIns="0" tIns="44087" rIns="69431" bIns="44087" rtlCol="0" anchor="ctr"/>
          <a:lstStyle>
            <a:lvl1pPr algn="l">
              <a:defRPr sz="1109" b="1">
                <a:solidFill>
                  <a:schemeClr val="bg1"/>
                </a:solidFill>
                <a:latin typeface="+mn-lt"/>
              </a:defRPr>
            </a:lvl1pPr>
          </a:lstStyle>
          <a:p>
            <a:fld id="{7103653F-4628-4CCA-BBFC-10994C39EA7C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Tijdelijke aanduiding voor inhoud 2"/>
          <p:cNvSpPr>
            <a:spLocks noGrp="1"/>
          </p:cNvSpPr>
          <p:nvPr>
            <p:ph idx="15"/>
          </p:nvPr>
        </p:nvSpPr>
        <p:spPr>
          <a:xfrm>
            <a:off x="335626" y="1315378"/>
            <a:ext cx="13957771" cy="6256431"/>
          </a:xfrm>
        </p:spPr>
        <p:txBody>
          <a:bodyPr/>
          <a:lstStyle>
            <a:lvl1pPr>
              <a:defRPr sz="1665">
                <a:latin typeface="Arial" pitchFamily="34" charset="0"/>
                <a:cs typeface="Arial" pitchFamily="34" charset="0"/>
              </a:defRPr>
            </a:lvl1pPr>
            <a:lvl2pPr>
              <a:defRPr sz="1442">
                <a:latin typeface="Arial" pitchFamily="34" charset="0"/>
                <a:cs typeface="Arial" pitchFamily="34" charset="0"/>
              </a:defRPr>
            </a:lvl2pPr>
            <a:lvl3pPr marL="598789" indent="-199597">
              <a:buClr>
                <a:schemeClr val="tx2"/>
              </a:buClr>
              <a:buFont typeface="Wingdings" pitchFamily="2" charset="2"/>
              <a:buChar char="§"/>
              <a:defRPr sz="1220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81690937"/>
      </p:ext>
    </p:extLst>
  </p:cSld>
  <p:clrMapOvr>
    <a:masterClrMapping/>
  </p:clrMapOvr>
  <p:transition>
    <p:fade/>
  </p:transition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73576" y="627358"/>
            <a:ext cx="13980332" cy="433186"/>
          </a:xfrm>
        </p:spPr>
        <p:txBody>
          <a:bodyPr/>
          <a:lstStyle>
            <a:lvl1pPr>
              <a:defRPr sz="2163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128970748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4F1BAEBD-2FBE-4079-8B8E-E051F3F22B12}"/>
              </a:ext>
            </a:extLst>
          </p:cNvPr>
          <p:cNvSpPr/>
          <p:nvPr userDrawn="1"/>
        </p:nvSpPr>
        <p:spPr>
          <a:xfrm>
            <a:off x="-1967035" y="1583896"/>
            <a:ext cx="1325987" cy="549593"/>
          </a:xfrm>
          <a:prstGeom prst="rect">
            <a:avLst/>
          </a:prstGeom>
          <a:solidFill>
            <a:srgbClr val="3D7E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74" b="1" dirty="0">
                <a:latin typeface="Arial" panose="020B0604020202020204" pitchFamily="34" charset="0"/>
                <a:cs typeface="Arial" panose="020B0604020202020204" pitchFamily="34" charset="0"/>
              </a:rPr>
              <a:t>61 126 219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D34E4D4-86B2-4250-8A8F-D8DF569D2E53}"/>
              </a:ext>
            </a:extLst>
          </p:cNvPr>
          <p:cNvSpPr/>
          <p:nvPr userDrawn="1"/>
        </p:nvSpPr>
        <p:spPr>
          <a:xfrm>
            <a:off x="-1967035" y="2236537"/>
            <a:ext cx="1325987" cy="549593"/>
          </a:xfrm>
          <a:prstGeom prst="rect">
            <a:avLst/>
          </a:prstGeom>
          <a:solidFill>
            <a:srgbClr val="0083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74" b="1" dirty="0">
                <a:latin typeface="Arial" panose="020B0604020202020204" pitchFamily="34" charset="0"/>
                <a:cs typeface="Arial" panose="020B0604020202020204" pitchFamily="34" charset="0"/>
              </a:rPr>
              <a:t>0 131 169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2458DDA-AB1F-44CE-AA1E-1A3FEEC2C017}"/>
              </a:ext>
            </a:extLst>
          </p:cNvPr>
          <p:cNvSpPr/>
          <p:nvPr userDrawn="1"/>
        </p:nvSpPr>
        <p:spPr>
          <a:xfrm>
            <a:off x="-1967035" y="2889178"/>
            <a:ext cx="1325987" cy="549593"/>
          </a:xfrm>
          <a:prstGeom prst="rect">
            <a:avLst/>
          </a:prstGeom>
          <a:solidFill>
            <a:srgbClr val="002B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74" b="1" dirty="0">
                <a:latin typeface="Arial" panose="020B0604020202020204" pitchFamily="34" charset="0"/>
                <a:cs typeface="Arial" panose="020B0604020202020204" pitchFamily="34" charset="0"/>
              </a:rPr>
              <a:t>0 43 69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D83222D-8128-4052-B725-FB4CE2867F73}"/>
              </a:ext>
            </a:extLst>
          </p:cNvPr>
          <p:cNvSpPr/>
          <p:nvPr userDrawn="1"/>
        </p:nvSpPr>
        <p:spPr>
          <a:xfrm>
            <a:off x="-1967035" y="3541819"/>
            <a:ext cx="1325987" cy="549593"/>
          </a:xfrm>
          <a:prstGeom prst="rect">
            <a:avLst/>
          </a:prstGeom>
          <a:solidFill>
            <a:srgbClr val="BEB9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74" b="1" dirty="0">
                <a:latin typeface="Arial" panose="020B0604020202020204" pitchFamily="34" charset="0"/>
                <a:cs typeface="Arial" panose="020B0604020202020204" pitchFamily="34" charset="0"/>
              </a:rPr>
              <a:t>190 185 166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511F078-1669-4FC5-B3E8-AE37F64D79E7}"/>
              </a:ext>
            </a:extLst>
          </p:cNvPr>
          <p:cNvSpPr/>
          <p:nvPr userDrawn="1"/>
        </p:nvSpPr>
        <p:spPr>
          <a:xfrm>
            <a:off x="-1967035" y="4194461"/>
            <a:ext cx="1325987" cy="549593"/>
          </a:xfrm>
          <a:prstGeom prst="rect">
            <a:avLst/>
          </a:prstGeom>
          <a:solidFill>
            <a:srgbClr val="34B2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74" b="1" dirty="0">
                <a:latin typeface="Arial" panose="020B0604020202020204" pitchFamily="34" charset="0"/>
                <a:cs typeface="Arial" panose="020B0604020202020204" pitchFamily="34" charset="0"/>
              </a:rPr>
              <a:t>52 178 51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48F7336-EE09-488B-9DD2-7CF552941E5B}"/>
              </a:ext>
            </a:extLst>
          </p:cNvPr>
          <p:cNvSpPr/>
          <p:nvPr userDrawn="1"/>
        </p:nvSpPr>
        <p:spPr>
          <a:xfrm>
            <a:off x="-1509142" y="4847101"/>
            <a:ext cx="1325987" cy="549593"/>
          </a:xfrm>
          <a:prstGeom prst="rect">
            <a:avLst/>
          </a:prstGeom>
          <a:solidFill>
            <a:srgbClr val="ED29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74" b="1" dirty="0">
                <a:latin typeface="Arial" panose="020B0604020202020204" pitchFamily="34" charset="0"/>
                <a:cs typeface="Arial" panose="020B0604020202020204" pitchFamily="34" charset="0"/>
              </a:rPr>
              <a:t>237 41 57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4B7F982-BC82-4F55-A225-78A3A7A9FDF9}"/>
              </a:ext>
            </a:extLst>
          </p:cNvPr>
          <p:cNvSpPr/>
          <p:nvPr userDrawn="1"/>
        </p:nvSpPr>
        <p:spPr>
          <a:xfrm>
            <a:off x="-1509142" y="5499743"/>
            <a:ext cx="1325987" cy="549593"/>
          </a:xfrm>
          <a:prstGeom prst="rect">
            <a:avLst/>
          </a:prstGeom>
          <a:solidFill>
            <a:srgbClr val="5A24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74" b="1" dirty="0">
                <a:latin typeface="Arial" panose="020B0604020202020204" pitchFamily="34" charset="0"/>
                <a:cs typeface="Arial" panose="020B0604020202020204" pitchFamily="34" charset="0"/>
              </a:rPr>
              <a:t>90 36 90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09B8F7A-F304-4616-AC0A-FF03E799FBF8}"/>
              </a:ext>
            </a:extLst>
          </p:cNvPr>
          <p:cNvSpPr/>
          <p:nvPr userDrawn="1"/>
        </p:nvSpPr>
        <p:spPr>
          <a:xfrm>
            <a:off x="-1509142" y="6152384"/>
            <a:ext cx="1325987" cy="549593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74" b="1" dirty="0">
                <a:latin typeface="Arial" panose="020B0604020202020204" pitchFamily="34" charset="0"/>
                <a:cs typeface="Arial" panose="020B0604020202020204" pitchFamily="34" charset="0"/>
              </a:rPr>
              <a:t>153 153 153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2FE072E-B13E-47DD-9CA8-589E3EFF61C9}"/>
              </a:ext>
            </a:extLst>
          </p:cNvPr>
          <p:cNvSpPr/>
          <p:nvPr userDrawn="1"/>
        </p:nvSpPr>
        <p:spPr>
          <a:xfrm>
            <a:off x="-1509142" y="6805025"/>
            <a:ext cx="1325987" cy="549593"/>
          </a:xfrm>
          <a:prstGeom prst="rect">
            <a:avLst/>
          </a:prstGeom>
          <a:solidFill>
            <a:srgbClr val="FFA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74" b="1" dirty="0">
                <a:latin typeface="Arial" panose="020B0604020202020204" pitchFamily="34" charset="0"/>
                <a:cs typeface="Arial" panose="020B0604020202020204" pitchFamily="34" charset="0"/>
              </a:rPr>
              <a:t>255 161 0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3178F1A1-059E-4F87-BB3F-45A5DE517192}"/>
              </a:ext>
            </a:extLst>
          </p:cNvPr>
          <p:cNvCxnSpPr/>
          <p:nvPr userDrawn="1"/>
        </p:nvCxnSpPr>
        <p:spPr>
          <a:xfrm>
            <a:off x="389392" y="738986"/>
            <a:ext cx="13758469" cy="0"/>
          </a:xfrm>
          <a:prstGeom prst="line">
            <a:avLst/>
          </a:prstGeom>
          <a:solidFill>
            <a:srgbClr val="FFFFFF"/>
          </a:solidFill>
          <a:ln w="38100">
            <a:gradFill flip="none" rotWithShape="1">
              <a:gsLst>
                <a:gs pos="0">
                  <a:srgbClr val="3D7EDB"/>
                </a:gs>
                <a:gs pos="30000">
                  <a:srgbClr val="34B233"/>
                </a:gs>
                <a:gs pos="50000">
                  <a:srgbClr val="ED2939"/>
                </a:gs>
                <a:gs pos="69000">
                  <a:srgbClr val="FFA100"/>
                </a:gs>
                <a:gs pos="85000">
                  <a:srgbClr val="5A245A">
                    <a:alpha val="95000"/>
                  </a:srgb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C6EF00A-84C0-4305-917C-7090445DE75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89390" y="7695330"/>
            <a:ext cx="12244172" cy="53661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79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Edit Master text styles</a:t>
            </a:r>
            <a:endParaRPr lang="en-IN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E2DADE6-AB3B-4CB2-9B47-858E6953311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89390" y="367837"/>
            <a:ext cx="13628672" cy="333218"/>
          </a:xfrm>
          <a:prstGeom prst="rect">
            <a:avLst/>
          </a:prstGeom>
        </p:spPr>
        <p:txBody>
          <a:bodyPr lIns="0" tIns="0" rIns="36000" bIns="0" anchor="b" anchorCtr="0"/>
          <a:lstStyle>
            <a:lvl1pPr marL="0" indent="0">
              <a:buNone/>
              <a:defRPr sz="1758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56198" indent="0">
              <a:buNone/>
              <a:defRPr/>
            </a:lvl2pPr>
            <a:lvl3pPr marL="312395" indent="0">
              <a:buNone/>
              <a:defRPr/>
            </a:lvl3pPr>
            <a:lvl4pPr marL="468592" indent="0">
              <a:buNone/>
              <a:defRPr/>
            </a:lvl4pPr>
            <a:lvl5pPr marL="624791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  <a:endParaRPr lang="en-IN" dirty="0"/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368F1309-7652-49CD-BCA4-829666930FF7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7510222" y="1230751"/>
            <a:ext cx="2620301" cy="1967542"/>
          </a:xfrm>
          <a:prstGeom prst="rect">
            <a:avLst/>
          </a:prstGeom>
        </p:spPr>
        <p:txBody>
          <a:bodyPr/>
          <a:lstStyle/>
          <a:p>
            <a:endParaRPr lang="en-IN" dirty="0"/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5418C579-99EA-4915-BDA0-1776138B30A7}"/>
              </a:ext>
            </a:extLst>
          </p:cNvPr>
          <p:cNvSpPr>
            <a:spLocks noGrp="1"/>
          </p:cNvSpPr>
          <p:nvPr>
            <p:ph type="pic" sz="quarter" idx="45"/>
          </p:nvPr>
        </p:nvSpPr>
        <p:spPr>
          <a:xfrm>
            <a:off x="389393" y="4738209"/>
            <a:ext cx="3261135" cy="1963773"/>
          </a:xfrm>
          <a:prstGeom prst="rect">
            <a:avLst/>
          </a:prstGeom>
        </p:spPr>
        <p:txBody>
          <a:bodyPr/>
          <a:lstStyle/>
          <a:p>
            <a:endParaRPr lang="en-IN" dirty="0"/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A5B5103D-1DC7-46BC-AB33-F2F8FE678ADA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>
          <a:xfrm>
            <a:off x="3790224" y="4753638"/>
            <a:ext cx="3236804" cy="1948339"/>
          </a:xfrm>
          <a:prstGeom prst="rect">
            <a:avLst/>
          </a:prstGeom>
        </p:spPr>
        <p:txBody>
          <a:bodyPr/>
          <a:lstStyle/>
          <a:p>
            <a:endParaRPr lang="en-IN" dirty="0"/>
          </a:p>
        </p:txBody>
      </p:sp>
      <p:sp>
        <p:nvSpPr>
          <p:cNvPr id="27" name="Picture Placeholder 3">
            <a:extLst>
              <a:ext uri="{FF2B5EF4-FFF2-40B4-BE49-F238E27FC236}">
                <a16:creationId xmlns:a16="http://schemas.microsoft.com/office/drawing/2014/main" id="{0EDC3E8A-9674-442C-874F-00E4E7D00C67}"/>
              </a:ext>
            </a:extLst>
          </p:cNvPr>
          <p:cNvSpPr>
            <a:spLocks noGrp="1"/>
          </p:cNvSpPr>
          <p:nvPr>
            <p:ph type="pic" sz="quarter" idx="49"/>
          </p:nvPr>
        </p:nvSpPr>
        <p:spPr>
          <a:xfrm>
            <a:off x="7510225" y="4738208"/>
            <a:ext cx="2973984" cy="1963773"/>
          </a:xfrm>
          <a:prstGeom prst="rect">
            <a:avLst/>
          </a:prstGeom>
        </p:spPr>
        <p:txBody>
          <a:bodyPr/>
          <a:lstStyle/>
          <a:p>
            <a:endParaRPr lang="en-IN" dirty="0"/>
          </a:p>
        </p:txBody>
      </p:sp>
      <p:sp>
        <p:nvSpPr>
          <p:cNvPr id="25" name="Picture Placeholder 3">
            <a:extLst>
              <a:ext uri="{FF2B5EF4-FFF2-40B4-BE49-F238E27FC236}">
                <a16:creationId xmlns:a16="http://schemas.microsoft.com/office/drawing/2014/main" id="{F578716B-01B0-4E8F-A73B-6738A983D91C}"/>
              </a:ext>
            </a:extLst>
          </p:cNvPr>
          <p:cNvSpPr>
            <a:spLocks noGrp="1"/>
          </p:cNvSpPr>
          <p:nvPr>
            <p:ph type="pic" sz="quarter" idx="50"/>
          </p:nvPr>
        </p:nvSpPr>
        <p:spPr>
          <a:xfrm>
            <a:off x="389391" y="1233572"/>
            <a:ext cx="3488502" cy="1963773"/>
          </a:xfrm>
          <a:prstGeom prst="rect">
            <a:avLst/>
          </a:prstGeom>
        </p:spPr>
        <p:txBody>
          <a:bodyPr/>
          <a:lstStyle/>
          <a:p>
            <a:endParaRPr lang="en-IN" dirty="0"/>
          </a:p>
        </p:txBody>
      </p:sp>
      <p:sp>
        <p:nvSpPr>
          <p:cNvPr id="28" name="Picture Placeholder 3">
            <a:extLst>
              <a:ext uri="{FF2B5EF4-FFF2-40B4-BE49-F238E27FC236}">
                <a16:creationId xmlns:a16="http://schemas.microsoft.com/office/drawing/2014/main" id="{8946D0EA-5751-41B3-9AFC-C11B4EF3333F}"/>
              </a:ext>
            </a:extLst>
          </p:cNvPr>
          <p:cNvSpPr>
            <a:spLocks noGrp="1"/>
          </p:cNvSpPr>
          <p:nvPr>
            <p:ph type="pic" sz="quarter" idx="51"/>
          </p:nvPr>
        </p:nvSpPr>
        <p:spPr>
          <a:xfrm>
            <a:off x="4004209" y="1249000"/>
            <a:ext cx="3022821" cy="1948339"/>
          </a:xfrm>
          <a:prstGeom prst="rect">
            <a:avLst/>
          </a:prstGeom>
        </p:spPr>
        <p:txBody>
          <a:bodyPr/>
          <a:lstStyle/>
          <a:p>
            <a:endParaRPr lang="en-IN" dirty="0"/>
          </a:p>
        </p:txBody>
      </p:sp>
      <p:sp>
        <p:nvSpPr>
          <p:cNvPr id="29" name="Picture Placeholder 3">
            <a:extLst>
              <a:ext uri="{FF2B5EF4-FFF2-40B4-BE49-F238E27FC236}">
                <a16:creationId xmlns:a16="http://schemas.microsoft.com/office/drawing/2014/main" id="{5E9A98D6-9A80-4215-8E1A-F9F654939536}"/>
              </a:ext>
            </a:extLst>
          </p:cNvPr>
          <p:cNvSpPr>
            <a:spLocks noGrp="1"/>
          </p:cNvSpPr>
          <p:nvPr>
            <p:ph type="pic" sz="quarter" idx="52"/>
          </p:nvPr>
        </p:nvSpPr>
        <p:spPr>
          <a:xfrm>
            <a:off x="10623153" y="4738207"/>
            <a:ext cx="3524706" cy="1963773"/>
          </a:xfrm>
          <a:prstGeom prst="rect">
            <a:avLst/>
          </a:prstGeom>
        </p:spPr>
        <p:txBody>
          <a:bodyPr/>
          <a:lstStyle/>
          <a:p>
            <a:endParaRPr lang="en-IN" dirty="0"/>
          </a:p>
        </p:txBody>
      </p:sp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921F3F85-8269-4233-806C-12AD602ECD1D}"/>
              </a:ext>
            </a:extLst>
          </p:cNvPr>
          <p:cNvSpPr>
            <a:spLocks noGrp="1"/>
          </p:cNvSpPr>
          <p:nvPr>
            <p:ph type="pic" sz="quarter" idx="53"/>
          </p:nvPr>
        </p:nvSpPr>
        <p:spPr>
          <a:xfrm>
            <a:off x="10256840" y="1239400"/>
            <a:ext cx="3891022" cy="1967542"/>
          </a:xfrm>
          <a:prstGeom prst="rect">
            <a:avLst/>
          </a:prstGeom>
        </p:spPr>
        <p:txBody>
          <a:bodyPr/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40871052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3525951"/>
              </p:ext>
            </p:extLst>
          </p:nvPr>
        </p:nvGraphicFramePr>
        <p:xfrm>
          <a:off x="2236" y="1913"/>
          <a:ext cx="2227" cy="190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8" name="think-cell Slide" r:id="rId5" imgW="421" imgH="420" progId="TCLayout.ActiveDocument.1">
                  <p:embed/>
                </p:oleObj>
              </mc:Choice>
              <mc:Fallback>
                <p:oleObj name="think-cell Slide" r:id="rId5" imgW="421" imgH="42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236" y="1913"/>
                        <a:ext cx="2227" cy="190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230CE38-1EC4-4DA1-BB0D-55D863AA0E96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90269" cy="190302"/>
          </a:xfrm>
          <a:prstGeom prst="rect">
            <a:avLst/>
          </a:prstGeom>
          <a:solidFill>
            <a:schemeClr val="accent1"/>
          </a:solidFill>
          <a:ln w="19050" cap="flat" cmpd="sng" algn="ctr">
            <a:solidFill>
              <a:srgbClr val="808080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9590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4911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4" name="Picture 4" descr="PP header horizon met logo's"/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-5085" y="490435"/>
            <a:ext cx="14657713" cy="1883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438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48687" y="2854831"/>
            <a:ext cx="13352712" cy="1375890"/>
          </a:xfrm>
        </p:spPr>
        <p:txBody>
          <a:bodyPr bIns="49478"/>
          <a:lstStyle>
            <a:lvl1pPr>
              <a:defRPr sz="491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4438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48687" y="7442408"/>
            <a:ext cx="13352712" cy="501886"/>
          </a:xfrm>
        </p:spPr>
        <p:txBody>
          <a:bodyPr tIns="49478" rIns="98956" bIns="49478"/>
          <a:lstStyle>
            <a:lvl1pPr marL="0" indent="0">
              <a:buFontTx/>
              <a:buNone/>
              <a:defRPr sz="2667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75295686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6205862"/>
              </p:ext>
            </p:extLst>
          </p:nvPr>
        </p:nvGraphicFramePr>
        <p:xfrm>
          <a:off x="2236" y="1913"/>
          <a:ext cx="2227" cy="190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2" name="think-cell Slide" r:id="rId5" imgW="421" imgH="420" progId="TCLayout.ActiveDocument.1">
                  <p:embed/>
                </p:oleObj>
              </mc:Choice>
              <mc:Fallback>
                <p:oleObj name="think-cell Slide" r:id="rId5" imgW="421" imgH="42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236" y="1913"/>
                        <a:ext cx="2227" cy="190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6E238F1-D119-474F-9FB7-5300171000A1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90269" cy="190302"/>
          </a:xfrm>
          <a:prstGeom prst="rect">
            <a:avLst/>
          </a:prstGeom>
          <a:solidFill>
            <a:schemeClr val="accent1"/>
          </a:solidFill>
          <a:ln w="19050" cap="flat" cmpd="sng" algn="ctr">
            <a:solidFill>
              <a:srgbClr val="808080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9590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807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73585" y="627356"/>
            <a:ext cx="13980331" cy="433186"/>
          </a:xfrm>
        </p:spPr>
        <p:txBody>
          <a:bodyPr/>
          <a:lstStyle>
            <a:lvl1pPr>
              <a:defRPr sz="2807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8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14117432" y="230350"/>
            <a:ext cx="392330" cy="263726"/>
          </a:xfrm>
          <a:prstGeom prst="rect">
            <a:avLst/>
          </a:prstGeom>
        </p:spPr>
        <p:txBody>
          <a:bodyPr vert="horz" lIns="0" tIns="47732" rIns="75168" bIns="47732" rtlCol="0" anchor="ctr"/>
          <a:lstStyle>
            <a:lvl1pPr algn="l">
              <a:defRPr sz="1544" b="1">
                <a:solidFill>
                  <a:schemeClr val="bg1"/>
                </a:solidFill>
                <a:latin typeface="+mn-lt"/>
              </a:defRPr>
            </a:lvl1pPr>
          </a:lstStyle>
          <a:p>
            <a:fld id="{7103653F-4628-4CCA-BBFC-10994C39EA7C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Tijdelijke aanduiding voor inhoud 2"/>
          <p:cNvSpPr>
            <a:spLocks noGrp="1"/>
          </p:cNvSpPr>
          <p:nvPr>
            <p:ph idx="15"/>
          </p:nvPr>
        </p:nvSpPr>
        <p:spPr>
          <a:xfrm>
            <a:off x="335627" y="1315368"/>
            <a:ext cx="13957772" cy="6256431"/>
          </a:xfrm>
        </p:spPr>
        <p:txBody>
          <a:bodyPr/>
          <a:lstStyle>
            <a:lvl1pPr>
              <a:defRPr sz="2245">
                <a:latin typeface="Arial" pitchFamily="34" charset="0"/>
                <a:cs typeface="Arial" pitchFamily="34" charset="0"/>
              </a:defRPr>
            </a:lvl1pPr>
            <a:lvl2pPr>
              <a:defRPr sz="1964">
                <a:latin typeface="Arial" pitchFamily="34" charset="0"/>
                <a:cs typeface="Arial" pitchFamily="34" charset="0"/>
              </a:defRPr>
            </a:lvl2pPr>
            <a:lvl3pPr marL="820086" indent="-273362">
              <a:buClr>
                <a:schemeClr val="tx2"/>
              </a:buClr>
              <a:buFont typeface="Wingdings" pitchFamily="2" charset="2"/>
              <a:buChar char="§"/>
              <a:defRPr sz="1684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914662439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with image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6907" y="593618"/>
            <a:ext cx="14234164" cy="433186"/>
          </a:xfrm>
        </p:spPr>
        <p:txBody>
          <a:bodyPr/>
          <a:lstStyle>
            <a:lvl1pPr>
              <a:defRPr sz="2807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271038" y="1212623"/>
            <a:ext cx="14022352" cy="444634"/>
          </a:xfrm>
        </p:spPr>
        <p:txBody>
          <a:bodyPr/>
          <a:lstStyle>
            <a:lvl1pPr>
              <a:buNone/>
              <a:defRPr sz="2245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ijdelijke aanduiding voor tekst 20"/>
          <p:cNvSpPr>
            <a:spLocks noGrp="1"/>
          </p:cNvSpPr>
          <p:nvPr>
            <p:ph type="body" sz="quarter" idx="19"/>
          </p:nvPr>
        </p:nvSpPr>
        <p:spPr>
          <a:xfrm>
            <a:off x="3887894" y="1919708"/>
            <a:ext cx="10251069" cy="1583865"/>
          </a:xfrm>
          <a:solidFill>
            <a:schemeClr val="tx2">
              <a:lumMod val="20000"/>
              <a:lumOff val="80000"/>
            </a:schemeClr>
          </a:solidFill>
        </p:spPr>
        <p:txBody>
          <a:bodyPr anchor="t" anchorCtr="0"/>
          <a:lstStyle>
            <a:lvl1pPr>
              <a:spcBef>
                <a:spcPts val="0"/>
              </a:spcBef>
              <a:defRPr sz="1964"/>
            </a:lvl1pPr>
            <a:lvl2pPr>
              <a:spcBef>
                <a:spcPts val="0"/>
              </a:spcBef>
              <a:defRPr sz="1964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2" name="Tijdelijke aanduiding voor tekst 20"/>
          <p:cNvSpPr>
            <a:spLocks noGrp="1"/>
          </p:cNvSpPr>
          <p:nvPr>
            <p:ph type="body" sz="quarter" idx="20"/>
          </p:nvPr>
        </p:nvSpPr>
        <p:spPr>
          <a:xfrm>
            <a:off x="3887894" y="5872105"/>
            <a:ext cx="10251069" cy="1583865"/>
          </a:xfrm>
          <a:solidFill>
            <a:schemeClr val="tx2">
              <a:lumMod val="20000"/>
              <a:lumOff val="80000"/>
            </a:schemeClr>
          </a:solidFill>
        </p:spPr>
        <p:txBody>
          <a:bodyPr anchor="t" anchorCtr="0"/>
          <a:lstStyle>
            <a:lvl1pPr>
              <a:spcBef>
                <a:spcPts val="0"/>
              </a:spcBef>
              <a:defRPr sz="1964"/>
            </a:lvl1pPr>
            <a:lvl2pPr>
              <a:spcBef>
                <a:spcPts val="0"/>
              </a:spcBef>
              <a:defRPr sz="1964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Tijdelijke aanduiding voor tekst 20"/>
          <p:cNvSpPr>
            <a:spLocks noGrp="1"/>
          </p:cNvSpPr>
          <p:nvPr>
            <p:ph type="body" sz="quarter" idx="21"/>
          </p:nvPr>
        </p:nvSpPr>
        <p:spPr>
          <a:xfrm>
            <a:off x="3887894" y="3895907"/>
            <a:ext cx="10251069" cy="1583865"/>
          </a:xfrm>
          <a:solidFill>
            <a:schemeClr val="tx2">
              <a:lumMod val="20000"/>
              <a:lumOff val="80000"/>
            </a:schemeClr>
          </a:solidFill>
        </p:spPr>
        <p:txBody>
          <a:bodyPr anchor="t" anchorCtr="0"/>
          <a:lstStyle>
            <a:lvl1pPr>
              <a:spcBef>
                <a:spcPts val="0"/>
              </a:spcBef>
              <a:defRPr sz="1964"/>
            </a:lvl1pPr>
            <a:lvl2pPr>
              <a:spcBef>
                <a:spcPts val="0"/>
              </a:spcBef>
              <a:defRPr sz="1964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ijdelijke aanduiding voor afbeelding 12"/>
          <p:cNvSpPr>
            <a:spLocks noGrp="1"/>
          </p:cNvSpPr>
          <p:nvPr>
            <p:ph type="pic" sz="quarter" idx="22"/>
          </p:nvPr>
        </p:nvSpPr>
        <p:spPr>
          <a:xfrm>
            <a:off x="375114" y="1919708"/>
            <a:ext cx="3226928" cy="1583865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 dirty="0"/>
              <a:t>Click icon to add picture</a:t>
            </a:r>
            <a:endParaRPr lang="nl-NL" noProof="0"/>
          </a:p>
        </p:txBody>
      </p:sp>
      <p:sp>
        <p:nvSpPr>
          <p:cNvPr id="14" name="Tijdelijke aanduiding voor afbeelding 12"/>
          <p:cNvSpPr>
            <a:spLocks noGrp="1"/>
          </p:cNvSpPr>
          <p:nvPr>
            <p:ph type="pic" sz="quarter" idx="23"/>
          </p:nvPr>
        </p:nvSpPr>
        <p:spPr>
          <a:xfrm>
            <a:off x="355374" y="3895907"/>
            <a:ext cx="3244085" cy="1583865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 dirty="0"/>
              <a:t>Click icon to add picture</a:t>
            </a:r>
            <a:endParaRPr lang="nl-NL" noProof="0"/>
          </a:p>
        </p:txBody>
      </p:sp>
      <p:sp>
        <p:nvSpPr>
          <p:cNvPr id="15" name="Tijdelijke aanduiding voor afbeelding 12"/>
          <p:cNvSpPr>
            <a:spLocks noGrp="1"/>
          </p:cNvSpPr>
          <p:nvPr>
            <p:ph type="pic" sz="quarter" idx="24"/>
          </p:nvPr>
        </p:nvSpPr>
        <p:spPr>
          <a:xfrm>
            <a:off x="394854" y="5872105"/>
            <a:ext cx="3204602" cy="1583865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 dirty="0"/>
              <a:t>Click icon to add picture</a:t>
            </a:r>
            <a:endParaRPr lang="nl-NL" noProof="0"/>
          </a:p>
        </p:txBody>
      </p:sp>
      <p:sp>
        <p:nvSpPr>
          <p:cNvPr id="10" name="Rectangle 5"/>
          <p:cNvSpPr>
            <a:spLocks noGrp="1" noChangeArrowheads="1"/>
          </p:cNvSpPr>
          <p:nvPr>
            <p:ph type="sldNum" sz="quarter" idx="2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1C7F818-1137-44F4-B6D6-BECAD6B9515E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3876185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image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8687" y="1015220"/>
            <a:ext cx="13352712" cy="433186"/>
          </a:xfrm>
        </p:spPr>
        <p:txBody>
          <a:bodyPr/>
          <a:lstStyle>
            <a:lvl1pPr>
              <a:defRPr sz="2807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646150" y="1819716"/>
            <a:ext cx="13378153" cy="444634"/>
          </a:xfrm>
        </p:spPr>
        <p:txBody>
          <a:bodyPr/>
          <a:lstStyle>
            <a:lvl1pPr>
              <a:buNone/>
              <a:defRPr sz="2245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ijdelijke aanduiding voor tekst 20"/>
          <p:cNvSpPr>
            <a:spLocks noGrp="1"/>
          </p:cNvSpPr>
          <p:nvPr>
            <p:ph type="body" sz="quarter" idx="19"/>
          </p:nvPr>
        </p:nvSpPr>
        <p:spPr>
          <a:xfrm>
            <a:off x="5214959" y="2509950"/>
            <a:ext cx="8791575" cy="2423400"/>
          </a:xfrm>
          <a:solidFill>
            <a:schemeClr val="tx2">
              <a:lumMod val="20000"/>
              <a:lumOff val="80000"/>
            </a:schemeClr>
          </a:solidFill>
        </p:spPr>
        <p:txBody>
          <a:bodyPr anchor="t" anchorCtr="0"/>
          <a:lstStyle>
            <a:lvl1pPr>
              <a:spcBef>
                <a:spcPts val="0"/>
              </a:spcBef>
              <a:defRPr sz="1964"/>
            </a:lvl1pPr>
            <a:lvl2pPr>
              <a:spcBef>
                <a:spcPts val="0"/>
              </a:spcBef>
              <a:defRPr sz="1964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Tijdelijke aanduiding voor tekst 20"/>
          <p:cNvSpPr>
            <a:spLocks noGrp="1"/>
          </p:cNvSpPr>
          <p:nvPr>
            <p:ph type="body" sz="quarter" idx="21"/>
          </p:nvPr>
        </p:nvSpPr>
        <p:spPr>
          <a:xfrm>
            <a:off x="5214959" y="5262240"/>
            <a:ext cx="8791575" cy="2423400"/>
          </a:xfrm>
          <a:solidFill>
            <a:schemeClr val="tx2">
              <a:lumMod val="20000"/>
              <a:lumOff val="80000"/>
            </a:schemeClr>
          </a:solidFill>
        </p:spPr>
        <p:txBody>
          <a:bodyPr anchor="t" anchorCtr="0"/>
          <a:lstStyle>
            <a:lvl1pPr>
              <a:spcBef>
                <a:spcPts val="0"/>
              </a:spcBef>
              <a:defRPr sz="1964"/>
            </a:lvl1pPr>
            <a:lvl2pPr>
              <a:spcBef>
                <a:spcPts val="0"/>
              </a:spcBef>
              <a:defRPr sz="1964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ijdelijke aanduiding voor afbeelding 12"/>
          <p:cNvSpPr>
            <a:spLocks noGrp="1" noChangeAspect="1"/>
          </p:cNvSpPr>
          <p:nvPr>
            <p:ph type="pic" sz="quarter" idx="22"/>
          </p:nvPr>
        </p:nvSpPr>
        <p:spPr>
          <a:xfrm>
            <a:off x="648685" y="2509950"/>
            <a:ext cx="4222725" cy="24234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 dirty="0"/>
              <a:t>Click icon to add picture</a:t>
            </a:r>
            <a:endParaRPr lang="nl-NL" noProof="0"/>
          </a:p>
        </p:txBody>
      </p:sp>
      <p:sp>
        <p:nvSpPr>
          <p:cNvPr id="14" name="Tijdelijke aanduiding voor afbeelding 12"/>
          <p:cNvSpPr>
            <a:spLocks noGrp="1" noChangeAspect="1"/>
          </p:cNvSpPr>
          <p:nvPr>
            <p:ph type="pic" sz="quarter" idx="23"/>
          </p:nvPr>
        </p:nvSpPr>
        <p:spPr>
          <a:xfrm>
            <a:off x="646100" y="5262240"/>
            <a:ext cx="4222725" cy="24234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 dirty="0"/>
              <a:t>Click icon to add picture</a:t>
            </a:r>
            <a:endParaRPr lang="nl-NL" noProof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sldNum" sz="quarter" idx="24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5A22AC8-36D9-4965-81AD-19038FCC0CCE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4543687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72903184"/>
              </p:ext>
            </p:extLst>
          </p:nvPr>
        </p:nvGraphicFramePr>
        <p:xfrm>
          <a:off x="2236" y="1913"/>
          <a:ext cx="2227" cy="190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think-cell Slide" r:id="rId5" imgW="421" imgH="420" progId="TCLayout.ActiveDocument.1">
                  <p:embed/>
                </p:oleObj>
              </mc:Choice>
              <mc:Fallback>
                <p:oleObj name="think-cell Slide" r:id="rId5" imgW="421" imgH="42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236" y="1913"/>
                        <a:ext cx="2227" cy="190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7F6D9BC-B448-4164-8068-68E8F811B2EA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90269" cy="190302"/>
          </a:xfrm>
          <a:prstGeom prst="rect">
            <a:avLst/>
          </a:prstGeom>
          <a:solidFill>
            <a:schemeClr val="accent1"/>
          </a:solidFill>
          <a:ln w="19050" cap="flat" cmpd="sng" algn="ctr">
            <a:solidFill>
              <a:srgbClr val="808080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9590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807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73585" y="627356"/>
            <a:ext cx="13980331" cy="433186"/>
          </a:xfrm>
        </p:spPr>
        <p:txBody>
          <a:bodyPr/>
          <a:lstStyle>
            <a:lvl1pPr>
              <a:defRPr sz="2807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9" name="Tijdelijke aanduiding voor inhoud 2"/>
          <p:cNvSpPr>
            <a:spLocks noGrp="1"/>
          </p:cNvSpPr>
          <p:nvPr>
            <p:ph idx="15"/>
          </p:nvPr>
        </p:nvSpPr>
        <p:spPr>
          <a:xfrm>
            <a:off x="335627" y="1315368"/>
            <a:ext cx="13957772" cy="6256431"/>
          </a:xfrm>
        </p:spPr>
        <p:txBody>
          <a:bodyPr/>
          <a:lstStyle>
            <a:lvl1pPr>
              <a:defRPr sz="2245">
                <a:latin typeface="Arial" pitchFamily="34" charset="0"/>
                <a:cs typeface="Arial" pitchFamily="34" charset="0"/>
              </a:defRPr>
            </a:lvl1pPr>
            <a:lvl2pPr>
              <a:defRPr sz="1964">
                <a:latin typeface="Arial" pitchFamily="34" charset="0"/>
                <a:cs typeface="Arial" pitchFamily="34" charset="0"/>
              </a:defRPr>
            </a:lvl2pPr>
            <a:lvl3pPr marL="820086" indent="-273362">
              <a:buClr>
                <a:schemeClr val="tx2"/>
              </a:buClr>
              <a:buFont typeface="Wingdings" pitchFamily="2" charset="2"/>
              <a:buChar char="§"/>
              <a:defRPr sz="1684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7" name="Tijdelijke aanduiding voor dianummer 5">
            <a:extLst>
              <a:ext uri="{FF2B5EF4-FFF2-40B4-BE49-F238E27FC236}">
                <a16:creationId xmlns:a16="http://schemas.microsoft.com/office/drawing/2014/main" id="{B11AE023-8ACD-4068-8221-35C1212672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117433" y="230350"/>
            <a:ext cx="392330" cy="263726"/>
          </a:xfrm>
          <a:prstGeom prst="rect">
            <a:avLst/>
          </a:prstGeom>
        </p:spPr>
        <p:txBody>
          <a:bodyPr vert="horz" lIns="0" tIns="44104" rIns="69455" bIns="44104" rtlCol="0" anchor="ctr"/>
          <a:lstStyle>
            <a:lvl1pPr algn="l">
              <a:defRPr sz="1407" b="1">
                <a:solidFill>
                  <a:schemeClr val="bg1"/>
                </a:solidFill>
                <a:latin typeface="+mn-lt"/>
              </a:defRPr>
            </a:lvl1pPr>
          </a:lstStyle>
          <a:p>
            <a:fld id="{7103653F-4628-4CCA-BBFC-10994C39EA7C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72290" y="627346"/>
            <a:ext cx="14059297" cy="433186"/>
          </a:xfrm>
        </p:spPr>
        <p:txBody>
          <a:bodyPr/>
          <a:lstStyle>
            <a:lvl1pPr>
              <a:defRPr sz="2807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16" name="Tijdelijke aanduiding voor tekst 15"/>
          <p:cNvSpPr>
            <a:spLocks noGrp="1"/>
          </p:cNvSpPr>
          <p:nvPr>
            <p:ph type="body" sz="quarter" idx="14"/>
          </p:nvPr>
        </p:nvSpPr>
        <p:spPr>
          <a:xfrm>
            <a:off x="533042" y="2307581"/>
            <a:ext cx="6732106" cy="432750"/>
          </a:xfrm>
          <a:solidFill>
            <a:schemeClr val="tx2">
              <a:lumMod val="20000"/>
              <a:lumOff val="80000"/>
            </a:schemeClr>
          </a:solidFill>
        </p:spPr>
        <p:txBody>
          <a:bodyPr lIns="194796" anchor="ctr"/>
          <a:lstStyle>
            <a:lvl1pPr marL="0" indent="0" algn="l">
              <a:spcBef>
                <a:spcPts val="0"/>
              </a:spcBef>
              <a:buNone/>
              <a:defRPr sz="196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7" name="Tijdelijke aanduiding voor tekst 15"/>
          <p:cNvSpPr>
            <a:spLocks noGrp="1"/>
          </p:cNvSpPr>
          <p:nvPr>
            <p:ph type="body" sz="quarter" idx="15"/>
          </p:nvPr>
        </p:nvSpPr>
        <p:spPr>
          <a:xfrm>
            <a:off x="7676983" y="2307581"/>
            <a:ext cx="6655819" cy="432750"/>
          </a:xfrm>
          <a:solidFill>
            <a:schemeClr val="accent5">
              <a:lumMod val="60000"/>
              <a:lumOff val="40000"/>
            </a:schemeClr>
          </a:solidFill>
        </p:spPr>
        <p:txBody>
          <a:bodyPr lIns="194796" anchor="ctr"/>
          <a:lstStyle>
            <a:lvl1pPr marL="0" indent="0">
              <a:spcBef>
                <a:spcPts val="0"/>
              </a:spcBef>
              <a:buNone/>
              <a:defRPr sz="196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330273" y="1263216"/>
            <a:ext cx="14081579" cy="444634"/>
          </a:xfrm>
        </p:spPr>
        <p:txBody>
          <a:bodyPr/>
          <a:lstStyle>
            <a:lvl1pPr>
              <a:buNone/>
              <a:defRPr sz="2245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ijdelijke aanduiding voor tekst 20"/>
          <p:cNvSpPr>
            <a:spLocks noGrp="1"/>
          </p:cNvSpPr>
          <p:nvPr>
            <p:ph type="body" sz="quarter" idx="19"/>
          </p:nvPr>
        </p:nvSpPr>
        <p:spPr>
          <a:xfrm>
            <a:off x="533042" y="2718695"/>
            <a:ext cx="6732106" cy="4721303"/>
          </a:xfrm>
        </p:spPr>
        <p:txBody>
          <a:bodyPr/>
          <a:lstStyle>
            <a:lvl1pPr>
              <a:defRPr sz="1964"/>
            </a:lvl1pPr>
            <a:lvl2pPr>
              <a:defRPr sz="1964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1" name="Tijdelijke aanduiding voor tekst 20"/>
          <p:cNvSpPr>
            <a:spLocks noGrp="1"/>
          </p:cNvSpPr>
          <p:nvPr>
            <p:ph type="body" sz="quarter" idx="20"/>
          </p:nvPr>
        </p:nvSpPr>
        <p:spPr>
          <a:xfrm>
            <a:off x="7677059" y="2718695"/>
            <a:ext cx="6655819" cy="4721303"/>
          </a:xfrm>
        </p:spPr>
        <p:txBody>
          <a:bodyPr/>
          <a:lstStyle>
            <a:lvl1pPr>
              <a:defRPr sz="1964"/>
            </a:lvl1pPr>
            <a:lvl2pPr>
              <a:defRPr sz="1964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8" name="Rectangle 5"/>
          <p:cNvSpPr>
            <a:spLocks noGrp="1" noChangeArrowheads="1"/>
          </p:cNvSpPr>
          <p:nvPr>
            <p:ph type="sldNum" sz="quarter" idx="2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EEDDE4F-381E-4904-8E4A-86B45F5FCC9F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0005098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PP header horizon met logo's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4962" y="490435"/>
            <a:ext cx="14657714" cy="1883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438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48759" y="2854831"/>
            <a:ext cx="13352712" cy="1375890"/>
          </a:xfrm>
        </p:spPr>
        <p:txBody>
          <a:bodyPr bIns="45633"/>
          <a:lstStyle>
            <a:lvl1pPr>
              <a:defRPr sz="449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4438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48759" y="7442638"/>
            <a:ext cx="13352712" cy="501886"/>
          </a:xfrm>
        </p:spPr>
        <p:txBody>
          <a:bodyPr tIns="45633" rIns="91271" bIns="45633"/>
          <a:lstStyle>
            <a:lvl1pPr marL="0" indent="0">
              <a:buFontTx/>
              <a:buNone/>
              <a:defRPr sz="2526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43706294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0623815"/>
              </p:ext>
            </p:extLst>
          </p:nvPr>
        </p:nvGraphicFramePr>
        <p:xfrm>
          <a:off x="2240" y="2095"/>
          <a:ext cx="2227" cy="190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0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240" y="2095"/>
                        <a:ext cx="2227" cy="190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B8869DF-C182-46CB-B1C1-998B4CBEA3E7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90269" cy="190302"/>
          </a:xfrm>
          <a:prstGeom prst="rect">
            <a:avLst/>
          </a:prstGeom>
          <a:solidFill>
            <a:schemeClr val="accent1"/>
          </a:solidFill>
          <a:ln w="19050" cap="flat" cmpd="sng" algn="ctr">
            <a:solidFill>
              <a:srgbClr val="808080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9590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526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73595" y="627544"/>
            <a:ext cx="13980331" cy="433186"/>
          </a:xfrm>
        </p:spPr>
        <p:txBody>
          <a:bodyPr/>
          <a:lstStyle>
            <a:lvl1pPr>
              <a:defRPr sz="2526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4"/>
          </p:nvPr>
        </p:nvSpPr>
        <p:spPr>
          <a:xfrm>
            <a:off x="317544" y="201216"/>
            <a:ext cx="5766927" cy="25953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8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14117444" y="230531"/>
            <a:ext cx="392330" cy="263726"/>
          </a:xfrm>
          <a:prstGeom prst="rect">
            <a:avLst/>
          </a:prstGeom>
        </p:spPr>
        <p:txBody>
          <a:bodyPr vert="horz" lIns="0" tIns="44028" rIns="69331" bIns="44028" rtlCol="0" anchor="ctr"/>
          <a:lstStyle>
            <a:lvl1pPr algn="l">
              <a:defRPr sz="1403" b="1">
                <a:solidFill>
                  <a:schemeClr val="bg1"/>
                </a:solidFill>
                <a:latin typeface="+mn-lt"/>
              </a:defRPr>
            </a:lvl1pPr>
          </a:lstStyle>
          <a:p>
            <a:fld id="{7103653F-4628-4CCA-BBFC-10994C39EA7C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Tijdelijke aanduiding voor inhoud 2"/>
          <p:cNvSpPr>
            <a:spLocks noGrp="1"/>
          </p:cNvSpPr>
          <p:nvPr>
            <p:ph idx="15"/>
          </p:nvPr>
        </p:nvSpPr>
        <p:spPr>
          <a:xfrm>
            <a:off x="335742" y="1315378"/>
            <a:ext cx="13957772" cy="6256431"/>
          </a:xfrm>
        </p:spPr>
        <p:txBody>
          <a:bodyPr/>
          <a:lstStyle>
            <a:lvl1pPr>
              <a:defRPr sz="2105">
                <a:latin typeface="Arial" pitchFamily="34" charset="0"/>
                <a:cs typeface="Arial" pitchFamily="34" charset="0"/>
              </a:defRPr>
            </a:lvl1pPr>
            <a:lvl2pPr>
              <a:defRPr sz="1824">
                <a:latin typeface="Arial" pitchFamily="34" charset="0"/>
                <a:cs typeface="Arial" pitchFamily="34" charset="0"/>
              </a:defRPr>
            </a:lvl2pPr>
            <a:lvl3pPr marL="756388" indent="-252125">
              <a:buClr>
                <a:schemeClr val="tx2"/>
              </a:buClr>
              <a:buFont typeface="Wingdings" pitchFamily="2" charset="2"/>
              <a:buChar char="§"/>
              <a:defRPr sz="1544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871042473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2" hasCustomPrompt="1"/>
          </p:nvPr>
        </p:nvSpPr>
        <p:spPr>
          <a:xfrm>
            <a:off x="2145850" y="3107386"/>
            <a:ext cx="11619949" cy="543755"/>
          </a:xfrm>
          <a:solidFill>
            <a:schemeClr val="tx2">
              <a:lumMod val="50000"/>
            </a:schemeClr>
          </a:solidFill>
        </p:spPr>
        <p:txBody>
          <a:bodyPr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text</a:t>
            </a:r>
            <a:endParaRPr lang="en-IN" dirty="0"/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3" hasCustomPrompt="1"/>
          </p:nvPr>
        </p:nvSpPr>
        <p:spPr>
          <a:xfrm>
            <a:off x="2117567" y="3872758"/>
            <a:ext cx="11619949" cy="543755"/>
          </a:xfrm>
          <a:solidFill>
            <a:schemeClr val="tx2">
              <a:lumMod val="50000"/>
            </a:schemeClr>
          </a:solidFill>
        </p:spPr>
        <p:txBody>
          <a:bodyPr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14" hasCustomPrompt="1"/>
          </p:nvPr>
        </p:nvSpPr>
        <p:spPr>
          <a:xfrm>
            <a:off x="2116476" y="4599600"/>
            <a:ext cx="11619949" cy="543755"/>
          </a:xfrm>
          <a:solidFill>
            <a:schemeClr val="tx2">
              <a:lumMod val="50000"/>
            </a:schemeClr>
          </a:solidFill>
        </p:spPr>
        <p:txBody>
          <a:bodyPr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15" hasCustomPrompt="1"/>
          </p:nvPr>
        </p:nvSpPr>
        <p:spPr>
          <a:xfrm>
            <a:off x="2129836" y="5377039"/>
            <a:ext cx="11619949" cy="543755"/>
          </a:xfrm>
          <a:solidFill>
            <a:schemeClr val="tx2">
              <a:lumMod val="50000"/>
            </a:schemeClr>
          </a:solidFill>
        </p:spPr>
        <p:txBody>
          <a:bodyPr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9" name="Text Placeholder 28"/>
          <p:cNvSpPr>
            <a:spLocks noGrp="1"/>
          </p:cNvSpPr>
          <p:nvPr>
            <p:ph type="body" sz="quarter" idx="16" hasCustomPrompt="1"/>
          </p:nvPr>
        </p:nvSpPr>
        <p:spPr>
          <a:xfrm>
            <a:off x="2116476" y="6141781"/>
            <a:ext cx="11619949" cy="543755"/>
          </a:xfrm>
          <a:solidFill>
            <a:schemeClr val="tx2">
              <a:lumMod val="50000"/>
            </a:schemeClr>
          </a:solidFill>
        </p:spPr>
        <p:txBody>
          <a:bodyPr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text</a:t>
            </a:r>
            <a:endParaRPr lang="en-IN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2165489" y="2383329"/>
            <a:ext cx="11619949" cy="543755"/>
          </a:xfrm>
          <a:solidFill>
            <a:schemeClr val="tx2">
              <a:lumMod val="50000"/>
            </a:schemeClr>
          </a:solidFill>
        </p:spPr>
        <p:txBody>
          <a:bodyPr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text</a:t>
            </a:r>
            <a:endParaRPr lang="en-IN" dirty="0"/>
          </a:p>
        </p:txBody>
      </p:sp>
      <p:sp>
        <p:nvSpPr>
          <p:cNvPr id="33" name="Text Placeholder 32"/>
          <p:cNvSpPr>
            <a:spLocks noGrp="1"/>
          </p:cNvSpPr>
          <p:nvPr>
            <p:ph type="body" sz="quarter" idx="18" hasCustomPrompt="1"/>
          </p:nvPr>
        </p:nvSpPr>
        <p:spPr>
          <a:xfrm>
            <a:off x="2166396" y="1619164"/>
            <a:ext cx="11619949" cy="618733"/>
          </a:xfrm>
          <a:solidFill>
            <a:schemeClr val="tx2">
              <a:lumMod val="60000"/>
              <a:lumOff val="40000"/>
            </a:schemeClr>
          </a:solidFill>
        </p:spPr>
        <p:txBody>
          <a:bodyPr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Topic</a:t>
            </a:r>
            <a:endParaRPr lang="en-IN" dirty="0"/>
          </a:p>
        </p:txBody>
      </p:sp>
      <p:sp>
        <p:nvSpPr>
          <p:cNvPr id="34" name="Rectangle 15"/>
          <p:cNvSpPr>
            <a:spLocks noChangeArrowheads="1"/>
          </p:cNvSpPr>
          <p:nvPr userDrawn="1"/>
        </p:nvSpPr>
        <p:spPr bwMode="gray">
          <a:xfrm>
            <a:off x="677109" y="1600371"/>
            <a:ext cx="1346695" cy="637323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94076" tIns="94076" rIns="94076" bIns="94076" anchor="ctr"/>
          <a:lstStyle/>
          <a:p>
            <a:pPr algn="ctr" eaLnBrk="0" hangingPunct="0">
              <a:spcBef>
                <a:spcPct val="25000"/>
              </a:spcBef>
              <a:defRPr/>
            </a:pPr>
            <a:r>
              <a:rPr lang="en-US" sz="2105" b="1" noProof="1">
                <a:solidFill>
                  <a:srgbClr val="FFFFFF"/>
                </a:solidFill>
                <a:latin typeface="Arial"/>
                <a:cs typeface="Arial"/>
              </a:rPr>
              <a:t>SN</a:t>
            </a:r>
          </a:p>
        </p:txBody>
      </p:sp>
      <p:sp>
        <p:nvSpPr>
          <p:cNvPr id="37" name="Text Placeholder 36"/>
          <p:cNvSpPr>
            <a:spLocks noGrp="1"/>
          </p:cNvSpPr>
          <p:nvPr>
            <p:ph type="body" sz="quarter" idx="19" hasCustomPrompt="1"/>
          </p:nvPr>
        </p:nvSpPr>
        <p:spPr>
          <a:xfrm>
            <a:off x="636375" y="2352632"/>
            <a:ext cx="1343872" cy="535610"/>
          </a:xfrm>
          <a:solidFill>
            <a:schemeClr val="tx2">
              <a:lumMod val="50000"/>
            </a:schemeClr>
          </a:solidFill>
        </p:spPr>
        <p:txBody>
          <a:bodyPr anchor="ctr" anchorCtr="0"/>
          <a:lstStyle>
            <a:lvl1pPr marL="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IN" dirty="0"/>
              <a:t>1</a:t>
            </a:r>
          </a:p>
        </p:txBody>
      </p:sp>
      <p:sp>
        <p:nvSpPr>
          <p:cNvPr id="39" name="Text Placeholder 38"/>
          <p:cNvSpPr>
            <a:spLocks noGrp="1"/>
          </p:cNvSpPr>
          <p:nvPr>
            <p:ph type="body" sz="quarter" idx="20" hasCustomPrompt="1"/>
          </p:nvPr>
        </p:nvSpPr>
        <p:spPr>
          <a:xfrm>
            <a:off x="636375" y="3100674"/>
            <a:ext cx="1343872" cy="548070"/>
          </a:xfrm>
          <a:solidFill>
            <a:schemeClr val="tx2">
              <a:lumMod val="50000"/>
            </a:schemeClr>
          </a:solidFill>
        </p:spPr>
        <p:txBody>
          <a:bodyPr anchor="ctr" anchorCtr="0"/>
          <a:lstStyle>
            <a:lvl1pPr marL="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2</a:t>
            </a:r>
            <a:endParaRPr lang="en-IN" dirty="0"/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21" hasCustomPrompt="1"/>
          </p:nvPr>
        </p:nvSpPr>
        <p:spPr>
          <a:xfrm>
            <a:off x="636375" y="3861177"/>
            <a:ext cx="1343872" cy="548070"/>
          </a:xfrm>
          <a:solidFill>
            <a:schemeClr val="tx2">
              <a:lumMod val="50000"/>
            </a:schemeClr>
          </a:solidFill>
        </p:spPr>
        <p:txBody>
          <a:bodyPr anchor="ctr" anchorCtr="0"/>
          <a:lstStyle>
            <a:lvl1pPr marL="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3</a:t>
            </a:r>
            <a:endParaRPr lang="en-IN" dirty="0"/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22" hasCustomPrompt="1"/>
          </p:nvPr>
        </p:nvSpPr>
        <p:spPr>
          <a:xfrm>
            <a:off x="636375" y="4621679"/>
            <a:ext cx="1343872" cy="548070"/>
          </a:xfrm>
          <a:solidFill>
            <a:schemeClr val="tx2">
              <a:lumMod val="50000"/>
            </a:schemeClr>
          </a:solidFill>
        </p:spPr>
        <p:txBody>
          <a:bodyPr anchor="ctr" anchorCtr="0"/>
          <a:lstStyle>
            <a:lvl1pPr marL="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4</a:t>
            </a:r>
            <a:endParaRPr lang="en-IN" dirty="0"/>
          </a:p>
        </p:txBody>
      </p:sp>
      <p:sp>
        <p:nvSpPr>
          <p:cNvPr id="45" name="Text Placeholder 44"/>
          <p:cNvSpPr>
            <a:spLocks noGrp="1"/>
          </p:cNvSpPr>
          <p:nvPr>
            <p:ph type="body" sz="quarter" idx="23" hasCustomPrompt="1"/>
          </p:nvPr>
        </p:nvSpPr>
        <p:spPr>
          <a:xfrm>
            <a:off x="636375" y="5382182"/>
            <a:ext cx="1343872" cy="548070"/>
          </a:xfrm>
          <a:solidFill>
            <a:schemeClr val="tx2">
              <a:lumMod val="50000"/>
            </a:schemeClr>
          </a:solidFill>
        </p:spPr>
        <p:txBody>
          <a:bodyPr anchor="ctr" anchorCtr="0"/>
          <a:lstStyle>
            <a:lvl1pPr marL="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5</a:t>
            </a:r>
            <a:endParaRPr lang="en-IN" dirty="0"/>
          </a:p>
        </p:txBody>
      </p:sp>
      <p:sp>
        <p:nvSpPr>
          <p:cNvPr id="47" name="Text Placeholder 46"/>
          <p:cNvSpPr>
            <a:spLocks noGrp="1"/>
          </p:cNvSpPr>
          <p:nvPr>
            <p:ph type="body" sz="quarter" idx="24" hasCustomPrompt="1"/>
          </p:nvPr>
        </p:nvSpPr>
        <p:spPr>
          <a:xfrm>
            <a:off x="636375" y="6142682"/>
            <a:ext cx="1343872" cy="548070"/>
          </a:xfrm>
          <a:solidFill>
            <a:schemeClr val="tx2">
              <a:lumMod val="50000"/>
            </a:schemeClr>
          </a:solidFill>
        </p:spPr>
        <p:txBody>
          <a:bodyPr anchor="ctr" anchorCtr="0"/>
          <a:lstStyle>
            <a:lvl1pPr marL="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6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336774134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>
            <a:spLocks noChangeArrowheads="1"/>
          </p:cNvSpPr>
          <p:nvPr userDrawn="1"/>
        </p:nvSpPr>
        <p:spPr bwMode="gray">
          <a:xfrm>
            <a:off x="2097020" y="2906457"/>
            <a:ext cx="11310357" cy="637323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328973" tIns="94000" rIns="94000" bIns="94000" anchor="ctr"/>
          <a:lstStyle/>
          <a:p>
            <a:pPr defTabSz="1287402" eaLnBrk="0" fontAlgn="auto" hangingPunct="0">
              <a:spcBef>
                <a:spcPct val="25000"/>
              </a:spcBef>
              <a:spcAft>
                <a:spcPts val="0"/>
              </a:spcAft>
              <a:defRPr/>
            </a:pPr>
            <a:r>
              <a:rPr lang="en-IN" sz="2105" b="1" noProof="1">
                <a:solidFill>
                  <a:srgbClr val="3D7EDB">
                    <a:lumMod val="50000"/>
                  </a:srgbClr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6" name="Rectangle 15"/>
          <p:cNvSpPr>
            <a:spLocks noChangeArrowheads="1"/>
          </p:cNvSpPr>
          <p:nvPr userDrawn="1"/>
        </p:nvSpPr>
        <p:spPr bwMode="gray">
          <a:xfrm>
            <a:off x="656754" y="2124432"/>
            <a:ext cx="1346695" cy="637323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94000" tIns="94000" rIns="94000" bIns="94000" anchor="ctr"/>
          <a:lstStyle/>
          <a:p>
            <a:pPr algn="ctr" defTabSz="1287402" eaLnBrk="0" fontAlgn="auto" hangingPunct="0">
              <a:spcBef>
                <a:spcPct val="25000"/>
              </a:spcBef>
              <a:spcAft>
                <a:spcPts val="0"/>
              </a:spcAft>
              <a:defRPr/>
            </a:pPr>
            <a:r>
              <a:rPr lang="en-US" sz="2105" b="1" noProof="1">
                <a:solidFill>
                  <a:srgbClr val="FFFFFF"/>
                </a:solidFill>
                <a:latin typeface="Arial"/>
                <a:cs typeface="Arial"/>
              </a:rPr>
              <a:t>2</a:t>
            </a: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gray">
          <a:xfrm>
            <a:off x="2100238" y="3673790"/>
            <a:ext cx="11310357" cy="594901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328973" tIns="94000" rIns="94000" bIns="94000" anchor="ctr"/>
          <a:lstStyle/>
          <a:p>
            <a:pPr defTabSz="1287402" eaLnBrk="0" fontAlgn="auto" hangingPunct="0">
              <a:spcBef>
                <a:spcPct val="25000"/>
              </a:spcBef>
              <a:spcAft>
                <a:spcPts val="0"/>
              </a:spcAft>
              <a:defRPr/>
            </a:pPr>
            <a:r>
              <a:rPr lang="en-IN" sz="2105" b="1" noProof="1">
                <a:solidFill>
                  <a:srgbClr val="3D7EDB">
                    <a:lumMod val="50000"/>
                  </a:srgbClr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8" name="Rectangle 15"/>
          <p:cNvSpPr>
            <a:spLocks noChangeArrowheads="1"/>
          </p:cNvSpPr>
          <p:nvPr userDrawn="1"/>
        </p:nvSpPr>
        <p:spPr bwMode="gray">
          <a:xfrm>
            <a:off x="656802" y="2890848"/>
            <a:ext cx="1313699" cy="594901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94000" tIns="94000" rIns="94000" bIns="94000" anchor="ctr"/>
          <a:lstStyle/>
          <a:p>
            <a:pPr algn="ctr" defTabSz="1287402" eaLnBrk="0" fontAlgn="auto" hangingPunct="0">
              <a:spcBef>
                <a:spcPct val="25000"/>
              </a:spcBef>
              <a:spcAft>
                <a:spcPts val="0"/>
              </a:spcAft>
              <a:defRPr/>
            </a:pPr>
            <a:r>
              <a:rPr lang="en-US" sz="2105" b="1" noProof="1">
                <a:solidFill>
                  <a:srgbClr val="FFFFFF"/>
                </a:solidFill>
                <a:latin typeface="Arial"/>
                <a:cs typeface="Arial"/>
              </a:rPr>
              <a:t>3</a:t>
            </a: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gray">
          <a:xfrm>
            <a:off x="2109308" y="1369882"/>
            <a:ext cx="11310357" cy="637323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328973" tIns="94000" rIns="94000" bIns="94000" anchor="ctr"/>
          <a:lstStyle/>
          <a:p>
            <a:pPr defTabSz="1287402" eaLnBrk="0" fontAlgn="auto" hangingPunct="0">
              <a:spcBef>
                <a:spcPct val="25000"/>
              </a:spcBef>
              <a:spcAft>
                <a:spcPts val="0"/>
              </a:spcAft>
              <a:defRPr/>
            </a:pPr>
            <a:r>
              <a:rPr lang="en-IN" sz="2105" b="1" noProof="1">
                <a:solidFill>
                  <a:srgbClr val="3D7EDB">
                    <a:lumMod val="50000"/>
                  </a:srgbClr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10" name="Rectangle 15"/>
          <p:cNvSpPr>
            <a:spLocks noChangeArrowheads="1"/>
          </p:cNvSpPr>
          <p:nvPr userDrawn="1"/>
        </p:nvSpPr>
        <p:spPr bwMode="gray">
          <a:xfrm>
            <a:off x="656743" y="1369716"/>
            <a:ext cx="1346695" cy="637323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94000" tIns="94000" rIns="94000" bIns="94000" anchor="ctr"/>
          <a:lstStyle/>
          <a:p>
            <a:pPr algn="ctr" defTabSz="1287402" eaLnBrk="0" fontAlgn="auto" hangingPunct="0">
              <a:spcBef>
                <a:spcPct val="25000"/>
              </a:spcBef>
              <a:spcAft>
                <a:spcPts val="0"/>
              </a:spcAft>
              <a:defRPr/>
            </a:pPr>
            <a:r>
              <a:rPr lang="en-US" sz="2105" b="1" noProof="1">
                <a:solidFill>
                  <a:srgbClr val="FFFFFF"/>
                </a:solidFill>
                <a:latin typeface="Arial"/>
                <a:cs typeface="Arial"/>
              </a:rPr>
              <a:t>1</a:t>
            </a:r>
          </a:p>
        </p:txBody>
      </p:sp>
      <p:sp>
        <p:nvSpPr>
          <p:cNvPr id="11" name="Rectangle 4"/>
          <p:cNvSpPr>
            <a:spLocks noChangeArrowheads="1"/>
          </p:cNvSpPr>
          <p:nvPr userDrawn="1"/>
        </p:nvSpPr>
        <p:spPr bwMode="gray">
          <a:xfrm>
            <a:off x="2109301" y="4420099"/>
            <a:ext cx="11310357" cy="662267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328973" tIns="94000" rIns="94000" bIns="94000" anchor="ctr"/>
          <a:lstStyle/>
          <a:p>
            <a:pPr defTabSz="1287402" eaLnBrk="0" fontAlgn="auto" hangingPunct="0">
              <a:spcBef>
                <a:spcPct val="25000"/>
              </a:spcBef>
              <a:spcAft>
                <a:spcPts val="0"/>
              </a:spcAft>
              <a:defRPr/>
            </a:pPr>
            <a:r>
              <a:rPr lang="en-US" sz="2105" b="1" noProof="1">
                <a:solidFill>
                  <a:srgbClr val="3D7EDB">
                    <a:lumMod val="50000"/>
                  </a:srgbClr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12" name="Rectangle 11"/>
          <p:cNvSpPr>
            <a:spLocks noChangeArrowheads="1"/>
          </p:cNvSpPr>
          <p:nvPr userDrawn="1"/>
        </p:nvSpPr>
        <p:spPr bwMode="gray">
          <a:xfrm>
            <a:off x="656802" y="3637091"/>
            <a:ext cx="1313699" cy="637323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94000" tIns="94000" rIns="94000" bIns="94000" anchor="ctr"/>
          <a:lstStyle/>
          <a:p>
            <a:pPr algn="ctr" defTabSz="1287402" eaLnBrk="0" fontAlgn="auto" hangingPunct="0">
              <a:spcBef>
                <a:spcPct val="25000"/>
              </a:spcBef>
              <a:spcAft>
                <a:spcPts val="0"/>
              </a:spcAft>
              <a:defRPr/>
            </a:pPr>
            <a:r>
              <a:rPr lang="en-US" sz="2105" b="1" noProof="1">
                <a:solidFill>
                  <a:srgbClr val="FFFFFF"/>
                </a:solidFill>
                <a:latin typeface="Arial"/>
                <a:cs typeface="Arial"/>
              </a:rPr>
              <a:t>4</a:t>
            </a:r>
          </a:p>
        </p:txBody>
      </p:sp>
      <p:sp>
        <p:nvSpPr>
          <p:cNvPr id="13" name="Rectangle 4"/>
          <p:cNvSpPr>
            <a:spLocks noChangeArrowheads="1"/>
          </p:cNvSpPr>
          <p:nvPr userDrawn="1"/>
        </p:nvSpPr>
        <p:spPr bwMode="gray">
          <a:xfrm>
            <a:off x="2100238" y="5263648"/>
            <a:ext cx="11310357" cy="662267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328973" tIns="94000" rIns="94000" bIns="94000" anchor="ctr"/>
          <a:lstStyle/>
          <a:p>
            <a:pPr defTabSz="1287402" eaLnBrk="0" fontAlgn="auto" hangingPunct="0">
              <a:spcBef>
                <a:spcPct val="25000"/>
              </a:spcBef>
              <a:spcAft>
                <a:spcPts val="0"/>
              </a:spcAft>
              <a:defRPr/>
            </a:pPr>
            <a:r>
              <a:rPr lang="en-US" sz="2105" b="1" noProof="1">
                <a:solidFill>
                  <a:srgbClr val="3D7EDB">
                    <a:lumMod val="50000"/>
                  </a:srgbClr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gray">
          <a:xfrm>
            <a:off x="647753" y="4480461"/>
            <a:ext cx="1313699" cy="637323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94000" tIns="94000" rIns="94000" bIns="94000" anchor="ctr"/>
          <a:lstStyle/>
          <a:p>
            <a:pPr algn="ctr" defTabSz="1287402" eaLnBrk="0" fontAlgn="auto" hangingPunct="0">
              <a:spcBef>
                <a:spcPct val="25000"/>
              </a:spcBef>
              <a:spcAft>
                <a:spcPts val="0"/>
              </a:spcAft>
              <a:defRPr/>
            </a:pPr>
            <a:r>
              <a:rPr lang="en-US" sz="2105" b="1" noProof="1">
                <a:solidFill>
                  <a:srgbClr val="FFFFFF"/>
                </a:solidFill>
                <a:latin typeface="Arial"/>
                <a:cs typeface="Arial"/>
              </a:rPr>
              <a:t>5</a:t>
            </a:r>
          </a:p>
        </p:txBody>
      </p:sp>
      <p:sp>
        <p:nvSpPr>
          <p:cNvPr id="15" name="Rectangle 4"/>
          <p:cNvSpPr>
            <a:spLocks noChangeArrowheads="1"/>
          </p:cNvSpPr>
          <p:nvPr userDrawn="1"/>
        </p:nvSpPr>
        <p:spPr bwMode="gray">
          <a:xfrm>
            <a:off x="2117388" y="2141864"/>
            <a:ext cx="11310357" cy="662267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328973" tIns="94000" rIns="94000" bIns="94000" anchor="ctr"/>
          <a:lstStyle/>
          <a:p>
            <a:pPr defTabSz="1287402" eaLnBrk="0" fontAlgn="auto" hangingPunct="0">
              <a:spcBef>
                <a:spcPct val="25000"/>
              </a:spcBef>
              <a:spcAft>
                <a:spcPts val="0"/>
              </a:spcAft>
              <a:defRPr/>
            </a:pPr>
            <a:r>
              <a:rPr lang="en-IN" sz="2105" b="1" noProof="1">
                <a:solidFill>
                  <a:srgbClr val="3D7EDB">
                    <a:lumMod val="50000"/>
                  </a:srgbClr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16" name="Rectangle 15"/>
          <p:cNvSpPr>
            <a:spLocks noChangeArrowheads="1"/>
          </p:cNvSpPr>
          <p:nvPr userDrawn="1"/>
        </p:nvSpPr>
        <p:spPr bwMode="gray">
          <a:xfrm>
            <a:off x="642986" y="5325162"/>
            <a:ext cx="1313699" cy="637323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94000" tIns="94000" rIns="94000" bIns="94000" anchor="ctr"/>
          <a:lstStyle/>
          <a:p>
            <a:pPr algn="ctr" defTabSz="1287402" eaLnBrk="0" fontAlgn="auto" hangingPunct="0">
              <a:spcBef>
                <a:spcPct val="25000"/>
              </a:spcBef>
              <a:spcAft>
                <a:spcPts val="0"/>
              </a:spcAft>
              <a:defRPr/>
            </a:pPr>
            <a:r>
              <a:rPr lang="en-US" sz="2105" b="1" noProof="1">
                <a:solidFill>
                  <a:srgbClr val="FFFFFF"/>
                </a:solidFill>
                <a:latin typeface="Arial"/>
                <a:cs typeface="Arial"/>
              </a:rPr>
              <a:t>6</a:t>
            </a:r>
          </a:p>
        </p:txBody>
      </p:sp>
      <p:sp>
        <p:nvSpPr>
          <p:cNvPr id="17" name="Rectangle 4"/>
          <p:cNvSpPr>
            <a:spLocks noChangeArrowheads="1"/>
          </p:cNvSpPr>
          <p:nvPr userDrawn="1"/>
        </p:nvSpPr>
        <p:spPr bwMode="gray">
          <a:xfrm>
            <a:off x="2114629" y="6161772"/>
            <a:ext cx="11310357" cy="662267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328973" tIns="94000" rIns="94000" bIns="94000" anchor="ctr"/>
          <a:lstStyle/>
          <a:p>
            <a:pPr defTabSz="1287402" eaLnBrk="0" fontAlgn="auto" hangingPunct="0">
              <a:spcBef>
                <a:spcPct val="25000"/>
              </a:spcBef>
              <a:spcAft>
                <a:spcPts val="0"/>
              </a:spcAft>
              <a:defRPr/>
            </a:pPr>
            <a:r>
              <a:rPr lang="en-IN" sz="2105" b="1" noProof="1">
                <a:solidFill>
                  <a:srgbClr val="3D7EDB">
                    <a:lumMod val="50000"/>
                  </a:srgbClr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gray">
          <a:xfrm>
            <a:off x="662128" y="6177945"/>
            <a:ext cx="1313699" cy="637323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94000" tIns="94000" rIns="94000" bIns="94000" anchor="ctr"/>
          <a:lstStyle/>
          <a:p>
            <a:pPr algn="ctr" defTabSz="1287402" eaLnBrk="0" fontAlgn="auto" hangingPunct="0">
              <a:spcBef>
                <a:spcPct val="25000"/>
              </a:spcBef>
              <a:spcAft>
                <a:spcPts val="0"/>
              </a:spcAft>
              <a:defRPr/>
            </a:pPr>
            <a:r>
              <a:rPr lang="en-US" sz="2105" b="1" noProof="1">
                <a:solidFill>
                  <a:srgbClr val="FFFFFF"/>
                </a:solidFill>
                <a:latin typeface="Arial"/>
                <a:cs typeface="Arial"/>
              </a:rPr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2122284794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73595" y="627544"/>
            <a:ext cx="13980331" cy="433186"/>
          </a:xfrm>
        </p:spPr>
        <p:txBody>
          <a:bodyPr/>
          <a:lstStyle>
            <a:lvl1pPr>
              <a:defRPr sz="3087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4"/>
          </p:nvPr>
        </p:nvSpPr>
        <p:spPr>
          <a:xfrm>
            <a:off x="297812" y="201216"/>
            <a:ext cx="5766927" cy="25953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8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14117444" y="247407"/>
            <a:ext cx="392330" cy="263726"/>
          </a:xfrm>
          <a:prstGeom prst="rect">
            <a:avLst/>
          </a:prstGeom>
        </p:spPr>
        <p:txBody>
          <a:bodyPr vert="horz" lIns="0" tIns="44028" rIns="69331" bIns="44028" rtlCol="0" anchor="ctr"/>
          <a:lstStyle>
            <a:lvl1pPr algn="l">
              <a:defRPr sz="1403" b="1">
                <a:solidFill>
                  <a:schemeClr val="bg1"/>
                </a:solidFill>
                <a:latin typeface="+mn-lt"/>
              </a:defRPr>
            </a:lvl1pPr>
          </a:lstStyle>
          <a:p>
            <a:fld id="{7103653F-4628-4CCA-BBFC-10994C39EA7C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1194263" y="1389071"/>
            <a:ext cx="12630379" cy="863103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/>
          <a:p>
            <a:pPr lvl="0"/>
            <a:r>
              <a:rPr lang="en-US" dirty="0"/>
              <a:t>Click to edit text</a:t>
            </a:r>
            <a:endParaRPr lang="en-IN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1194263" y="2665951"/>
            <a:ext cx="12630379" cy="863103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/>
          <a:p>
            <a:pPr lvl="0"/>
            <a:r>
              <a:rPr lang="en-US" dirty="0"/>
              <a:t>Click to edit text</a:t>
            </a:r>
            <a:endParaRPr lang="en-IN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7" hasCustomPrompt="1"/>
          </p:nvPr>
        </p:nvSpPr>
        <p:spPr>
          <a:xfrm>
            <a:off x="1194263" y="3942828"/>
            <a:ext cx="12630379" cy="863103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/>
          <a:p>
            <a:pPr lvl="0"/>
            <a:r>
              <a:rPr lang="en-US" dirty="0"/>
              <a:t>Click to edit text</a:t>
            </a:r>
            <a:endParaRPr lang="en-IN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8" hasCustomPrompt="1"/>
          </p:nvPr>
        </p:nvSpPr>
        <p:spPr>
          <a:xfrm>
            <a:off x="1194263" y="5219706"/>
            <a:ext cx="12630379" cy="863103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/>
          <a:p>
            <a:pPr lvl="0"/>
            <a:r>
              <a:rPr lang="en-US" dirty="0"/>
              <a:t>Click to edit text</a:t>
            </a:r>
            <a:endParaRPr lang="en-IN" dirty="0"/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19" hasCustomPrompt="1"/>
          </p:nvPr>
        </p:nvSpPr>
        <p:spPr>
          <a:xfrm>
            <a:off x="225024" y="1340543"/>
            <a:ext cx="1010430" cy="863103"/>
          </a:xfrm>
          <a:prstGeom prst="flowChartConnector">
            <a:avLst/>
          </a:prstGeom>
          <a:solidFill>
            <a:schemeClr val="tx2">
              <a:lumMod val="50000"/>
            </a:schemeClr>
          </a:solidFill>
        </p:spPr>
        <p:txBody>
          <a:bodyPr anchor="ctr"/>
          <a:lstStyle>
            <a:lvl1pPr marL="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20" hasCustomPrompt="1"/>
          </p:nvPr>
        </p:nvSpPr>
        <p:spPr>
          <a:xfrm>
            <a:off x="225024" y="2639582"/>
            <a:ext cx="1010430" cy="863103"/>
          </a:xfrm>
          <a:prstGeom prst="flowChartConnector">
            <a:avLst/>
          </a:prstGeom>
          <a:solidFill>
            <a:schemeClr val="tx2">
              <a:lumMod val="50000"/>
            </a:schemeClr>
          </a:solidFill>
        </p:spPr>
        <p:txBody>
          <a:bodyPr anchor="ctr"/>
          <a:lstStyle>
            <a:lvl1pPr marL="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2</a:t>
            </a:r>
            <a:endParaRPr lang="en-IN" dirty="0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21" hasCustomPrompt="1"/>
          </p:nvPr>
        </p:nvSpPr>
        <p:spPr>
          <a:xfrm>
            <a:off x="225024" y="3938622"/>
            <a:ext cx="1010430" cy="863103"/>
          </a:xfrm>
          <a:prstGeom prst="flowChartConnector">
            <a:avLst/>
          </a:prstGeom>
          <a:solidFill>
            <a:schemeClr val="tx2">
              <a:lumMod val="50000"/>
            </a:schemeClr>
          </a:solidFill>
        </p:spPr>
        <p:txBody>
          <a:bodyPr anchor="ctr"/>
          <a:lstStyle>
            <a:lvl1pPr marL="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3</a:t>
            </a:r>
            <a:endParaRPr lang="en-IN" dirty="0"/>
          </a:p>
        </p:txBody>
      </p:sp>
      <p:sp>
        <p:nvSpPr>
          <p:cNvPr id="32" name="Text Placeholder 31"/>
          <p:cNvSpPr>
            <a:spLocks noGrp="1"/>
          </p:cNvSpPr>
          <p:nvPr>
            <p:ph type="body" sz="quarter" idx="22" hasCustomPrompt="1"/>
          </p:nvPr>
        </p:nvSpPr>
        <p:spPr>
          <a:xfrm>
            <a:off x="225024" y="5237658"/>
            <a:ext cx="1010430" cy="863103"/>
          </a:xfrm>
          <a:prstGeom prst="flowChartConnector">
            <a:avLst/>
          </a:prstGeom>
          <a:solidFill>
            <a:schemeClr val="tx2">
              <a:lumMod val="50000"/>
            </a:schemeClr>
          </a:solidFill>
        </p:spPr>
        <p:txBody>
          <a:bodyPr anchor="ctr"/>
          <a:lstStyle>
            <a:lvl1pPr marL="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4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955558037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with image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6910" y="593806"/>
            <a:ext cx="14234164" cy="433186"/>
          </a:xfrm>
        </p:spPr>
        <p:txBody>
          <a:bodyPr/>
          <a:lstStyle>
            <a:lvl1pPr>
              <a:defRPr sz="2526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271103" y="1212848"/>
            <a:ext cx="14022352" cy="444634"/>
          </a:xfrm>
        </p:spPr>
        <p:txBody>
          <a:bodyPr/>
          <a:lstStyle>
            <a:lvl1pPr>
              <a:buNone/>
              <a:defRPr sz="2105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ijdelijke aanduiding voor tekst 20"/>
          <p:cNvSpPr>
            <a:spLocks noGrp="1"/>
          </p:cNvSpPr>
          <p:nvPr>
            <p:ph type="body" sz="quarter" idx="19"/>
          </p:nvPr>
        </p:nvSpPr>
        <p:spPr>
          <a:xfrm>
            <a:off x="3887905" y="1919708"/>
            <a:ext cx="10251069" cy="1583865"/>
          </a:xfrm>
          <a:solidFill>
            <a:schemeClr val="tx2">
              <a:lumMod val="20000"/>
              <a:lumOff val="80000"/>
            </a:schemeClr>
          </a:solidFill>
        </p:spPr>
        <p:txBody>
          <a:bodyPr anchor="t" anchorCtr="0"/>
          <a:lstStyle>
            <a:lvl1pPr>
              <a:spcBef>
                <a:spcPts val="0"/>
              </a:spcBef>
              <a:defRPr sz="1824"/>
            </a:lvl1pPr>
            <a:lvl2pPr>
              <a:spcBef>
                <a:spcPts val="0"/>
              </a:spcBef>
              <a:defRPr sz="1824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2" name="Tijdelijke aanduiding voor tekst 20"/>
          <p:cNvSpPr>
            <a:spLocks noGrp="1"/>
          </p:cNvSpPr>
          <p:nvPr>
            <p:ph type="body" sz="quarter" idx="20"/>
          </p:nvPr>
        </p:nvSpPr>
        <p:spPr>
          <a:xfrm>
            <a:off x="3887905" y="5872105"/>
            <a:ext cx="10251069" cy="1583865"/>
          </a:xfrm>
          <a:solidFill>
            <a:schemeClr val="tx2">
              <a:lumMod val="20000"/>
              <a:lumOff val="80000"/>
            </a:schemeClr>
          </a:solidFill>
        </p:spPr>
        <p:txBody>
          <a:bodyPr anchor="t" anchorCtr="0"/>
          <a:lstStyle>
            <a:lvl1pPr>
              <a:spcBef>
                <a:spcPts val="0"/>
              </a:spcBef>
              <a:defRPr sz="1824"/>
            </a:lvl1pPr>
            <a:lvl2pPr>
              <a:spcBef>
                <a:spcPts val="0"/>
              </a:spcBef>
              <a:defRPr sz="1824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Tijdelijke aanduiding voor tekst 20"/>
          <p:cNvSpPr>
            <a:spLocks noGrp="1"/>
          </p:cNvSpPr>
          <p:nvPr>
            <p:ph type="body" sz="quarter" idx="21"/>
          </p:nvPr>
        </p:nvSpPr>
        <p:spPr>
          <a:xfrm>
            <a:off x="3887905" y="3895907"/>
            <a:ext cx="10251069" cy="1583865"/>
          </a:xfrm>
          <a:solidFill>
            <a:schemeClr val="tx2">
              <a:lumMod val="20000"/>
              <a:lumOff val="80000"/>
            </a:schemeClr>
          </a:solidFill>
        </p:spPr>
        <p:txBody>
          <a:bodyPr anchor="t" anchorCtr="0"/>
          <a:lstStyle>
            <a:lvl1pPr>
              <a:spcBef>
                <a:spcPts val="0"/>
              </a:spcBef>
              <a:defRPr sz="1824"/>
            </a:lvl1pPr>
            <a:lvl2pPr>
              <a:spcBef>
                <a:spcPts val="0"/>
              </a:spcBef>
              <a:defRPr sz="1824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ijdelijke aanduiding voor afbeelding 12"/>
          <p:cNvSpPr>
            <a:spLocks noGrp="1"/>
          </p:cNvSpPr>
          <p:nvPr>
            <p:ph type="pic" sz="quarter" idx="22"/>
          </p:nvPr>
        </p:nvSpPr>
        <p:spPr>
          <a:xfrm>
            <a:off x="375174" y="1919708"/>
            <a:ext cx="3226928" cy="1583865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 dirty="0"/>
              <a:t>Click icon to add picture</a:t>
            </a:r>
            <a:endParaRPr lang="nl-NL" noProof="0"/>
          </a:p>
        </p:txBody>
      </p:sp>
      <p:sp>
        <p:nvSpPr>
          <p:cNvPr id="14" name="Tijdelijke aanduiding voor afbeelding 12"/>
          <p:cNvSpPr>
            <a:spLocks noGrp="1"/>
          </p:cNvSpPr>
          <p:nvPr>
            <p:ph type="pic" sz="quarter" idx="23"/>
          </p:nvPr>
        </p:nvSpPr>
        <p:spPr>
          <a:xfrm>
            <a:off x="355374" y="3895907"/>
            <a:ext cx="3244084" cy="1583865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 dirty="0"/>
              <a:t>Click icon to add picture</a:t>
            </a:r>
            <a:endParaRPr lang="nl-NL" noProof="0"/>
          </a:p>
        </p:txBody>
      </p:sp>
      <p:sp>
        <p:nvSpPr>
          <p:cNvPr id="15" name="Tijdelijke aanduiding voor afbeelding 12"/>
          <p:cNvSpPr>
            <a:spLocks noGrp="1"/>
          </p:cNvSpPr>
          <p:nvPr>
            <p:ph type="pic" sz="quarter" idx="24"/>
          </p:nvPr>
        </p:nvSpPr>
        <p:spPr>
          <a:xfrm>
            <a:off x="394866" y="5872105"/>
            <a:ext cx="3204600" cy="1583865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 dirty="0"/>
              <a:t>Click icon to add picture</a:t>
            </a:r>
            <a:endParaRPr lang="nl-NL" noProof="0"/>
          </a:p>
        </p:txBody>
      </p:sp>
      <p:sp>
        <p:nvSpPr>
          <p:cNvPr id="10" name="Rectangle 5"/>
          <p:cNvSpPr>
            <a:spLocks noGrp="1" noChangeArrowheads="1"/>
          </p:cNvSpPr>
          <p:nvPr>
            <p:ph type="sldNum" sz="quarter" idx="2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1C7F818-1137-44F4-B6D6-BECAD6B9515E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1" name="Rectangle 6"/>
          <p:cNvSpPr>
            <a:spLocks noGrp="1" noChangeArrowheads="1"/>
          </p:cNvSpPr>
          <p:nvPr>
            <p:ph type="ftr" sz="quarter" idx="26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83551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image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8759" y="1015223"/>
            <a:ext cx="13352712" cy="433186"/>
          </a:xfrm>
        </p:spPr>
        <p:txBody>
          <a:bodyPr/>
          <a:lstStyle>
            <a:lvl1pPr>
              <a:defRPr sz="2526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646263" y="1819941"/>
            <a:ext cx="13378153" cy="444634"/>
          </a:xfrm>
        </p:spPr>
        <p:txBody>
          <a:bodyPr/>
          <a:lstStyle>
            <a:lvl1pPr>
              <a:buNone/>
              <a:defRPr sz="2105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ijdelijke aanduiding voor tekst 20"/>
          <p:cNvSpPr>
            <a:spLocks noGrp="1"/>
          </p:cNvSpPr>
          <p:nvPr>
            <p:ph type="body" sz="quarter" idx="19"/>
          </p:nvPr>
        </p:nvSpPr>
        <p:spPr>
          <a:xfrm>
            <a:off x="5214971" y="2509950"/>
            <a:ext cx="8791575" cy="2423400"/>
          </a:xfrm>
          <a:solidFill>
            <a:schemeClr val="tx2">
              <a:lumMod val="20000"/>
              <a:lumOff val="80000"/>
            </a:schemeClr>
          </a:solidFill>
        </p:spPr>
        <p:txBody>
          <a:bodyPr anchor="t" anchorCtr="0"/>
          <a:lstStyle>
            <a:lvl1pPr>
              <a:spcBef>
                <a:spcPts val="0"/>
              </a:spcBef>
              <a:defRPr sz="1824"/>
            </a:lvl1pPr>
            <a:lvl2pPr>
              <a:spcBef>
                <a:spcPts val="0"/>
              </a:spcBef>
              <a:defRPr sz="1824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Tijdelijke aanduiding voor tekst 20"/>
          <p:cNvSpPr>
            <a:spLocks noGrp="1"/>
          </p:cNvSpPr>
          <p:nvPr>
            <p:ph type="body" sz="quarter" idx="21"/>
          </p:nvPr>
        </p:nvSpPr>
        <p:spPr>
          <a:xfrm>
            <a:off x="5214971" y="5262240"/>
            <a:ext cx="8791575" cy="2423400"/>
          </a:xfrm>
          <a:solidFill>
            <a:schemeClr val="tx2">
              <a:lumMod val="20000"/>
              <a:lumOff val="80000"/>
            </a:schemeClr>
          </a:solidFill>
        </p:spPr>
        <p:txBody>
          <a:bodyPr anchor="t" anchorCtr="0"/>
          <a:lstStyle>
            <a:lvl1pPr>
              <a:spcBef>
                <a:spcPts val="0"/>
              </a:spcBef>
              <a:defRPr sz="1824"/>
            </a:lvl1pPr>
            <a:lvl2pPr>
              <a:spcBef>
                <a:spcPts val="0"/>
              </a:spcBef>
              <a:defRPr sz="1824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ijdelijke aanduiding voor afbeelding 12"/>
          <p:cNvSpPr>
            <a:spLocks noGrp="1" noChangeAspect="1"/>
          </p:cNvSpPr>
          <p:nvPr>
            <p:ph type="pic" sz="quarter" idx="22"/>
          </p:nvPr>
        </p:nvSpPr>
        <p:spPr>
          <a:xfrm>
            <a:off x="648694" y="2509950"/>
            <a:ext cx="4222725" cy="24234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 dirty="0"/>
              <a:t>Click icon to add picture</a:t>
            </a:r>
            <a:endParaRPr lang="nl-NL" noProof="0"/>
          </a:p>
        </p:txBody>
      </p:sp>
      <p:sp>
        <p:nvSpPr>
          <p:cNvPr id="14" name="Tijdelijke aanduiding voor afbeelding 12"/>
          <p:cNvSpPr>
            <a:spLocks noGrp="1" noChangeAspect="1"/>
          </p:cNvSpPr>
          <p:nvPr>
            <p:ph type="pic" sz="quarter" idx="23"/>
          </p:nvPr>
        </p:nvSpPr>
        <p:spPr>
          <a:xfrm>
            <a:off x="646101" y="5262240"/>
            <a:ext cx="4222725" cy="24234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 dirty="0"/>
              <a:t>Click icon to add picture</a:t>
            </a:r>
            <a:endParaRPr lang="nl-NL" noProof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sldNum" sz="quarter" idx="24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5A22AC8-36D9-4965-81AD-19038FCC0CCE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0" name="Rectangle 6"/>
          <p:cNvSpPr>
            <a:spLocks noGrp="1" noChangeArrowheads="1"/>
          </p:cNvSpPr>
          <p:nvPr>
            <p:ph type="ftr" sz="quarter" idx="2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6530122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72423" y="627534"/>
            <a:ext cx="14059299" cy="433186"/>
          </a:xfrm>
        </p:spPr>
        <p:txBody>
          <a:bodyPr/>
          <a:lstStyle>
            <a:lvl1pPr>
              <a:defRPr sz="2526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16" name="Tijdelijke aanduiding voor tekst 15"/>
          <p:cNvSpPr>
            <a:spLocks noGrp="1"/>
          </p:cNvSpPr>
          <p:nvPr>
            <p:ph type="body" sz="quarter" idx="14"/>
          </p:nvPr>
        </p:nvSpPr>
        <p:spPr>
          <a:xfrm>
            <a:off x="533113" y="2307581"/>
            <a:ext cx="6732106" cy="432750"/>
          </a:xfrm>
          <a:solidFill>
            <a:schemeClr val="tx2">
              <a:lumMod val="20000"/>
              <a:lumOff val="80000"/>
            </a:schemeClr>
          </a:solidFill>
        </p:spPr>
        <p:txBody>
          <a:bodyPr lIns="179663" anchor="ctr"/>
          <a:lstStyle>
            <a:lvl1pPr marL="0" indent="0" algn="l">
              <a:spcBef>
                <a:spcPts val="0"/>
              </a:spcBef>
              <a:buNone/>
              <a:defRPr sz="182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7" name="Tijdelijke aanduiding voor tekst 15"/>
          <p:cNvSpPr>
            <a:spLocks noGrp="1"/>
          </p:cNvSpPr>
          <p:nvPr>
            <p:ph type="body" sz="quarter" idx="15"/>
          </p:nvPr>
        </p:nvSpPr>
        <p:spPr>
          <a:xfrm>
            <a:off x="7676997" y="2307581"/>
            <a:ext cx="6655817" cy="432750"/>
          </a:xfrm>
          <a:solidFill>
            <a:schemeClr val="accent5">
              <a:lumMod val="60000"/>
              <a:lumOff val="40000"/>
            </a:schemeClr>
          </a:solidFill>
        </p:spPr>
        <p:txBody>
          <a:bodyPr lIns="179663" anchor="ctr"/>
          <a:lstStyle>
            <a:lvl1pPr marL="0" indent="0">
              <a:spcBef>
                <a:spcPts val="0"/>
              </a:spcBef>
              <a:buNone/>
              <a:defRPr sz="182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330275" y="1263440"/>
            <a:ext cx="14081579" cy="444634"/>
          </a:xfrm>
        </p:spPr>
        <p:txBody>
          <a:bodyPr/>
          <a:lstStyle>
            <a:lvl1pPr>
              <a:buNone/>
              <a:defRPr sz="2105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ijdelijke aanduiding voor tekst 20"/>
          <p:cNvSpPr>
            <a:spLocks noGrp="1"/>
          </p:cNvSpPr>
          <p:nvPr>
            <p:ph type="body" sz="quarter" idx="19"/>
          </p:nvPr>
        </p:nvSpPr>
        <p:spPr>
          <a:xfrm>
            <a:off x="533113" y="2718695"/>
            <a:ext cx="6732106" cy="4721303"/>
          </a:xfrm>
        </p:spPr>
        <p:txBody>
          <a:bodyPr/>
          <a:lstStyle>
            <a:lvl1pPr>
              <a:defRPr sz="1824"/>
            </a:lvl1pPr>
            <a:lvl2pPr>
              <a:defRPr sz="1824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1" name="Tijdelijke aanduiding voor tekst 20"/>
          <p:cNvSpPr>
            <a:spLocks noGrp="1"/>
          </p:cNvSpPr>
          <p:nvPr>
            <p:ph type="body" sz="quarter" idx="20"/>
          </p:nvPr>
        </p:nvSpPr>
        <p:spPr>
          <a:xfrm>
            <a:off x="7677077" y="2718695"/>
            <a:ext cx="6655817" cy="4721303"/>
          </a:xfrm>
        </p:spPr>
        <p:txBody>
          <a:bodyPr/>
          <a:lstStyle>
            <a:lvl1pPr>
              <a:defRPr sz="1824"/>
            </a:lvl1pPr>
            <a:lvl2pPr>
              <a:defRPr sz="1824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8" name="Rectangle 5"/>
          <p:cNvSpPr>
            <a:spLocks noGrp="1" noChangeArrowheads="1"/>
          </p:cNvSpPr>
          <p:nvPr>
            <p:ph type="sldNum" sz="quarter" idx="2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EEDDE4F-381E-4904-8E4A-86B45F5FCC9F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2" name="Rectangle 6"/>
          <p:cNvSpPr>
            <a:spLocks noGrp="1" noChangeArrowheads="1"/>
          </p:cNvSpPr>
          <p:nvPr>
            <p:ph type="ftr" sz="quarter" idx="2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8815157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8759" y="1015223"/>
            <a:ext cx="13352712" cy="433186"/>
          </a:xfrm>
        </p:spPr>
        <p:txBody>
          <a:bodyPr/>
          <a:lstStyle>
            <a:lvl1pPr>
              <a:defRPr sz="2526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16" name="Tijdelijke aanduiding voor tekst 15"/>
          <p:cNvSpPr>
            <a:spLocks noGrp="1"/>
          </p:cNvSpPr>
          <p:nvPr>
            <p:ph type="body" sz="quarter" idx="14"/>
          </p:nvPr>
        </p:nvSpPr>
        <p:spPr>
          <a:xfrm>
            <a:off x="646101" y="2509950"/>
            <a:ext cx="4222725" cy="432750"/>
          </a:xfrm>
          <a:solidFill>
            <a:schemeClr val="tx2">
              <a:lumMod val="20000"/>
              <a:lumOff val="80000"/>
            </a:schemeClr>
          </a:solidFill>
        </p:spPr>
        <p:txBody>
          <a:bodyPr lIns="179663" anchor="ctr"/>
          <a:lstStyle>
            <a:lvl1pPr marL="0" indent="0" algn="l">
              <a:spcBef>
                <a:spcPts val="0"/>
              </a:spcBef>
              <a:buNone/>
              <a:defRPr sz="182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7" name="Tijdelijke aanduiding voor tekst 15"/>
          <p:cNvSpPr>
            <a:spLocks noGrp="1"/>
          </p:cNvSpPr>
          <p:nvPr>
            <p:ph type="body" sz="quarter" idx="15"/>
          </p:nvPr>
        </p:nvSpPr>
        <p:spPr>
          <a:xfrm>
            <a:off x="5220723" y="2509950"/>
            <a:ext cx="4222725" cy="432750"/>
          </a:xfrm>
          <a:solidFill>
            <a:schemeClr val="bg1">
              <a:lumMod val="85000"/>
            </a:schemeClr>
          </a:solidFill>
        </p:spPr>
        <p:txBody>
          <a:bodyPr lIns="179663" anchor="ctr"/>
          <a:lstStyle>
            <a:lvl1pPr marL="0" indent="0">
              <a:spcBef>
                <a:spcPts val="0"/>
              </a:spcBef>
              <a:buNone/>
              <a:defRPr sz="182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646263" y="1819941"/>
            <a:ext cx="13378153" cy="444634"/>
          </a:xfrm>
        </p:spPr>
        <p:txBody>
          <a:bodyPr/>
          <a:lstStyle>
            <a:lvl1pPr>
              <a:buNone/>
              <a:defRPr sz="2105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ijdelijke aanduiding voor tekst 15"/>
          <p:cNvSpPr>
            <a:spLocks noGrp="1"/>
          </p:cNvSpPr>
          <p:nvPr>
            <p:ph type="body" sz="quarter" idx="18"/>
          </p:nvPr>
        </p:nvSpPr>
        <p:spPr>
          <a:xfrm>
            <a:off x="9778032" y="2509950"/>
            <a:ext cx="4222725" cy="432750"/>
          </a:xfrm>
          <a:solidFill>
            <a:schemeClr val="tx2">
              <a:lumMod val="20000"/>
              <a:lumOff val="80000"/>
            </a:schemeClr>
          </a:solidFill>
        </p:spPr>
        <p:txBody>
          <a:bodyPr lIns="179663" anchor="ctr"/>
          <a:lstStyle>
            <a:lvl1pPr marL="0" indent="0">
              <a:spcBef>
                <a:spcPts val="0"/>
              </a:spcBef>
              <a:buNone/>
              <a:defRPr sz="182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1" name="Tijdelijke aanduiding voor tekst 20"/>
          <p:cNvSpPr>
            <a:spLocks noGrp="1"/>
          </p:cNvSpPr>
          <p:nvPr>
            <p:ph type="body" sz="quarter" idx="19"/>
          </p:nvPr>
        </p:nvSpPr>
        <p:spPr>
          <a:xfrm>
            <a:off x="646101" y="2921064"/>
            <a:ext cx="4222725" cy="4721303"/>
          </a:xfrm>
        </p:spPr>
        <p:txBody>
          <a:bodyPr/>
          <a:lstStyle>
            <a:lvl1pPr>
              <a:defRPr sz="1824"/>
            </a:lvl1pPr>
            <a:lvl2pPr>
              <a:defRPr sz="1824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2" name="Tijdelijke aanduiding voor tekst 20"/>
          <p:cNvSpPr>
            <a:spLocks noGrp="1"/>
          </p:cNvSpPr>
          <p:nvPr>
            <p:ph type="body" sz="quarter" idx="20"/>
          </p:nvPr>
        </p:nvSpPr>
        <p:spPr>
          <a:xfrm>
            <a:off x="5220723" y="2921064"/>
            <a:ext cx="4222725" cy="4721303"/>
          </a:xfrm>
        </p:spPr>
        <p:txBody>
          <a:bodyPr/>
          <a:lstStyle>
            <a:lvl1pPr>
              <a:defRPr sz="1824"/>
            </a:lvl1pPr>
            <a:lvl2pPr>
              <a:defRPr sz="1824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Tijdelijke aanduiding voor tekst 20"/>
          <p:cNvSpPr>
            <a:spLocks noGrp="1"/>
          </p:cNvSpPr>
          <p:nvPr>
            <p:ph type="body" sz="quarter" idx="21"/>
          </p:nvPr>
        </p:nvSpPr>
        <p:spPr>
          <a:xfrm>
            <a:off x="9778032" y="2921064"/>
            <a:ext cx="4222725" cy="4721303"/>
          </a:xfrm>
        </p:spPr>
        <p:txBody>
          <a:bodyPr/>
          <a:lstStyle>
            <a:lvl1pPr>
              <a:defRPr sz="1824"/>
            </a:lvl1pPr>
            <a:lvl2pPr>
              <a:defRPr sz="1824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Rectangle 5"/>
          <p:cNvSpPr>
            <a:spLocks noGrp="1" noChangeArrowheads="1"/>
          </p:cNvSpPr>
          <p:nvPr>
            <p:ph type="sldNum" sz="quarter" idx="2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F7271F2-7CBD-49FF-AC82-FB447FEFDDB6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2" name="Rectangle 6"/>
          <p:cNvSpPr>
            <a:spLocks noGrp="1" noChangeArrowheads="1"/>
          </p:cNvSpPr>
          <p:nvPr>
            <p:ph type="ftr" sz="quarter" idx="23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7306307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with image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6907" y="593618"/>
            <a:ext cx="14234164" cy="433186"/>
          </a:xfrm>
        </p:spPr>
        <p:txBody>
          <a:bodyPr/>
          <a:lstStyle>
            <a:lvl1pPr>
              <a:defRPr sz="2807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271038" y="1212623"/>
            <a:ext cx="14022352" cy="444634"/>
          </a:xfrm>
        </p:spPr>
        <p:txBody>
          <a:bodyPr/>
          <a:lstStyle>
            <a:lvl1pPr>
              <a:buNone/>
              <a:defRPr sz="2245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ijdelijke aanduiding voor tekst 20"/>
          <p:cNvSpPr>
            <a:spLocks noGrp="1"/>
          </p:cNvSpPr>
          <p:nvPr>
            <p:ph type="body" sz="quarter" idx="19"/>
          </p:nvPr>
        </p:nvSpPr>
        <p:spPr>
          <a:xfrm>
            <a:off x="3887894" y="1919708"/>
            <a:ext cx="10251069" cy="1583865"/>
          </a:xfrm>
          <a:solidFill>
            <a:schemeClr val="tx2">
              <a:lumMod val="20000"/>
              <a:lumOff val="80000"/>
            </a:schemeClr>
          </a:solidFill>
        </p:spPr>
        <p:txBody>
          <a:bodyPr anchor="t" anchorCtr="0"/>
          <a:lstStyle>
            <a:lvl1pPr>
              <a:spcBef>
                <a:spcPts val="0"/>
              </a:spcBef>
              <a:defRPr sz="1964"/>
            </a:lvl1pPr>
            <a:lvl2pPr>
              <a:spcBef>
                <a:spcPts val="0"/>
              </a:spcBef>
              <a:defRPr sz="1964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2" name="Tijdelijke aanduiding voor tekst 20"/>
          <p:cNvSpPr>
            <a:spLocks noGrp="1"/>
          </p:cNvSpPr>
          <p:nvPr>
            <p:ph type="body" sz="quarter" idx="20"/>
          </p:nvPr>
        </p:nvSpPr>
        <p:spPr>
          <a:xfrm>
            <a:off x="3887894" y="5872105"/>
            <a:ext cx="10251069" cy="1583865"/>
          </a:xfrm>
          <a:solidFill>
            <a:schemeClr val="tx2">
              <a:lumMod val="20000"/>
              <a:lumOff val="80000"/>
            </a:schemeClr>
          </a:solidFill>
        </p:spPr>
        <p:txBody>
          <a:bodyPr anchor="t" anchorCtr="0"/>
          <a:lstStyle>
            <a:lvl1pPr>
              <a:spcBef>
                <a:spcPts val="0"/>
              </a:spcBef>
              <a:defRPr sz="1964"/>
            </a:lvl1pPr>
            <a:lvl2pPr>
              <a:spcBef>
                <a:spcPts val="0"/>
              </a:spcBef>
              <a:defRPr sz="1964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Tijdelijke aanduiding voor tekst 20"/>
          <p:cNvSpPr>
            <a:spLocks noGrp="1"/>
          </p:cNvSpPr>
          <p:nvPr>
            <p:ph type="body" sz="quarter" idx="21"/>
          </p:nvPr>
        </p:nvSpPr>
        <p:spPr>
          <a:xfrm>
            <a:off x="3887894" y="3895907"/>
            <a:ext cx="10251069" cy="1583865"/>
          </a:xfrm>
          <a:solidFill>
            <a:schemeClr val="tx2">
              <a:lumMod val="20000"/>
              <a:lumOff val="80000"/>
            </a:schemeClr>
          </a:solidFill>
        </p:spPr>
        <p:txBody>
          <a:bodyPr anchor="t" anchorCtr="0"/>
          <a:lstStyle>
            <a:lvl1pPr>
              <a:spcBef>
                <a:spcPts val="0"/>
              </a:spcBef>
              <a:defRPr sz="1964"/>
            </a:lvl1pPr>
            <a:lvl2pPr>
              <a:spcBef>
                <a:spcPts val="0"/>
              </a:spcBef>
              <a:defRPr sz="1964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ijdelijke aanduiding voor afbeelding 12"/>
          <p:cNvSpPr>
            <a:spLocks noGrp="1"/>
          </p:cNvSpPr>
          <p:nvPr>
            <p:ph type="pic" sz="quarter" idx="22"/>
          </p:nvPr>
        </p:nvSpPr>
        <p:spPr>
          <a:xfrm>
            <a:off x="375114" y="1919708"/>
            <a:ext cx="3226928" cy="1583865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 dirty="0"/>
              <a:t>Click icon to add picture</a:t>
            </a:r>
            <a:endParaRPr lang="nl-NL" noProof="0"/>
          </a:p>
        </p:txBody>
      </p:sp>
      <p:sp>
        <p:nvSpPr>
          <p:cNvPr id="14" name="Tijdelijke aanduiding voor afbeelding 12"/>
          <p:cNvSpPr>
            <a:spLocks noGrp="1"/>
          </p:cNvSpPr>
          <p:nvPr>
            <p:ph type="pic" sz="quarter" idx="23"/>
          </p:nvPr>
        </p:nvSpPr>
        <p:spPr>
          <a:xfrm>
            <a:off x="355374" y="3895907"/>
            <a:ext cx="3244085" cy="1583865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 dirty="0"/>
              <a:t>Click icon to add picture</a:t>
            </a:r>
            <a:endParaRPr lang="nl-NL" noProof="0"/>
          </a:p>
        </p:txBody>
      </p:sp>
      <p:sp>
        <p:nvSpPr>
          <p:cNvPr id="15" name="Tijdelijke aanduiding voor afbeelding 12"/>
          <p:cNvSpPr>
            <a:spLocks noGrp="1"/>
          </p:cNvSpPr>
          <p:nvPr>
            <p:ph type="pic" sz="quarter" idx="24"/>
          </p:nvPr>
        </p:nvSpPr>
        <p:spPr>
          <a:xfrm>
            <a:off x="394854" y="5872105"/>
            <a:ext cx="3204602" cy="1583865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 dirty="0"/>
              <a:t>Click icon to add picture</a:t>
            </a:r>
            <a:endParaRPr lang="nl-NL" noProof="0"/>
          </a:p>
        </p:txBody>
      </p:sp>
      <p:sp>
        <p:nvSpPr>
          <p:cNvPr id="10" name="Rectangle 5"/>
          <p:cNvSpPr>
            <a:spLocks noGrp="1" noChangeArrowheads="1"/>
          </p:cNvSpPr>
          <p:nvPr>
            <p:ph type="sldNum" sz="quarter" idx="25"/>
          </p:nvPr>
        </p:nvSpPr>
        <p:spPr>
          <a:xfrm>
            <a:off x="13990563" y="201216"/>
            <a:ext cx="806402" cy="25953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1C7F818-1137-44F4-B6D6-BECAD6B9515E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ftr" sz="quarter" idx="26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8759" y="1015223"/>
            <a:ext cx="13352712" cy="433186"/>
          </a:xfrm>
        </p:spPr>
        <p:txBody>
          <a:bodyPr/>
          <a:lstStyle>
            <a:lvl1pPr>
              <a:defRPr sz="2526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6" name="Tijdelijke aanduiding voor tekst 15"/>
          <p:cNvSpPr>
            <a:spLocks noGrp="1"/>
          </p:cNvSpPr>
          <p:nvPr>
            <p:ph type="body" sz="quarter" idx="14"/>
          </p:nvPr>
        </p:nvSpPr>
        <p:spPr>
          <a:xfrm>
            <a:off x="646110" y="2509950"/>
            <a:ext cx="13355299" cy="432750"/>
          </a:xfrm>
          <a:solidFill>
            <a:schemeClr val="tx2">
              <a:lumMod val="20000"/>
              <a:lumOff val="80000"/>
            </a:schemeClr>
          </a:solidFill>
        </p:spPr>
        <p:txBody>
          <a:bodyPr lIns="179663" anchor="ctr"/>
          <a:lstStyle>
            <a:lvl1pPr marL="0" indent="0" algn="l">
              <a:spcBef>
                <a:spcPts val="0"/>
              </a:spcBef>
              <a:buNone/>
              <a:defRPr sz="182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646263" y="1819941"/>
            <a:ext cx="13378153" cy="444634"/>
          </a:xfrm>
        </p:spPr>
        <p:txBody>
          <a:bodyPr/>
          <a:lstStyle>
            <a:lvl1pPr>
              <a:buNone/>
              <a:defRPr sz="2105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Tijdelijke aanduiding voor tekst 10"/>
          <p:cNvSpPr>
            <a:spLocks noGrp="1"/>
          </p:cNvSpPr>
          <p:nvPr>
            <p:ph type="body" sz="quarter" idx="18"/>
          </p:nvPr>
        </p:nvSpPr>
        <p:spPr>
          <a:xfrm>
            <a:off x="646230" y="2942700"/>
            <a:ext cx="13355258" cy="1151115"/>
          </a:xfrm>
        </p:spPr>
        <p:txBody>
          <a:bodyPr/>
          <a:lstStyle>
            <a:lvl1pPr>
              <a:spcBef>
                <a:spcPts val="0"/>
              </a:spcBef>
              <a:defRPr sz="1824"/>
            </a:lvl1pPr>
            <a:lvl2pPr>
              <a:spcBef>
                <a:spcPts val="0"/>
              </a:spcBef>
              <a:defRPr sz="1824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9" name="Tijdelijke aanduiding voor tekst 10"/>
          <p:cNvSpPr>
            <a:spLocks noGrp="1"/>
          </p:cNvSpPr>
          <p:nvPr>
            <p:ph type="body" sz="quarter" idx="19"/>
          </p:nvPr>
        </p:nvSpPr>
        <p:spPr>
          <a:xfrm>
            <a:off x="646267" y="4703994"/>
            <a:ext cx="13355258" cy="1151115"/>
          </a:xfrm>
        </p:spPr>
        <p:txBody>
          <a:bodyPr/>
          <a:lstStyle>
            <a:lvl1pPr>
              <a:spcBef>
                <a:spcPts val="0"/>
              </a:spcBef>
              <a:defRPr sz="1824"/>
            </a:lvl1pPr>
            <a:lvl2pPr>
              <a:spcBef>
                <a:spcPts val="0"/>
              </a:spcBef>
              <a:defRPr sz="1824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0" name="Tijdelijke aanduiding voor tekst 10"/>
          <p:cNvSpPr>
            <a:spLocks noGrp="1"/>
          </p:cNvSpPr>
          <p:nvPr>
            <p:ph type="body" sz="quarter" idx="20"/>
          </p:nvPr>
        </p:nvSpPr>
        <p:spPr>
          <a:xfrm>
            <a:off x="646267" y="6469613"/>
            <a:ext cx="13355258" cy="1151115"/>
          </a:xfrm>
        </p:spPr>
        <p:txBody>
          <a:bodyPr/>
          <a:lstStyle>
            <a:lvl1pPr>
              <a:spcBef>
                <a:spcPts val="0"/>
              </a:spcBef>
              <a:defRPr sz="1824"/>
            </a:lvl1pPr>
            <a:lvl2pPr>
              <a:spcBef>
                <a:spcPts val="0"/>
              </a:spcBef>
              <a:defRPr sz="1824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ijdelijke aanduiding voor tekst 15"/>
          <p:cNvSpPr>
            <a:spLocks noGrp="1"/>
          </p:cNvSpPr>
          <p:nvPr>
            <p:ph type="body" sz="quarter" idx="21"/>
          </p:nvPr>
        </p:nvSpPr>
        <p:spPr>
          <a:xfrm>
            <a:off x="646110" y="4271243"/>
            <a:ext cx="13355299" cy="432750"/>
          </a:xfrm>
          <a:solidFill>
            <a:schemeClr val="bg1">
              <a:lumMod val="85000"/>
            </a:schemeClr>
          </a:solidFill>
        </p:spPr>
        <p:txBody>
          <a:bodyPr lIns="179663" anchor="ctr"/>
          <a:lstStyle>
            <a:lvl1pPr marL="0" indent="0" algn="l">
              <a:spcBef>
                <a:spcPts val="0"/>
              </a:spcBef>
              <a:buNone/>
              <a:defRPr sz="182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2" name="Tijdelijke aanduiding voor tekst 15"/>
          <p:cNvSpPr>
            <a:spLocks noGrp="1"/>
          </p:cNvSpPr>
          <p:nvPr>
            <p:ph type="body" sz="quarter" idx="22"/>
          </p:nvPr>
        </p:nvSpPr>
        <p:spPr>
          <a:xfrm>
            <a:off x="646141" y="6036863"/>
            <a:ext cx="13355299" cy="432750"/>
          </a:xfrm>
          <a:solidFill>
            <a:schemeClr val="tx2">
              <a:lumMod val="20000"/>
              <a:lumOff val="80000"/>
            </a:schemeClr>
          </a:solidFill>
        </p:spPr>
        <p:txBody>
          <a:bodyPr lIns="179663" anchor="ctr"/>
          <a:lstStyle>
            <a:lvl1pPr marL="0" indent="0" algn="l">
              <a:spcBef>
                <a:spcPts val="0"/>
              </a:spcBef>
              <a:buNone/>
              <a:defRPr sz="182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Rectangle 5"/>
          <p:cNvSpPr>
            <a:spLocks noGrp="1" noChangeArrowheads="1"/>
          </p:cNvSpPr>
          <p:nvPr>
            <p:ph type="sldNum" sz="quarter" idx="23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2F3E2E6-0002-40E1-98BA-05E901993722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1" name="Rectangle 6"/>
          <p:cNvSpPr>
            <a:spLocks noGrp="1" noChangeArrowheads="1"/>
          </p:cNvSpPr>
          <p:nvPr>
            <p:ph type="ftr" sz="quarter" idx="24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5984064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3" descr="TG_BM_RGB"/>
          <p:cNvPicPr>
            <a:picLocks noChangeAspect="1" noChangeArrowheads="1"/>
          </p:cNvPicPr>
          <p:nvPr userDrawn="1"/>
        </p:nvPicPr>
        <p:blipFill>
          <a:blip r:embed="rId2" cstate="print"/>
          <a:srcRect l="9850" t="10782" r="9810" b="10782"/>
          <a:stretch>
            <a:fillRect/>
          </a:stretch>
        </p:blipFill>
        <p:spPr bwMode="auto">
          <a:xfrm>
            <a:off x="13691059" y="89695"/>
            <a:ext cx="786053" cy="5171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23" descr="TS_BM_RGB"/>
          <p:cNvPicPr>
            <a:picLocks noChangeAspect="1" noChangeArrowheads="1"/>
          </p:cNvPicPr>
          <p:nvPr userDrawn="1"/>
        </p:nvPicPr>
        <p:blipFill>
          <a:blip r:embed="rId3" cstate="print"/>
          <a:srcRect l="9319" t="32796" r="9198" b="31863"/>
          <a:stretch>
            <a:fillRect/>
          </a:stretch>
        </p:blipFill>
        <p:spPr bwMode="auto">
          <a:xfrm>
            <a:off x="226409" y="7944530"/>
            <a:ext cx="1755265" cy="169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28"/>
            </a:lvl1pPr>
          </a:lstStyle>
          <a:p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8583034" y="64"/>
            <a:ext cx="4243156" cy="356853"/>
          </a:xfrm>
          <a:prstGeom prst="rect">
            <a:avLst/>
          </a:prstGeom>
        </p:spPr>
        <p:txBody>
          <a:bodyPr lIns="83285" tIns="41643" rIns="83285" bIns="41643"/>
          <a:lstStyle>
            <a:lvl1pPr marL="0" indent="0">
              <a:buNone/>
              <a:defRPr sz="1544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4"/>
          </p:nvPr>
        </p:nvSpPr>
        <p:spPr>
          <a:xfrm>
            <a:off x="11808671" y="7783991"/>
            <a:ext cx="1696753" cy="129765"/>
          </a:xfrm>
          <a:prstGeom prst="rect">
            <a:avLst/>
          </a:prstGeom>
        </p:spPr>
        <p:txBody>
          <a:bodyPr lIns="84334" tIns="42169" rIns="84334" bIns="42169"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FBD539C-7D05-4CDF-9AAA-99238C8D92F8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377968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 dirty="0">
              <a:solidFill>
                <a:srgbClr val="FFFFFF"/>
              </a:solidFill>
            </a:endParaRPr>
          </a:p>
        </p:txBody>
      </p:sp>
      <p:grpSp>
        <p:nvGrpSpPr>
          <p:cNvPr id="5" name="Group 4"/>
          <p:cNvGrpSpPr/>
          <p:nvPr userDrawn="1"/>
        </p:nvGrpSpPr>
        <p:grpSpPr>
          <a:xfrm>
            <a:off x="568107" y="1878109"/>
            <a:ext cx="2412769" cy="5723804"/>
            <a:chOff x="404813" y="1566716"/>
            <a:chExt cx="1719262" cy="4774796"/>
          </a:xfrm>
        </p:grpSpPr>
        <p:sp>
          <p:nvSpPr>
            <p:cNvPr id="6" name="Rectangle 5"/>
            <p:cNvSpPr>
              <a:spLocks noChangeArrowheads="1"/>
            </p:cNvSpPr>
            <p:nvPr/>
          </p:nvSpPr>
          <p:spPr bwMode="gray">
            <a:xfrm>
              <a:off x="404813" y="1566716"/>
              <a:ext cx="1719262" cy="968375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>
                <a:defRPr/>
              </a:pPr>
              <a:r>
                <a:rPr lang="en-GB" sz="1824" b="1" dirty="0">
                  <a:solidFill>
                    <a:srgbClr val="FFFFFF"/>
                  </a:solidFill>
                  <a:latin typeface="Arial"/>
                  <a:cs typeface="Arial"/>
                </a:rPr>
                <a:t>Text</a:t>
              </a:r>
            </a:p>
          </p:txBody>
        </p:sp>
        <p:sp>
          <p:nvSpPr>
            <p:cNvPr id="7" name="Rectangle 6"/>
            <p:cNvSpPr>
              <a:spLocks noChangeArrowheads="1"/>
            </p:cNvSpPr>
            <p:nvPr/>
          </p:nvSpPr>
          <p:spPr bwMode="gray">
            <a:xfrm>
              <a:off x="404813" y="2836581"/>
              <a:ext cx="1719262" cy="966788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1037630" eaLnBrk="0" hangingPunct="0">
                <a:defRPr/>
              </a:pPr>
              <a:r>
                <a:rPr lang="en-GB" sz="2105" b="1" dirty="0">
                  <a:solidFill>
                    <a:srgbClr val="000000"/>
                  </a:solidFill>
                  <a:latin typeface="Arial"/>
                  <a:ea typeface="ＭＳ Ｐゴシック" pitchFamily="34" charset="-128"/>
                  <a:cs typeface="Arial"/>
                </a:rPr>
                <a:t>Text</a:t>
              </a:r>
            </a:p>
          </p:txBody>
        </p:sp>
        <p:sp>
          <p:nvSpPr>
            <p:cNvPr id="8" name="Rectangle 7"/>
            <p:cNvSpPr>
              <a:spLocks noChangeArrowheads="1"/>
            </p:cNvSpPr>
            <p:nvPr/>
          </p:nvSpPr>
          <p:spPr bwMode="gray">
            <a:xfrm>
              <a:off x="404813" y="4104859"/>
              <a:ext cx="1719262" cy="966787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>
                <a:defRPr/>
              </a:pPr>
              <a:r>
                <a:rPr lang="en-GB" sz="1824" b="1" dirty="0">
                  <a:solidFill>
                    <a:srgbClr val="000000"/>
                  </a:solidFill>
                  <a:latin typeface="Arial"/>
                  <a:cs typeface="Arial"/>
                </a:rPr>
                <a:t>Text</a:t>
              </a:r>
            </a:p>
          </p:txBody>
        </p:sp>
        <p:sp>
          <p:nvSpPr>
            <p:cNvPr id="9" name="Rectangle 8"/>
            <p:cNvSpPr>
              <a:spLocks noChangeArrowheads="1"/>
            </p:cNvSpPr>
            <p:nvPr/>
          </p:nvSpPr>
          <p:spPr bwMode="gray">
            <a:xfrm>
              <a:off x="404813" y="5373137"/>
              <a:ext cx="1719262" cy="968375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>
                <a:defRPr/>
              </a:pPr>
              <a:r>
                <a:rPr lang="en-GB" sz="1824" b="1" dirty="0">
                  <a:solidFill>
                    <a:srgbClr val="000000"/>
                  </a:solidFill>
                  <a:latin typeface="Arial"/>
                  <a:cs typeface="Arial"/>
                </a:rPr>
                <a:t>Text</a:t>
              </a:r>
            </a:p>
          </p:txBody>
        </p:sp>
      </p:grpSp>
      <p:sp>
        <p:nvSpPr>
          <p:cNvPr id="10" name="AutoShape 9"/>
          <p:cNvSpPr>
            <a:spLocks noChangeArrowheads="1"/>
          </p:cNvSpPr>
          <p:nvPr userDrawn="1"/>
        </p:nvSpPr>
        <p:spPr bwMode="gray">
          <a:xfrm rot="5400000" flipV="1">
            <a:off x="1610579" y="2942012"/>
            <a:ext cx="372992" cy="505725"/>
          </a:xfrm>
          <a:prstGeom prst="rightArrow">
            <a:avLst>
              <a:gd name="adj1" fmla="val 55000"/>
              <a:gd name="adj2" fmla="val 63606"/>
            </a:avLst>
          </a:prstGeom>
          <a:solidFill>
            <a:schemeClr val="tx2">
              <a:lumMod val="50000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vert="eaVert" lIns="419372" tIns="0" rIns="0" bIns="0" anchor="ctr"/>
          <a:lstStyle/>
          <a:p>
            <a:pPr algn="ctr" eaLnBrk="0" hangingPunct="0">
              <a:defRPr/>
            </a:pPr>
            <a:endParaRPr lang="en-GB" noProof="1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11" name="AutoShape 9"/>
          <p:cNvSpPr>
            <a:spLocks noChangeArrowheads="1"/>
          </p:cNvSpPr>
          <p:nvPr userDrawn="1"/>
        </p:nvSpPr>
        <p:spPr bwMode="gray">
          <a:xfrm rot="5400000" flipV="1">
            <a:off x="1610579" y="4511404"/>
            <a:ext cx="372992" cy="505725"/>
          </a:xfrm>
          <a:prstGeom prst="rightArrow">
            <a:avLst>
              <a:gd name="adj1" fmla="val 55000"/>
              <a:gd name="adj2" fmla="val 63606"/>
            </a:avLst>
          </a:prstGeom>
          <a:solidFill>
            <a:schemeClr val="tx2">
              <a:lumMod val="50000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vert="eaVert" lIns="419372" tIns="0" rIns="0" bIns="0" anchor="ctr"/>
          <a:lstStyle/>
          <a:p>
            <a:pPr algn="ctr" eaLnBrk="0" hangingPunct="0">
              <a:defRPr/>
            </a:pPr>
            <a:endParaRPr lang="en-GB" noProof="1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12" name="AutoShape 9"/>
          <p:cNvSpPr>
            <a:spLocks noChangeArrowheads="1"/>
          </p:cNvSpPr>
          <p:nvPr userDrawn="1"/>
        </p:nvSpPr>
        <p:spPr bwMode="gray">
          <a:xfrm rot="5400000" flipV="1">
            <a:off x="1610579" y="6015713"/>
            <a:ext cx="372992" cy="505725"/>
          </a:xfrm>
          <a:prstGeom prst="rightArrow">
            <a:avLst>
              <a:gd name="adj1" fmla="val 55000"/>
              <a:gd name="adj2" fmla="val 63606"/>
            </a:avLst>
          </a:prstGeom>
          <a:solidFill>
            <a:schemeClr val="tx2">
              <a:lumMod val="50000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vert="eaVert" lIns="419372" tIns="0" rIns="0" bIns="0" anchor="ctr"/>
          <a:lstStyle/>
          <a:p>
            <a:pPr algn="ctr" eaLnBrk="0" hangingPunct="0">
              <a:defRPr/>
            </a:pPr>
            <a:endParaRPr lang="en-GB" noProof="1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3036772" y="1830723"/>
            <a:ext cx="10921070" cy="1415241"/>
          </a:xfrm>
          <a:prstGeom prst="rect">
            <a:avLst/>
          </a:prstGeom>
          <a:noFill/>
          <a:ln>
            <a:noFill/>
          </a:ln>
        </p:spPr>
        <p:txBody>
          <a:bodyPr wrap="square" lIns="118341" tIns="59173" rIns="118341" bIns="59173" rtlCol="0">
            <a:spAutoFit/>
          </a:bodyPr>
          <a:lstStyle/>
          <a:p>
            <a:pPr marL="369833" indent="-369833" defTabSz="1183391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en-US" sz="2105" dirty="0">
                <a:solidFill>
                  <a:prstClr val="black"/>
                </a:solidFill>
                <a:latin typeface="Calibri"/>
                <a:cs typeface="Arial"/>
              </a:rPr>
              <a:t>TEXT</a:t>
            </a:r>
          </a:p>
          <a:p>
            <a:pPr marL="369833" indent="-369833" defTabSz="1183391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en-US" sz="2105" dirty="0">
                <a:solidFill>
                  <a:prstClr val="black"/>
                </a:solidFill>
                <a:latin typeface="Calibri"/>
                <a:cs typeface="Arial"/>
              </a:rPr>
              <a:t> </a:t>
            </a:r>
          </a:p>
          <a:p>
            <a:pPr marL="369833" indent="-369833" defTabSz="1183391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en-US" sz="2105" dirty="0">
                <a:solidFill>
                  <a:prstClr val="black"/>
                </a:solidFill>
                <a:latin typeface="Calibri"/>
                <a:cs typeface="Arial"/>
              </a:rPr>
              <a:t> </a:t>
            </a:r>
          </a:p>
          <a:p>
            <a:pPr marL="369833" indent="-369833" defTabSz="1183391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en-US" sz="2105" dirty="0">
                <a:solidFill>
                  <a:prstClr val="black"/>
                </a:solidFill>
                <a:latin typeface="Calibri"/>
                <a:cs typeface="Arial"/>
              </a:rPr>
              <a:t> 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3036772" y="3334377"/>
            <a:ext cx="10921070" cy="1415241"/>
          </a:xfrm>
          <a:prstGeom prst="rect">
            <a:avLst/>
          </a:prstGeom>
          <a:noFill/>
          <a:ln>
            <a:noFill/>
          </a:ln>
        </p:spPr>
        <p:txBody>
          <a:bodyPr wrap="square" lIns="118341" tIns="59173" rIns="118341" bIns="59173" rtlCol="0">
            <a:spAutoFit/>
          </a:bodyPr>
          <a:lstStyle/>
          <a:p>
            <a:pPr marL="369833" indent="-369833" defTabSz="1183391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en-US" sz="2105" dirty="0">
                <a:solidFill>
                  <a:prstClr val="black"/>
                </a:solidFill>
                <a:latin typeface="Calibri"/>
                <a:cs typeface="Arial"/>
              </a:rPr>
              <a:t>TEXT</a:t>
            </a:r>
          </a:p>
          <a:p>
            <a:pPr marL="369833" indent="-369833" defTabSz="1183391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en-US" sz="2105" dirty="0">
                <a:solidFill>
                  <a:prstClr val="black"/>
                </a:solidFill>
                <a:latin typeface="Calibri"/>
                <a:cs typeface="Arial"/>
              </a:rPr>
              <a:t> </a:t>
            </a:r>
          </a:p>
          <a:p>
            <a:pPr marL="369833" indent="-369833" defTabSz="1183391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en-US" sz="2105" dirty="0">
                <a:solidFill>
                  <a:prstClr val="black"/>
                </a:solidFill>
                <a:latin typeface="Calibri"/>
                <a:cs typeface="Arial"/>
              </a:rPr>
              <a:t> </a:t>
            </a:r>
          </a:p>
          <a:p>
            <a:pPr marL="369833" indent="-369833" defTabSz="1183391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en-US" sz="2105" dirty="0">
                <a:solidFill>
                  <a:prstClr val="black"/>
                </a:solidFill>
                <a:latin typeface="Calibri"/>
                <a:cs typeface="Arial"/>
              </a:rPr>
              <a:t> 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3036772" y="6344646"/>
            <a:ext cx="10921070" cy="1415241"/>
          </a:xfrm>
          <a:prstGeom prst="rect">
            <a:avLst/>
          </a:prstGeom>
          <a:noFill/>
          <a:ln>
            <a:noFill/>
          </a:ln>
        </p:spPr>
        <p:txBody>
          <a:bodyPr wrap="square" lIns="118341" tIns="59173" rIns="118341" bIns="59173" rtlCol="0">
            <a:spAutoFit/>
          </a:bodyPr>
          <a:lstStyle/>
          <a:p>
            <a:pPr marL="369833" indent="-369833" defTabSz="1183391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en-US" sz="2105" dirty="0">
                <a:solidFill>
                  <a:prstClr val="black"/>
                </a:solidFill>
                <a:latin typeface="Calibri"/>
                <a:cs typeface="Arial"/>
              </a:rPr>
              <a:t>TEXT</a:t>
            </a:r>
          </a:p>
          <a:p>
            <a:pPr marL="369833" indent="-369833" defTabSz="1183391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en-US" sz="2105" dirty="0">
                <a:solidFill>
                  <a:prstClr val="black"/>
                </a:solidFill>
                <a:latin typeface="Calibri"/>
                <a:cs typeface="Arial"/>
              </a:rPr>
              <a:t> </a:t>
            </a:r>
          </a:p>
          <a:p>
            <a:pPr marL="369833" indent="-369833" defTabSz="1183391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en-US" sz="2105" dirty="0">
                <a:solidFill>
                  <a:prstClr val="black"/>
                </a:solidFill>
                <a:latin typeface="Calibri"/>
                <a:cs typeface="Arial"/>
              </a:rPr>
              <a:t> </a:t>
            </a:r>
          </a:p>
          <a:p>
            <a:pPr marL="369833" indent="-369833" defTabSz="1183391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en-US" sz="2105" dirty="0">
                <a:solidFill>
                  <a:prstClr val="black"/>
                </a:solidFill>
                <a:latin typeface="Calibri"/>
                <a:cs typeface="Arial"/>
              </a:rPr>
              <a:t> 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3036772" y="4836613"/>
            <a:ext cx="10921070" cy="1415241"/>
          </a:xfrm>
          <a:prstGeom prst="rect">
            <a:avLst/>
          </a:prstGeom>
          <a:noFill/>
          <a:ln>
            <a:noFill/>
          </a:ln>
        </p:spPr>
        <p:txBody>
          <a:bodyPr wrap="square" lIns="118341" tIns="59173" rIns="118341" bIns="59173" rtlCol="0">
            <a:spAutoFit/>
          </a:bodyPr>
          <a:lstStyle/>
          <a:p>
            <a:pPr marL="369833" indent="-369833" defTabSz="1183391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en-US" sz="2105" dirty="0">
                <a:solidFill>
                  <a:prstClr val="black"/>
                </a:solidFill>
                <a:latin typeface="Calibri"/>
                <a:cs typeface="Arial"/>
              </a:rPr>
              <a:t>TEXT</a:t>
            </a:r>
          </a:p>
          <a:p>
            <a:pPr marL="369833" indent="-369833" defTabSz="1183391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en-US" sz="2105" dirty="0">
                <a:solidFill>
                  <a:prstClr val="black"/>
                </a:solidFill>
                <a:latin typeface="Calibri"/>
                <a:cs typeface="Arial"/>
              </a:rPr>
              <a:t> </a:t>
            </a:r>
          </a:p>
          <a:p>
            <a:pPr marL="369833" indent="-369833" defTabSz="1183391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en-US" sz="2105" dirty="0">
                <a:solidFill>
                  <a:prstClr val="black"/>
                </a:solidFill>
                <a:latin typeface="Calibri"/>
                <a:cs typeface="Arial"/>
              </a:rPr>
              <a:t> </a:t>
            </a:r>
          </a:p>
          <a:p>
            <a:pPr marL="369833" indent="-369833" defTabSz="1183391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en-US" sz="2105" dirty="0">
                <a:solidFill>
                  <a:prstClr val="black"/>
                </a:solidFill>
                <a:latin typeface="Calibri"/>
                <a:cs typeface="Arial"/>
              </a:rPr>
              <a:t> </a:t>
            </a:r>
          </a:p>
        </p:txBody>
      </p:sp>
      <p:sp>
        <p:nvSpPr>
          <p:cNvPr id="17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276468" y="1163833"/>
            <a:ext cx="14135451" cy="522775"/>
          </a:xfrm>
        </p:spPr>
        <p:txBody>
          <a:bodyPr/>
          <a:lstStyle>
            <a:lvl1pPr marL="0" indent="0">
              <a:buNone/>
              <a:defRPr sz="2105" b="1">
                <a:latin typeface="Arial" pitchFamily="34" charset="0"/>
                <a:cs typeface="Arial" pitchFamily="34" charset="0"/>
              </a:defRPr>
            </a:lvl1pPr>
            <a:lvl2pPr>
              <a:defRPr sz="1824">
                <a:latin typeface="Arial" pitchFamily="34" charset="0"/>
                <a:cs typeface="Arial" pitchFamily="34" charset="0"/>
              </a:defRPr>
            </a:lvl2pPr>
            <a:lvl3pPr marL="756388" indent="-252125">
              <a:buClr>
                <a:schemeClr val="tx2"/>
              </a:buClr>
              <a:buFont typeface="Wingdings" pitchFamily="2" charset="2"/>
              <a:buChar char="§"/>
              <a:defRPr sz="1544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351817407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 dirty="0">
              <a:solidFill>
                <a:srgbClr val="FFFFFF"/>
              </a:solidFill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 userDrawn="1"/>
        </p:nvGraphicFramePr>
        <p:xfrm>
          <a:off x="524034" y="1639457"/>
          <a:ext cx="13333101" cy="6233273"/>
        </p:xfrm>
        <a:graphic>
          <a:graphicData uri="http://schemas.openxmlformats.org/drawingml/2006/table">
            <a:tbl>
              <a:tblPr firstRow="1"/>
              <a:tblGrid>
                <a:gridCol w="50258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84452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4633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1933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1016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1016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4155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IN" sz="17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SN</a:t>
                      </a:r>
                      <a:endParaRPr lang="en-US" sz="1700" b="1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US" sz="17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Area</a:t>
                      </a: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US" sz="17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ext</a:t>
                      </a: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US" sz="17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ext</a:t>
                      </a: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US" sz="17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ext</a:t>
                      </a: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US" sz="17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ext</a:t>
                      </a: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55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marR="0" lvl="0" indent="0" algn="l" defTabSz="98956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300" b="1" kern="1200" cap="all" dirty="0">
                          <a:solidFill>
                            <a:srgbClr val="31A93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 2"/>
                        </a:rPr>
                        <a:t></a:t>
                      </a:r>
                      <a:endParaRPr lang="en-US" sz="2300" kern="1200" dirty="0">
                        <a:solidFill>
                          <a:srgbClr val="31A93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/>
                      <a:r>
                        <a:rPr lang="en-IN" sz="1700" b="1" dirty="0">
                          <a:solidFill>
                            <a:srgbClr val="FF0000"/>
                          </a:solidFill>
                        </a:rPr>
                        <a:t>X</a:t>
                      </a: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155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700" dirty="0"/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155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3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700" dirty="0"/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155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4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700" dirty="0"/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155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5</a:t>
                      </a: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700" dirty="0"/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155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6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700" dirty="0"/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155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7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700" dirty="0"/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155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8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700" dirty="0"/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155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9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700" dirty="0"/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155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0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700" dirty="0"/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4155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1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174625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700" dirty="0"/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174625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174625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4155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2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700" dirty="0"/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4155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3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700" dirty="0"/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4155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4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174625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174625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174625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174625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</a:tbl>
          </a:graphicData>
        </a:graphic>
      </p:graphicFrame>
      <p:sp>
        <p:nvSpPr>
          <p:cNvPr id="7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276468" y="1163833"/>
            <a:ext cx="14135451" cy="522775"/>
          </a:xfrm>
        </p:spPr>
        <p:txBody>
          <a:bodyPr/>
          <a:lstStyle>
            <a:lvl1pPr marL="0" indent="0">
              <a:buNone/>
              <a:defRPr sz="2105" b="1">
                <a:latin typeface="Arial" pitchFamily="34" charset="0"/>
                <a:cs typeface="Arial" pitchFamily="34" charset="0"/>
              </a:defRPr>
            </a:lvl1pPr>
            <a:lvl2pPr>
              <a:defRPr sz="1824">
                <a:latin typeface="Arial" pitchFamily="34" charset="0"/>
                <a:cs typeface="Arial" pitchFamily="34" charset="0"/>
              </a:defRPr>
            </a:lvl2pPr>
            <a:lvl3pPr marL="756388" indent="-252125">
              <a:buClr>
                <a:schemeClr val="tx2"/>
              </a:buClr>
              <a:buFont typeface="Wingdings" pitchFamily="2" charset="2"/>
              <a:buChar char="§"/>
              <a:defRPr sz="1544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307450733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2266712" y="3247587"/>
            <a:ext cx="1693237" cy="654859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8353" tIns="59179" rIns="118353" bIns="59179" rtlCol="0" anchor="ctr"/>
          <a:lstStyle/>
          <a:p>
            <a:r>
              <a:rPr lang="en-IN" sz="1824" b="1" dirty="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3901914" y="4010988"/>
            <a:ext cx="1693237" cy="971390"/>
          </a:xfrm>
          <a:prstGeom prst="rect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8353" tIns="59179" rIns="118353" bIns="59179" rtlCol="0" anchor="ctr"/>
          <a:lstStyle/>
          <a:p>
            <a:r>
              <a:rPr lang="en-IN" sz="1824" b="1" dirty="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19" name="Rectangle 18"/>
          <p:cNvSpPr/>
          <p:nvPr userDrawn="1"/>
        </p:nvSpPr>
        <p:spPr>
          <a:xfrm>
            <a:off x="5543441" y="5234126"/>
            <a:ext cx="1693237" cy="2427273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8353" tIns="59179" rIns="118353" bIns="59179" rtlCol="0" anchor="ctr"/>
          <a:lstStyle/>
          <a:p>
            <a:r>
              <a:rPr lang="en-IN" sz="1824" b="1" dirty="0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631509" y="1794523"/>
            <a:ext cx="13486384" cy="371441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8353" tIns="59179" rIns="118353" bIns="59179" rtlCol="0" anchor="ctr"/>
          <a:lstStyle/>
          <a:p>
            <a:pPr algn="ctr"/>
            <a:r>
              <a:rPr lang="en-IN" b="1" dirty="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21" name="Bent-Up Arrow 20"/>
          <p:cNvSpPr/>
          <p:nvPr userDrawn="1"/>
        </p:nvSpPr>
        <p:spPr>
          <a:xfrm rot="5400000">
            <a:off x="4062041" y="4831048"/>
            <a:ext cx="1321646" cy="1641521"/>
          </a:xfrm>
          <a:prstGeom prst="bentUpArrow">
            <a:avLst>
              <a:gd name="adj1" fmla="val 25000"/>
              <a:gd name="adj2" fmla="val 25890"/>
              <a:gd name="adj3" fmla="val 25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8353" tIns="59179" rIns="118353" bIns="59179" rtlCol="0" anchor="ctr"/>
          <a:lstStyle/>
          <a:p>
            <a:pPr algn="ctr"/>
            <a:endParaRPr lang="en-IN" dirty="0">
              <a:solidFill>
                <a:srgbClr val="FFFFFF"/>
              </a:solidFill>
            </a:endParaRPr>
          </a:p>
        </p:txBody>
      </p:sp>
      <p:sp>
        <p:nvSpPr>
          <p:cNvPr id="22" name="Rectangle 21"/>
          <p:cNvSpPr/>
          <p:nvPr userDrawn="1"/>
        </p:nvSpPr>
        <p:spPr>
          <a:xfrm>
            <a:off x="2333734" y="2344529"/>
            <a:ext cx="11697812" cy="697780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8353" tIns="59179" rIns="118353" bIns="59179" rtlCol="0" anchor="t" anchorCtr="0"/>
          <a:lstStyle/>
          <a:p>
            <a:pPr marL="221909" indent="-221909">
              <a:buFont typeface="Wingdings" panose="05000000000000000000" pitchFamily="2" charset="2"/>
              <a:buChar char="§"/>
            </a:pPr>
            <a:r>
              <a:rPr lang="en-IN" sz="1544" dirty="0">
                <a:solidFill>
                  <a:srgbClr val="000000"/>
                </a:solidFill>
              </a:rPr>
              <a:t>Text</a:t>
            </a:r>
          </a:p>
          <a:p>
            <a:pPr marL="221909" indent="-221909">
              <a:buFont typeface="Wingdings" panose="05000000000000000000" pitchFamily="2" charset="2"/>
              <a:buChar char="§"/>
            </a:pPr>
            <a:r>
              <a:rPr lang="en-IN" sz="1544" dirty="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23" name="Rectangle 22"/>
          <p:cNvSpPr/>
          <p:nvPr userDrawn="1"/>
        </p:nvSpPr>
        <p:spPr>
          <a:xfrm>
            <a:off x="3908683" y="3247710"/>
            <a:ext cx="10122800" cy="656579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8353" tIns="59179" rIns="118353" bIns="59179" rtlCol="0" anchor="t" anchorCtr="0"/>
          <a:lstStyle/>
          <a:p>
            <a:pPr marL="221909" indent="-221909">
              <a:buFont typeface="Wingdings" panose="05000000000000000000" pitchFamily="2" charset="2"/>
              <a:buChar char="§"/>
            </a:pPr>
            <a:r>
              <a:rPr lang="en-IN" sz="1544" dirty="0">
                <a:solidFill>
                  <a:srgbClr val="000000"/>
                </a:solidFill>
              </a:rPr>
              <a:t> </a:t>
            </a:r>
          </a:p>
          <a:p>
            <a:pPr marL="221909" indent="-221909">
              <a:buFont typeface="Wingdings" panose="05000000000000000000" pitchFamily="2" charset="2"/>
              <a:buChar char="§"/>
            </a:pPr>
            <a:endParaRPr lang="en-IN" sz="1544" dirty="0">
              <a:solidFill>
                <a:srgbClr val="000000"/>
              </a:solidFill>
            </a:endParaRPr>
          </a:p>
        </p:txBody>
      </p:sp>
      <p:sp>
        <p:nvSpPr>
          <p:cNvPr id="24" name="Rectangle 23"/>
          <p:cNvSpPr/>
          <p:nvPr userDrawn="1"/>
        </p:nvSpPr>
        <p:spPr>
          <a:xfrm>
            <a:off x="5609086" y="4011043"/>
            <a:ext cx="8422392" cy="970699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8353" tIns="59179" rIns="118353" bIns="59179" rtlCol="0" anchor="t" anchorCtr="0"/>
          <a:lstStyle/>
          <a:p>
            <a:pPr marL="221909" indent="-221909">
              <a:buFont typeface="Wingdings" panose="05000000000000000000" pitchFamily="2" charset="2"/>
              <a:buChar char="§"/>
            </a:pPr>
            <a:r>
              <a:rPr lang="en-IN" sz="1544" dirty="0">
                <a:solidFill>
                  <a:srgbClr val="000000"/>
                </a:solidFill>
              </a:rPr>
              <a:t>Text </a:t>
            </a:r>
          </a:p>
        </p:txBody>
      </p:sp>
      <p:sp>
        <p:nvSpPr>
          <p:cNvPr id="25" name="Rectangle 24"/>
          <p:cNvSpPr/>
          <p:nvPr userDrawn="1"/>
        </p:nvSpPr>
        <p:spPr>
          <a:xfrm>
            <a:off x="7285214" y="5234127"/>
            <a:ext cx="6746324" cy="2427271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8353" tIns="59179" rIns="118353" bIns="59179" rtlCol="0" anchor="t" anchorCtr="0"/>
          <a:lstStyle/>
          <a:p>
            <a:pPr marL="221909" indent="-221909">
              <a:buFont typeface="Wingdings" panose="05000000000000000000" pitchFamily="2" charset="2"/>
              <a:buChar char="§"/>
            </a:pPr>
            <a:r>
              <a:rPr lang="en-IN" sz="1544" dirty="0">
                <a:solidFill>
                  <a:srgbClr val="000000"/>
                </a:solidFill>
              </a:rPr>
              <a:t>Text </a:t>
            </a:r>
          </a:p>
          <a:p>
            <a:pPr marL="221909" indent="-221909">
              <a:buFont typeface="Wingdings" panose="05000000000000000000" pitchFamily="2" charset="2"/>
              <a:buChar char="§"/>
            </a:pPr>
            <a:endParaRPr lang="en-IN" sz="1544" dirty="0">
              <a:solidFill>
                <a:srgbClr val="000000"/>
              </a:solidFill>
            </a:endParaRPr>
          </a:p>
        </p:txBody>
      </p:sp>
      <p:sp>
        <p:nvSpPr>
          <p:cNvPr id="26" name="Bent-Up Arrow 25"/>
          <p:cNvSpPr/>
          <p:nvPr userDrawn="1"/>
        </p:nvSpPr>
        <p:spPr>
          <a:xfrm rot="5400000">
            <a:off x="2542702" y="3631418"/>
            <a:ext cx="1083598" cy="1635197"/>
          </a:xfrm>
          <a:prstGeom prst="bentUpArrow">
            <a:avLst>
              <a:gd name="adj1" fmla="val 25000"/>
              <a:gd name="adj2" fmla="val 25890"/>
              <a:gd name="adj3" fmla="val 25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8353" tIns="59179" rIns="118353" bIns="59179" rtlCol="0" anchor="ctr"/>
          <a:lstStyle/>
          <a:p>
            <a:pPr algn="ctr"/>
            <a:endParaRPr lang="en-IN" dirty="0">
              <a:solidFill>
                <a:srgbClr val="FFFFFF"/>
              </a:solidFill>
            </a:endParaRPr>
          </a:p>
        </p:txBody>
      </p:sp>
      <p:sp>
        <p:nvSpPr>
          <p:cNvPr id="27" name="Bent-Up Arrow 26"/>
          <p:cNvSpPr/>
          <p:nvPr userDrawn="1"/>
        </p:nvSpPr>
        <p:spPr>
          <a:xfrm rot="5400000">
            <a:off x="1018351" y="2653977"/>
            <a:ext cx="861903" cy="1635202"/>
          </a:xfrm>
          <a:prstGeom prst="bentUpArrow">
            <a:avLst>
              <a:gd name="adj1" fmla="val 25000"/>
              <a:gd name="adj2" fmla="val 24912"/>
              <a:gd name="adj3" fmla="val 25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8353" tIns="59179" rIns="118353" bIns="59179" rtlCol="0" anchor="ctr"/>
          <a:lstStyle/>
          <a:p>
            <a:pPr algn="ctr"/>
            <a:endParaRPr lang="en-IN" dirty="0">
              <a:solidFill>
                <a:srgbClr val="FFFFFF"/>
              </a:solidFill>
            </a:endParaRPr>
          </a:p>
        </p:txBody>
      </p:sp>
      <p:sp>
        <p:nvSpPr>
          <p:cNvPr id="28" name="Rectangle 27"/>
          <p:cNvSpPr/>
          <p:nvPr userDrawn="1"/>
        </p:nvSpPr>
        <p:spPr>
          <a:xfrm>
            <a:off x="631515" y="2344767"/>
            <a:ext cx="1693237" cy="695954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8353" tIns="59179" rIns="118353" bIns="59179" rtlCol="0" anchor="ctr"/>
          <a:lstStyle/>
          <a:p>
            <a:r>
              <a:rPr lang="en-IN" sz="1824" b="1" dirty="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29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276468" y="1163833"/>
            <a:ext cx="14135451" cy="522775"/>
          </a:xfrm>
        </p:spPr>
        <p:txBody>
          <a:bodyPr/>
          <a:lstStyle>
            <a:lvl1pPr marL="0" indent="0">
              <a:buNone/>
              <a:defRPr sz="2105" b="1">
                <a:latin typeface="Arial" pitchFamily="34" charset="0"/>
                <a:cs typeface="Arial" pitchFamily="34" charset="0"/>
              </a:defRPr>
            </a:lvl1pPr>
            <a:lvl2pPr>
              <a:defRPr sz="1824">
                <a:latin typeface="Arial" pitchFamily="34" charset="0"/>
                <a:cs typeface="Arial" pitchFamily="34" charset="0"/>
              </a:defRPr>
            </a:lvl2pPr>
            <a:lvl3pPr marL="756388" indent="-252125">
              <a:buClr>
                <a:schemeClr val="tx2"/>
              </a:buClr>
              <a:buFont typeface="Wingdings" pitchFamily="2" charset="2"/>
              <a:buChar char="§"/>
              <a:defRPr sz="1544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796265268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 dirty="0">
              <a:solidFill>
                <a:srgbClr val="FFFFFF"/>
              </a:solidFill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 userDrawn="1"/>
        </p:nvGraphicFramePr>
        <p:xfrm>
          <a:off x="335629" y="1622532"/>
          <a:ext cx="14076225" cy="6084175"/>
        </p:xfrm>
        <a:graphic>
          <a:graphicData uri="http://schemas.openxmlformats.org/drawingml/2006/table">
            <a:tbl>
              <a:tblPr firstRow="1"/>
              <a:tblGrid>
                <a:gridCol w="42483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42573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222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87343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548816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IN" sz="17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SN</a:t>
                      </a:r>
                      <a:endParaRPr lang="en-US" sz="17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US" sz="17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 Area</a:t>
                      </a: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US" sz="17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Progress</a:t>
                      </a: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7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Remarks</a:t>
                      </a: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72417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1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marR="0" lvl="0" indent="0" algn="ctr" defTabSz="98956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700" b="1" kern="1200" dirty="0">
                        <a:solidFill>
                          <a:srgbClr val="31A93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50521" marR="50521" marT="43155" marB="43155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4625" marR="0" lvl="0" indent="0" algn="l" defTabSz="98956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700" kern="1200" dirty="0">
                        <a:solidFill>
                          <a:srgbClr val="31A93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72417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2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700" b="0" kern="1200" dirty="0">
                        <a:solidFill>
                          <a:srgbClr val="FF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50521" marR="50521" marT="43155" marB="43155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462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48816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3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48816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4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48816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5</a:t>
                      </a: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48816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6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48816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7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548816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8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548816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9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548816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10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5" marR="15265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6" name="Up Arrow 5"/>
          <p:cNvSpPr/>
          <p:nvPr userDrawn="1"/>
        </p:nvSpPr>
        <p:spPr bwMode="auto">
          <a:xfrm>
            <a:off x="7719221" y="2259736"/>
            <a:ext cx="303128" cy="388396"/>
          </a:xfrm>
          <a:prstGeom prst="upArrow">
            <a:avLst/>
          </a:prstGeom>
          <a:solidFill>
            <a:srgbClr val="00B050"/>
          </a:solidFill>
          <a:ln w="19050" cap="flat" cmpd="sng" algn="ctr">
            <a:solidFill>
              <a:srgbClr val="00B050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none" lIns="118353" tIns="59179" rIns="118353" bIns="59179" numCol="1" rtlCol="0" anchor="ctr" anchorCtr="0" compatLnSpc="1">
            <a:prstTxWarp prst="textNoShape">
              <a:avLst/>
            </a:prstTxWarp>
          </a:bodyPr>
          <a:lstStyle/>
          <a:p>
            <a:pPr algn="ctr" defTabSz="1183514"/>
            <a:endParaRPr lang="en-IN" sz="2386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7" name="Up Arrow 6"/>
          <p:cNvSpPr/>
          <p:nvPr userDrawn="1"/>
        </p:nvSpPr>
        <p:spPr bwMode="auto">
          <a:xfrm>
            <a:off x="7719221" y="3406468"/>
            <a:ext cx="303128" cy="388396"/>
          </a:xfrm>
          <a:prstGeom prst="upArrow">
            <a:avLst/>
          </a:prstGeom>
          <a:solidFill>
            <a:srgbClr val="00B050"/>
          </a:solidFill>
          <a:ln w="19050" cap="flat" cmpd="sng" algn="ctr">
            <a:solidFill>
              <a:srgbClr val="00B050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none" lIns="118353" tIns="59179" rIns="118353" bIns="59179" numCol="1" rtlCol="0" anchor="ctr" anchorCtr="0" compatLnSpc="1">
            <a:prstTxWarp prst="textNoShape">
              <a:avLst/>
            </a:prstTxWarp>
          </a:bodyPr>
          <a:lstStyle/>
          <a:p>
            <a:pPr algn="ctr" defTabSz="1183514"/>
            <a:endParaRPr lang="en-IN" sz="2386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8" name="Up Arrow 7"/>
          <p:cNvSpPr/>
          <p:nvPr userDrawn="1"/>
        </p:nvSpPr>
        <p:spPr bwMode="auto">
          <a:xfrm flipV="1">
            <a:off x="7719221" y="2866830"/>
            <a:ext cx="303128" cy="388396"/>
          </a:xfrm>
          <a:prstGeom prst="upArrow">
            <a:avLst/>
          </a:prstGeom>
          <a:solidFill>
            <a:srgbClr val="EB5335"/>
          </a:solidFill>
          <a:ln w="19050" cap="flat" cmpd="sng" algn="ctr">
            <a:solidFill>
              <a:srgbClr val="EB5335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none" lIns="118353" tIns="59179" rIns="118353" bIns="59179" numCol="1" rtlCol="0" anchor="ctr" anchorCtr="0" compatLnSpc="1">
            <a:prstTxWarp prst="textNoShape">
              <a:avLst/>
            </a:prstTxWarp>
          </a:bodyPr>
          <a:lstStyle/>
          <a:p>
            <a:pPr algn="ctr" defTabSz="1183514"/>
            <a:endParaRPr lang="en-IN" sz="2386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9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276468" y="1163833"/>
            <a:ext cx="14135451" cy="522775"/>
          </a:xfrm>
        </p:spPr>
        <p:txBody>
          <a:bodyPr/>
          <a:lstStyle>
            <a:lvl1pPr marL="0" indent="0">
              <a:buNone/>
              <a:defRPr sz="2105" b="1">
                <a:latin typeface="Arial" pitchFamily="34" charset="0"/>
                <a:cs typeface="Arial" pitchFamily="34" charset="0"/>
              </a:defRPr>
            </a:lvl1pPr>
            <a:lvl2pPr>
              <a:defRPr sz="1824">
                <a:latin typeface="Arial" pitchFamily="34" charset="0"/>
                <a:cs typeface="Arial" pitchFamily="34" charset="0"/>
              </a:defRPr>
            </a:lvl2pPr>
            <a:lvl3pPr marL="756388" indent="-252125">
              <a:buClr>
                <a:schemeClr val="tx2"/>
              </a:buClr>
              <a:buFont typeface="Wingdings" pitchFamily="2" charset="2"/>
              <a:buChar char="§"/>
              <a:defRPr sz="1544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667147174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752584" y="1370555"/>
            <a:ext cx="13619784" cy="61566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118353" tIns="59179" rIns="118353" bIns="59179" anchor="ctr" anchorCtr="0">
            <a:normAutofit/>
          </a:bodyPr>
          <a:lstStyle/>
          <a:p>
            <a:pPr marL="347234" algn="just"/>
            <a:r>
              <a:rPr lang="en-IN" sz="2105" b="1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6" name="Oval 259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285195" y="1388637"/>
            <a:ext cx="625432" cy="520300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118353" tIns="59179" rIns="118353" bIns="59179" anchor="ctr"/>
          <a:lstStyle/>
          <a:p>
            <a:pPr algn="ctr" defTabSz="118351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386" kern="0" dirty="0">
                <a:solidFill>
                  <a:srgbClr val="FFFFFF"/>
                </a:solidFill>
                <a:latin typeface="Arial"/>
                <a:cs typeface="Arial"/>
              </a:rPr>
              <a:t>1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752584" y="2411082"/>
            <a:ext cx="13619784" cy="66782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118353" tIns="59179" rIns="118353" bIns="59179" anchor="ctr" anchorCtr="0">
            <a:normAutofit/>
          </a:bodyPr>
          <a:lstStyle/>
          <a:p>
            <a:pPr marL="347234" algn="just"/>
            <a:r>
              <a:rPr lang="en-IN" sz="2105" b="1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8" name="Oval 260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286649" y="2488835"/>
            <a:ext cx="625432" cy="520300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118353" tIns="59179" rIns="118353" bIns="59179" anchor="ctr"/>
          <a:lstStyle/>
          <a:p>
            <a:pPr algn="ctr" defTabSz="118351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386" kern="0" dirty="0">
                <a:solidFill>
                  <a:srgbClr val="FFFFFF"/>
                </a:solidFill>
                <a:latin typeface="Arial"/>
                <a:cs typeface="Arial"/>
              </a:rPr>
              <a:t>2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752584" y="3503497"/>
            <a:ext cx="13619784" cy="68643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118353" tIns="59179" rIns="118353" bIns="59179" anchor="ctr" anchorCtr="0">
            <a:normAutofit/>
          </a:bodyPr>
          <a:lstStyle/>
          <a:p>
            <a:pPr marL="347234" algn="just"/>
            <a:r>
              <a:rPr lang="en-IN" sz="2105" b="1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10" name="Oval 26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275307" y="3570909"/>
            <a:ext cx="625432" cy="520300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118353" tIns="59179" rIns="118353" bIns="59179" anchor="ctr"/>
          <a:lstStyle/>
          <a:p>
            <a:pPr algn="ctr" defTabSz="118351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386" kern="0" dirty="0">
                <a:solidFill>
                  <a:srgbClr val="FFFFFF"/>
                </a:solidFill>
                <a:latin typeface="Arial"/>
                <a:cs typeface="Arial"/>
              </a:rPr>
              <a:t>3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752584" y="4614753"/>
            <a:ext cx="13619784" cy="65384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118353" tIns="59179" rIns="118353" bIns="59179" anchor="ctr" anchorCtr="0">
            <a:normAutofit/>
          </a:bodyPr>
          <a:lstStyle/>
          <a:p>
            <a:pPr marL="347234" algn="just"/>
            <a:r>
              <a:rPr lang="en-IN" sz="2105" b="1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12" name="Oval 262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296867" y="4657669"/>
            <a:ext cx="625432" cy="520300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118353" tIns="59179" rIns="118353" bIns="59179" anchor="ctr"/>
          <a:lstStyle/>
          <a:p>
            <a:pPr algn="ctr" defTabSz="118351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386" kern="0" dirty="0">
                <a:solidFill>
                  <a:srgbClr val="FFFFFF"/>
                </a:solidFill>
                <a:latin typeface="Arial"/>
                <a:cs typeface="Arial"/>
              </a:rPr>
              <a:t>4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752584" y="5693414"/>
            <a:ext cx="13619784" cy="59339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118353" tIns="59179" rIns="118353" bIns="59179" anchor="ctr" anchorCtr="0">
            <a:normAutofit/>
          </a:bodyPr>
          <a:lstStyle/>
          <a:p>
            <a:pPr marL="223964" algn="just"/>
            <a:r>
              <a:rPr lang="en-IN" sz="2105" b="1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14" name="Oval 263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gray">
          <a:xfrm>
            <a:off x="310414" y="5729122"/>
            <a:ext cx="625432" cy="520300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118353" tIns="59179" rIns="118353" bIns="59179" anchor="ctr"/>
          <a:lstStyle/>
          <a:p>
            <a:pPr algn="ctr" defTabSz="118351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386" kern="0" dirty="0">
                <a:solidFill>
                  <a:srgbClr val="FFFFFF"/>
                </a:solidFill>
                <a:latin typeface="Arial"/>
                <a:cs typeface="Arial"/>
              </a:rPr>
              <a:t>5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752584" y="6637839"/>
            <a:ext cx="13619784" cy="59339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118353" tIns="59179" rIns="118353" bIns="59179" anchor="ctr" anchorCtr="0">
            <a:normAutofit/>
          </a:bodyPr>
          <a:lstStyle/>
          <a:p>
            <a:pPr marL="223964" algn="just"/>
            <a:r>
              <a:rPr lang="en-IN" sz="2105" b="1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16" name="Oval 263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gray">
          <a:xfrm>
            <a:off x="310414" y="6673492"/>
            <a:ext cx="625432" cy="520300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118353" tIns="59179" rIns="118353" bIns="59179" anchor="ctr"/>
          <a:lstStyle/>
          <a:p>
            <a:pPr algn="ctr" defTabSz="118351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386" kern="0" dirty="0">
                <a:solidFill>
                  <a:srgbClr val="FFFFFF"/>
                </a:solidFill>
                <a:latin typeface="Arial"/>
                <a:cs typeface="Arial"/>
              </a:rPr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3573663437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968059" y="1994364"/>
            <a:ext cx="7363176" cy="82912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118353" tIns="59179" rIns="118353" bIns="59179" anchor="ctr" anchorCtr="0">
            <a:normAutofit/>
          </a:bodyPr>
          <a:lstStyle/>
          <a:p>
            <a:pPr marL="347234" algn="just"/>
            <a:r>
              <a:rPr lang="en-IN" sz="1824" b="1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6" name="Oval 259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617361" y="2130620"/>
            <a:ext cx="656781" cy="561017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118353" tIns="59179" rIns="118353" bIns="59179" anchor="ctr"/>
          <a:lstStyle/>
          <a:p>
            <a:pPr algn="ctr" defTabSz="118351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386" kern="0" dirty="0">
                <a:solidFill>
                  <a:srgbClr val="FFFFFF"/>
                </a:solidFill>
                <a:latin typeface="Arial"/>
                <a:cs typeface="Arial"/>
              </a:rPr>
              <a:t>1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968059" y="3034786"/>
            <a:ext cx="7363176" cy="89937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118353" tIns="59179" rIns="118353" bIns="59179" anchor="ctr" anchorCtr="0">
            <a:normAutofit/>
          </a:bodyPr>
          <a:lstStyle/>
          <a:p>
            <a:pPr marL="347234" algn="just"/>
            <a:r>
              <a:rPr lang="en-IN" sz="1824" b="1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8" name="Oval 260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618816" y="3213954"/>
            <a:ext cx="656781" cy="561017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118353" tIns="59179" rIns="118353" bIns="59179" anchor="ctr"/>
          <a:lstStyle/>
          <a:p>
            <a:pPr algn="ctr" defTabSz="118351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386" kern="0" dirty="0">
                <a:solidFill>
                  <a:srgbClr val="FFFFFF"/>
                </a:solidFill>
                <a:latin typeface="Arial"/>
                <a:cs typeface="Arial"/>
              </a:rPr>
              <a:t>2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968059" y="4127432"/>
            <a:ext cx="7363176" cy="92443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118353" tIns="59179" rIns="118353" bIns="59179" anchor="ctr" anchorCtr="0">
            <a:normAutofit/>
          </a:bodyPr>
          <a:lstStyle/>
          <a:p>
            <a:pPr marL="347234" algn="just"/>
            <a:r>
              <a:rPr lang="en-IN" sz="1824" b="1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10" name="Oval 26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607489" y="4312892"/>
            <a:ext cx="656781" cy="561017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118353" tIns="59179" rIns="118353" bIns="59179" anchor="ctr"/>
          <a:lstStyle/>
          <a:p>
            <a:pPr algn="ctr" defTabSz="118351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386" kern="0" dirty="0">
                <a:solidFill>
                  <a:srgbClr val="FFFFFF"/>
                </a:solidFill>
                <a:latin typeface="Arial"/>
                <a:cs typeface="Arial"/>
              </a:rPr>
              <a:t>3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968059" y="5238687"/>
            <a:ext cx="7363176" cy="88054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118353" tIns="59179" rIns="118353" bIns="59179" anchor="ctr" anchorCtr="0">
            <a:normAutofit/>
          </a:bodyPr>
          <a:lstStyle/>
          <a:p>
            <a:pPr marL="347234" algn="just"/>
            <a:r>
              <a:rPr lang="en-IN" sz="1824" b="1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12" name="Oval 262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629040" y="5399652"/>
            <a:ext cx="656781" cy="561017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118353" tIns="59179" rIns="118353" bIns="59179" anchor="ctr"/>
          <a:lstStyle/>
          <a:p>
            <a:pPr algn="ctr" defTabSz="118351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386" kern="0" dirty="0">
                <a:solidFill>
                  <a:srgbClr val="FFFFFF"/>
                </a:solidFill>
                <a:latin typeface="Arial"/>
                <a:cs typeface="Arial"/>
              </a:rPr>
              <a:t>4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968059" y="6317534"/>
            <a:ext cx="7363176" cy="79913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118353" tIns="59179" rIns="118353" bIns="59179" anchor="ctr" anchorCtr="0">
            <a:normAutofit/>
          </a:bodyPr>
          <a:lstStyle/>
          <a:p>
            <a:pPr marL="347234" algn="just"/>
            <a:r>
              <a:rPr lang="en-IN" sz="1824" b="1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14" name="Oval 263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gray">
          <a:xfrm>
            <a:off x="583353" y="6420513"/>
            <a:ext cx="656781" cy="561017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118353" tIns="59179" rIns="118353" bIns="59179" anchor="ctr"/>
          <a:lstStyle/>
          <a:p>
            <a:pPr algn="ctr" defTabSz="118351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386" kern="0" dirty="0">
                <a:solidFill>
                  <a:srgbClr val="FFFFFF"/>
                </a:solidFill>
                <a:latin typeface="Arial"/>
                <a:cs typeface="Arial"/>
              </a:rPr>
              <a:t>5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11391954" y="2004907"/>
            <a:ext cx="2684275" cy="829124"/>
          </a:xfrm>
          <a:prstGeom prst="rect">
            <a:avLst/>
          </a:prstGeom>
          <a:solidFill>
            <a:srgbClr val="E2FFC5"/>
          </a:solidFill>
        </p:spPr>
        <p:txBody>
          <a:bodyPr wrap="square" lIns="118353" tIns="59179" rIns="118353" bIns="59179" anchor="ctr" anchorCtr="0">
            <a:normAutofit/>
          </a:bodyPr>
          <a:lstStyle/>
          <a:p>
            <a:pPr marL="347234" algn="just"/>
            <a:r>
              <a:rPr lang="en-IN" sz="1824" b="1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11391954" y="3045332"/>
            <a:ext cx="2684275" cy="899374"/>
          </a:xfrm>
          <a:prstGeom prst="rect">
            <a:avLst/>
          </a:prstGeom>
          <a:solidFill>
            <a:srgbClr val="E2FFC5"/>
          </a:solidFill>
        </p:spPr>
        <p:txBody>
          <a:bodyPr wrap="square" lIns="118353" tIns="59179" rIns="118353" bIns="59179" anchor="ctr" anchorCtr="0">
            <a:normAutofit/>
          </a:bodyPr>
          <a:lstStyle/>
          <a:p>
            <a:pPr marL="347234" algn="just"/>
            <a:r>
              <a:rPr lang="en-IN" sz="1824" b="1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11391954" y="4137977"/>
            <a:ext cx="2684275" cy="924433"/>
          </a:xfrm>
          <a:prstGeom prst="rect">
            <a:avLst/>
          </a:prstGeom>
          <a:solidFill>
            <a:srgbClr val="E2FFC5"/>
          </a:solidFill>
        </p:spPr>
        <p:txBody>
          <a:bodyPr wrap="square" lIns="118353" tIns="59179" rIns="118353" bIns="59179" anchor="ctr" anchorCtr="0">
            <a:normAutofit/>
          </a:bodyPr>
          <a:lstStyle/>
          <a:p>
            <a:pPr marL="347234" algn="just"/>
            <a:r>
              <a:rPr lang="en-IN" sz="1824" b="1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11391954" y="5249287"/>
            <a:ext cx="2684275" cy="880541"/>
          </a:xfrm>
          <a:prstGeom prst="rect">
            <a:avLst/>
          </a:prstGeom>
          <a:solidFill>
            <a:srgbClr val="E2FFC5"/>
          </a:solidFill>
        </p:spPr>
        <p:txBody>
          <a:bodyPr wrap="square" lIns="118353" tIns="59179" rIns="118353" bIns="59179" anchor="ctr" anchorCtr="0">
            <a:normAutofit/>
          </a:bodyPr>
          <a:lstStyle/>
          <a:p>
            <a:pPr marL="347234" algn="just"/>
            <a:r>
              <a:rPr lang="en-IN" sz="1824" b="1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19" name="Rectangle 18"/>
          <p:cNvSpPr/>
          <p:nvPr userDrawn="1"/>
        </p:nvSpPr>
        <p:spPr>
          <a:xfrm>
            <a:off x="11391954" y="6328123"/>
            <a:ext cx="2684275" cy="799139"/>
          </a:xfrm>
          <a:prstGeom prst="rect">
            <a:avLst/>
          </a:prstGeom>
          <a:solidFill>
            <a:srgbClr val="E2FFC5"/>
          </a:solidFill>
        </p:spPr>
        <p:txBody>
          <a:bodyPr wrap="square" lIns="118353" tIns="59179" rIns="118353" bIns="59179" anchor="ctr" anchorCtr="0">
            <a:normAutofit/>
          </a:bodyPr>
          <a:lstStyle/>
          <a:p>
            <a:pPr marL="223964" algn="just"/>
            <a:r>
              <a:rPr lang="en-IN" sz="1824" b="1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8529332" y="2004907"/>
            <a:ext cx="2684275" cy="829124"/>
          </a:xfrm>
          <a:prstGeom prst="rect">
            <a:avLst/>
          </a:prstGeom>
          <a:solidFill>
            <a:srgbClr val="F8D9FF"/>
          </a:solidFill>
        </p:spPr>
        <p:txBody>
          <a:bodyPr wrap="square" lIns="118353" tIns="59179" rIns="118353" bIns="59179" anchor="ctr" anchorCtr="0">
            <a:normAutofit/>
          </a:bodyPr>
          <a:lstStyle/>
          <a:p>
            <a:pPr marL="347234" algn="just"/>
            <a:r>
              <a:rPr lang="en-IN" sz="1824" b="1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21" name="Rectangle 20"/>
          <p:cNvSpPr/>
          <p:nvPr userDrawn="1"/>
        </p:nvSpPr>
        <p:spPr>
          <a:xfrm>
            <a:off x="8529332" y="3045332"/>
            <a:ext cx="2684275" cy="899374"/>
          </a:xfrm>
          <a:prstGeom prst="rect">
            <a:avLst/>
          </a:prstGeom>
          <a:solidFill>
            <a:srgbClr val="F8D9FF"/>
          </a:solidFill>
        </p:spPr>
        <p:txBody>
          <a:bodyPr wrap="square" lIns="118353" tIns="59179" rIns="118353" bIns="59179" anchor="ctr" anchorCtr="0">
            <a:normAutofit/>
          </a:bodyPr>
          <a:lstStyle/>
          <a:p>
            <a:pPr marL="347234" algn="just"/>
            <a:r>
              <a:rPr lang="en-IN" sz="1824" b="1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22" name="Rectangle 21"/>
          <p:cNvSpPr/>
          <p:nvPr userDrawn="1"/>
        </p:nvSpPr>
        <p:spPr>
          <a:xfrm>
            <a:off x="8529332" y="4137977"/>
            <a:ext cx="2684275" cy="924433"/>
          </a:xfrm>
          <a:prstGeom prst="rect">
            <a:avLst/>
          </a:prstGeom>
          <a:solidFill>
            <a:srgbClr val="F8D9FF"/>
          </a:solidFill>
        </p:spPr>
        <p:txBody>
          <a:bodyPr wrap="square" lIns="118353" tIns="59179" rIns="118353" bIns="59179" anchor="ctr" anchorCtr="0">
            <a:normAutofit/>
          </a:bodyPr>
          <a:lstStyle/>
          <a:p>
            <a:pPr marL="347234" algn="just"/>
            <a:r>
              <a:rPr lang="en-IN" sz="1824" b="1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23" name="Rectangle 22"/>
          <p:cNvSpPr/>
          <p:nvPr userDrawn="1"/>
        </p:nvSpPr>
        <p:spPr>
          <a:xfrm>
            <a:off x="8529332" y="5249287"/>
            <a:ext cx="2684275" cy="880541"/>
          </a:xfrm>
          <a:prstGeom prst="rect">
            <a:avLst/>
          </a:prstGeom>
          <a:solidFill>
            <a:srgbClr val="F8D9FF"/>
          </a:solidFill>
        </p:spPr>
        <p:txBody>
          <a:bodyPr wrap="square" lIns="118353" tIns="59179" rIns="118353" bIns="59179" anchor="ctr" anchorCtr="0">
            <a:normAutofit/>
          </a:bodyPr>
          <a:lstStyle/>
          <a:p>
            <a:pPr marL="347234" algn="just"/>
            <a:r>
              <a:rPr lang="en-IN" sz="1824" b="1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24" name="Rectangle 23"/>
          <p:cNvSpPr/>
          <p:nvPr userDrawn="1"/>
        </p:nvSpPr>
        <p:spPr>
          <a:xfrm>
            <a:off x="8529332" y="6328123"/>
            <a:ext cx="2684275" cy="799139"/>
          </a:xfrm>
          <a:prstGeom prst="rect">
            <a:avLst/>
          </a:prstGeom>
          <a:solidFill>
            <a:srgbClr val="F8D9FF"/>
          </a:solidFill>
        </p:spPr>
        <p:txBody>
          <a:bodyPr wrap="square" lIns="118353" tIns="59179" rIns="118353" bIns="59179" anchor="ctr" anchorCtr="0">
            <a:normAutofit/>
          </a:bodyPr>
          <a:lstStyle/>
          <a:p>
            <a:pPr marL="347234" algn="just"/>
            <a:r>
              <a:rPr lang="en-IN" sz="1824" b="1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25" name="TextBox 24"/>
          <p:cNvSpPr txBox="1"/>
          <p:nvPr userDrawn="1"/>
        </p:nvSpPr>
        <p:spPr>
          <a:xfrm>
            <a:off x="8904860" y="1570407"/>
            <a:ext cx="1728208" cy="443449"/>
          </a:xfrm>
          <a:prstGeom prst="rect">
            <a:avLst/>
          </a:prstGeom>
          <a:noFill/>
        </p:spPr>
        <p:txBody>
          <a:bodyPr wrap="none" lIns="118353" tIns="59179" rIns="118353" bIns="59179" rtlCol="0">
            <a:spAutoFit/>
          </a:bodyPr>
          <a:lstStyle/>
          <a:p>
            <a:r>
              <a:rPr lang="en-IN" sz="2105" b="1" dirty="0">
                <a:solidFill>
                  <a:srgbClr val="000000"/>
                </a:solidFill>
                <a:latin typeface="Arial"/>
                <a:cs typeface="Arial"/>
              </a:rPr>
              <a:t>Description</a:t>
            </a:r>
            <a:endParaRPr lang="en-US" sz="2105" b="1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6" name="TextBox 25"/>
          <p:cNvSpPr txBox="1"/>
          <p:nvPr userDrawn="1"/>
        </p:nvSpPr>
        <p:spPr>
          <a:xfrm>
            <a:off x="11773600" y="1551527"/>
            <a:ext cx="1728208" cy="443449"/>
          </a:xfrm>
          <a:prstGeom prst="rect">
            <a:avLst/>
          </a:prstGeom>
          <a:noFill/>
        </p:spPr>
        <p:txBody>
          <a:bodyPr wrap="none" lIns="118353" tIns="59179" rIns="118353" bIns="59179" rtlCol="0">
            <a:spAutoFit/>
          </a:bodyPr>
          <a:lstStyle/>
          <a:p>
            <a:r>
              <a:rPr lang="en-IN" sz="2105" b="1" dirty="0">
                <a:solidFill>
                  <a:srgbClr val="000000"/>
                </a:solidFill>
                <a:latin typeface="Arial"/>
                <a:cs typeface="Arial"/>
              </a:rPr>
              <a:t>Description</a:t>
            </a:r>
            <a:endParaRPr lang="en-US" sz="2105" b="1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7" name="TextBox 26"/>
          <p:cNvSpPr txBox="1"/>
          <p:nvPr userDrawn="1"/>
        </p:nvSpPr>
        <p:spPr>
          <a:xfrm>
            <a:off x="968176" y="1570476"/>
            <a:ext cx="1728208" cy="443449"/>
          </a:xfrm>
          <a:prstGeom prst="rect">
            <a:avLst/>
          </a:prstGeom>
          <a:noFill/>
        </p:spPr>
        <p:txBody>
          <a:bodyPr wrap="none" lIns="118353" tIns="59179" rIns="118353" bIns="59179" rtlCol="0">
            <a:spAutoFit/>
          </a:bodyPr>
          <a:lstStyle/>
          <a:p>
            <a:r>
              <a:rPr lang="en-IN" sz="2105" b="1" dirty="0">
                <a:solidFill>
                  <a:srgbClr val="000000"/>
                </a:solidFill>
                <a:latin typeface="Arial"/>
                <a:cs typeface="Arial"/>
              </a:rPr>
              <a:t>Description</a:t>
            </a:r>
            <a:endParaRPr lang="en-US" sz="2105" b="1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276468" y="1163833"/>
            <a:ext cx="14135451" cy="522775"/>
          </a:xfrm>
        </p:spPr>
        <p:txBody>
          <a:bodyPr/>
          <a:lstStyle>
            <a:lvl1pPr marL="0" indent="0">
              <a:buNone/>
              <a:defRPr sz="2105" b="1">
                <a:latin typeface="Arial" pitchFamily="34" charset="0"/>
                <a:cs typeface="Arial" pitchFamily="34" charset="0"/>
              </a:defRPr>
            </a:lvl1pPr>
            <a:lvl2pPr>
              <a:defRPr sz="1824">
                <a:latin typeface="Arial" pitchFamily="34" charset="0"/>
                <a:cs typeface="Arial" pitchFamily="34" charset="0"/>
              </a:defRPr>
            </a:lvl2pPr>
            <a:lvl3pPr marL="756388" indent="-252125">
              <a:buClr>
                <a:schemeClr val="tx2"/>
              </a:buClr>
              <a:buFont typeface="Wingdings" pitchFamily="2" charset="2"/>
              <a:buChar char="§"/>
              <a:defRPr sz="1544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602742624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 dirty="0">
              <a:solidFill>
                <a:srgbClr val="FFFFFF"/>
              </a:solidFill>
            </a:endParaRPr>
          </a:p>
        </p:txBody>
      </p:sp>
      <p:graphicFrame>
        <p:nvGraphicFramePr>
          <p:cNvPr id="5" name="Content Placeholder 3"/>
          <p:cNvGraphicFramePr>
            <a:graphicFrameLocks/>
          </p:cNvGraphicFramePr>
          <p:nvPr userDrawn="1"/>
        </p:nvGraphicFramePr>
        <p:xfrm>
          <a:off x="631822" y="1758721"/>
          <a:ext cx="13404991" cy="6231273"/>
        </p:xfrm>
        <a:graphic>
          <a:graphicData uri="http://schemas.openxmlformats.org/drawingml/2006/table">
            <a:tbl>
              <a:tblPr firstRow="1" bandRow="1"/>
              <a:tblGrid>
                <a:gridCol w="63175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5834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11488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672166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700" b="1" dirty="0">
                          <a:latin typeface="+mn-lt"/>
                          <a:cs typeface="Arial" pitchFamily="34" charset="0"/>
                        </a:rPr>
                        <a:t>SN</a:t>
                      </a:r>
                      <a:endParaRPr lang="en-IN" sz="1700" b="1" dirty="0">
                        <a:latin typeface="+mn-lt"/>
                        <a:cs typeface="Arial" pitchFamily="34" charset="0"/>
                      </a:endParaRPr>
                    </a:p>
                  </a:txBody>
                  <a:tcPr marL="137817" marR="137817" marT="53959" marB="53959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700" b="1" dirty="0">
                          <a:latin typeface="+mn-lt"/>
                          <a:cs typeface="Arial" pitchFamily="34" charset="0"/>
                        </a:rPr>
                        <a:t>Particulars</a:t>
                      </a:r>
                      <a:endParaRPr lang="en-IN" sz="1700" b="1" dirty="0">
                        <a:latin typeface="+mn-lt"/>
                        <a:cs typeface="Arial" pitchFamily="34" charset="0"/>
                      </a:endParaRPr>
                    </a:p>
                  </a:txBody>
                  <a:tcPr marL="137817" marR="137817" marT="53959" marB="53959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700" b="1" dirty="0">
                          <a:latin typeface="+mn-lt"/>
                          <a:cs typeface="Arial" pitchFamily="34" charset="0"/>
                        </a:rPr>
                        <a:t>Remarks</a:t>
                      </a:r>
                      <a:endParaRPr lang="en-IN" sz="1700" b="1" dirty="0">
                        <a:latin typeface="+mn-lt"/>
                        <a:cs typeface="Arial" pitchFamily="34" charset="0"/>
                      </a:endParaRPr>
                    </a:p>
                  </a:txBody>
                  <a:tcPr marL="137817" marR="137817" marT="53959" marB="53959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56050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700" b="1" dirty="0">
                          <a:latin typeface="+mn-lt"/>
                          <a:cs typeface="Arial" pitchFamily="34" charset="0"/>
                        </a:rPr>
                        <a:t>1</a:t>
                      </a:r>
                      <a:endParaRPr lang="en-IN" sz="1700" b="1" dirty="0">
                        <a:latin typeface="+mn-lt"/>
                        <a:cs typeface="Arial" pitchFamily="34" charset="0"/>
                      </a:endParaRPr>
                    </a:p>
                  </a:txBody>
                  <a:tcPr marL="137817" marR="137817" marT="53959" marB="53959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IN" sz="1700" b="1" dirty="0">
                        <a:latin typeface="+mn-lt"/>
                        <a:cs typeface="Arial" pitchFamily="34" charset="0"/>
                      </a:endParaRPr>
                    </a:p>
                  </a:txBody>
                  <a:tcPr marL="137817" marR="137817" marT="53959" marB="53959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700" baseline="0" dirty="0">
                          <a:latin typeface="+mn-lt"/>
                          <a:cs typeface="Arial" pitchFamily="34" charset="0"/>
                        </a:rPr>
                        <a:t> Text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700" baseline="0" dirty="0"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700" baseline="0" dirty="0"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endParaRPr lang="en-US" sz="1700" baseline="0" dirty="0">
                        <a:latin typeface="+mn-lt"/>
                        <a:cs typeface="Arial" pitchFamily="34" charset="0"/>
                      </a:endParaRPr>
                    </a:p>
                  </a:txBody>
                  <a:tcPr marL="137817" marR="137817" marT="53959" marB="53959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76928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700" b="1" dirty="0">
                          <a:latin typeface="+mn-lt"/>
                          <a:cs typeface="Arial" pitchFamily="34" charset="0"/>
                        </a:rPr>
                        <a:t>2</a:t>
                      </a:r>
                      <a:endParaRPr lang="en-IN" sz="1700" b="1" dirty="0">
                        <a:latin typeface="+mn-lt"/>
                        <a:cs typeface="Arial" pitchFamily="34" charset="0"/>
                      </a:endParaRPr>
                    </a:p>
                  </a:txBody>
                  <a:tcPr marL="137817" marR="137817" marT="53959" marB="53959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IN" sz="1700" b="1" dirty="0">
                        <a:latin typeface="+mn-lt"/>
                        <a:cs typeface="Arial" pitchFamily="34" charset="0"/>
                      </a:endParaRPr>
                    </a:p>
                  </a:txBody>
                  <a:tcPr marL="137817" marR="137817" marT="53959" marB="53959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700" baseline="0" dirty="0">
                          <a:latin typeface="+mn-lt"/>
                          <a:cs typeface="Arial" pitchFamily="34" charset="0"/>
                        </a:rPr>
                        <a:t> Text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700" baseline="0" dirty="0"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700" baseline="0" dirty="0"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</a:txBody>
                  <a:tcPr marL="137817" marR="137817" marT="53959" marB="53959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522677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700" b="1" dirty="0">
                          <a:latin typeface="+mn-lt"/>
                          <a:cs typeface="Arial" pitchFamily="34" charset="0"/>
                        </a:rPr>
                        <a:t>3</a:t>
                      </a:r>
                      <a:endParaRPr lang="en-IN" sz="1700" b="1" dirty="0">
                        <a:latin typeface="+mn-lt"/>
                        <a:cs typeface="Arial" pitchFamily="34" charset="0"/>
                      </a:endParaRPr>
                    </a:p>
                  </a:txBody>
                  <a:tcPr marL="137817" marR="137817" marT="53959" marB="53959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IN" sz="1700" b="1" dirty="0">
                        <a:latin typeface="+mn-lt"/>
                        <a:cs typeface="Arial" pitchFamily="34" charset="0"/>
                      </a:endParaRPr>
                    </a:p>
                  </a:txBody>
                  <a:tcPr marL="137817" marR="137817" marT="53959" marB="53959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700" baseline="0" dirty="0">
                          <a:latin typeface="+mn-lt"/>
                          <a:cs typeface="Arial" pitchFamily="34" charset="0"/>
                        </a:rPr>
                        <a:t> Text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700" baseline="0" dirty="0"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700" baseline="0" dirty="0"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</a:txBody>
                  <a:tcPr marL="137817" marR="137817" marT="53959" marB="53959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203451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700" b="1" dirty="0">
                          <a:latin typeface="+mn-lt"/>
                          <a:cs typeface="Arial" pitchFamily="34" charset="0"/>
                        </a:rPr>
                        <a:t>4</a:t>
                      </a:r>
                      <a:endParaRPr lang="en-IN" sz="1700" b="1" dirty="0">
                        <a:latin typeface="+mn-lt"/>
                        <a:cs typeface="Arial" pitchFamily="34" charset="0"/>
                      </a:endParaRPr>
                    </a:p>
                  </a:txBody>
                  <a:tcPr marL="137817" marR="137817" marT="53959" marB="53959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IN" sz="1700" b="1" dirty="0">
                        <a:latin typeface="+mn-lt"/>
                        <a:cs typeface="Arial" pitchFamily="34" charset="0"/>
                      </a:endParaRPr>
                    </a:p>
                  </a:txBody>
                  <a:tcPr marL="137817" marR="137817" marT="53959" marB="53959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700" baseline="0" dirty="0">
                          <a:latin typeface="+mn-lt"/>
                          <a:cs typeface="Arial" pitchFamily="34" charset="0"/>
                        </a:rPr>
                        <a:t> Text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700" baseline="0" dirty="0"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700" baseline="0" dirty="0"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</a:txBody>
                  <a:tcPr marL="137817" marR="137817" marT="53959" marB="53959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6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276468" y="1163833"/>
            <a:ext cx="14135451" cy="522775"/>
          </a:xfrm>
        </p:spPr>
        <p:txBody>
          <a:bodyPr/>
          <a:lstStyle>
            <a:lvl1pPr marL="0" indent="0">
              <a:buNone/>
              <a:defRPr sz="2105" b="1">
                <a:latin typeface="Arial" pitchFamily="34" charset="0"/>
                <a:cs typeface="Arial" pitchFamily="34" charset="0"/>
              </a:defRPr>
            </a:lvl1pPr>
            <a:lvl2pPr>
              <a:defRPr sz="1824">
                <a:latin typeface="Arial" pitchFamily="34" charset="0"/>
                <a:cs typeface="Arial" pitchFamily="34" charset="0"/>
              </a:defRPr>
            </a:lvl2pPr>
            <a:lvl3pPr marL="756388" indent="-252125">
              <a:buClr>
                <a:schemeClr val="tx2"/>
              </a:buClr>
              <a:buFont typeface="Wingdings" pitchFamily="2" charset="2"/>
              <a:buChar char="§"/>
              <a:defRPr sz="1544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4026936647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 dirty="0">
              <a:solidFill>
                <a:srgbClr val="FFFFFF"/>
              </a:solidFill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 userDrawn="1"/>
        </p:nvGraphicFramePr>
        <p:xfrm>
          <a:off x="631774" y="1684983"/>
          <a:ext cx="13385247" cy="2822840"/>
        </p:xfrm>
        <a:graphic>
          <a:graphicData uri="http://schemas.openxmlformats.org/drawingml/2006/table">
            <a:tbl>
              <a:tblPr/>
              <a:tblGrid>
                <a:gridCol w="243209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858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8324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0427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12530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65834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638607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325747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451092">
                <a:tc>
                  <a:txBody>
                    <a:bodyPr/>
                    <a:lstStyle/>
                    <a:p>
                      <a:pPr algn="ctr" fontAlgn="b"/>
                      <a:endParaRPr lang="en-IN" sz="1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UoM</a:t>
                      </a:r>
                    </a:p>
                  </a:txBody>
                  <a:tcPr marL="50521" marR="50521" marT="11418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Q FY</a:t>
                      </a:r>
                    </a:p>
                  </a:txBody>
                  <a:tcPr marL="50521" marR="50521" marT="11418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Q FY</a:t>
                      </a:r>
                    </a:p>
                  </a:txBody>
                  <a:tcPr marL="50521" marR="50521" marT="11418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Q FY</a:t>
                      </a:r>
                    </a:p>
                  </a:txBody>
                  <a:tcPr marL="50521" marR="50521" marT="11418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%Change Q/Q</a:t>
                      </a:r>
                    </a:p>
                  </a:txBody>
                  <a:tcPr marL="50521" marR="50521" marT="11418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%Change Y/Y</a:t>
                      </a:r>
                    </a:p>
                  </a:txBody>
                  <a:tcPr marL="50521" marR="50521" marT="11418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emarks</a:t>
                      </a:r>
                    </a:p>
                  </a:txBody>
                  <a:tcPr marL="50521" marR="50521" marT="11418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5291">
                <a:tc>
                  <a:txBody>
                    <a:bodyPr/>
                    <a:lstStyle/>
                    <a:p>
                      <a:pPr algn="l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C9B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5291">
                <a:tc>
                  <a:txBody>
                    <a:bodyPr/>
                    <a:lstStyle/>
                    <a:p>
                      <a:pPr algn="l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C9B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95291">
                <a:tc>
                  <a:txBody>
                    <a:bodyPr/>
                    <a:lstStyle/>
                    <a:p>
                      <a:pPr algn="l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C9B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95291">
                <a:tc>
                  <a:txBody>
                    <a:bodyPr/>
                    <a:lstStyle/>
                    <a:p>
                      <a:pPr algn="l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rgbClr val="FF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C9B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6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95291">
                <a:tc>
                  <a:txBody>
                    <a:bodyPr/>
                    <a:lstStyle/>
                    <a:p>
                      <a:pPr algn="l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95291">
                <a:tc>
                  <a:txBody>
                    <a:bodyPr/>
                    <a:lstStyle/>
                    <a:p>
                      <a:pPr algn="l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rgbClr val="FF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grpSp>
        <p:nvGrpSpPr>
          <p:cNvPr id="6" name="Group 5"/>
          <p:cNvGrpSpPr/>
          <p:nvPr userDrawn="1"/>
        </p:nvGrpSpPr>
        <p:grpSpPr>
          <a:xfrm>
            <a:off x="638147" y="5040419"/>
            <a:ext cx="13398600" cy="2683153"/>
            <a:chOff x="123367" y="5147491"/>
            <a:chExt cx="8864071" cy="1583827"/>
          </a:xfrm>
        </p:grpSpPr>
        <p:sp>
          <p:nvSpPr>
            <p:cNvPr id="7" name="Tijdelijke aanduiding voor verticale tekst 24"/>
            <p:cNvSpPr txBox="1">
              <a:spLocks/>
            </p:cNvSpPr>
            <p:nvPr/>
          </p:nvSpPr>
          <p:spPr>
            <a:xfrm>
              <a:off x="123367" y="5405493"/>
              <a:ext cx="8864069" cy="1325825"/>
            </a:xfrm>
            <a:prstGeom prst="rect">
              <a:avLst/>
            </a:prstGeom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txBody>
            <a:bodyPr vert="horz" lIns="91440" tIns="45720" rIns="91440" bIns="45720" rtlCol="0">
              <a:normAutofit/>
            </a:bodyPr>
            <a:lstStyle>
              <a:lvl1pPr marL="342900" indent="-3429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3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»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386121" lvl="1">
                <a:buFont typeface="Wingdings" pitchFamily="2" charset="2"/>
                <a:buChar char="§"/>
              </a:pPr>
              <a:r>
                <a:rPr lang="en-GB" sz="1824" dirty="0">
                  <a:solidFill>
                    <a:srgbClr val="000000"/>
                  </a:solidFill>
                </a:rPr>
                <a:t>Text</a:t>
              </a:r>
              <a:endParaRPr lang="en-GB" sz="1544" dirty="0">
                <a:solidFill>
                  <a:srgbClr val="000000"/>
                </a:solidFill>
              </a:endParaRPr>
            </a:p>
          </p:txBody>
        </p:sp>
        <p:sp>
          <p:nvSpPr>
            <p:cNvPr id="8" name="Tijdelijke aanduiding voor verticale tekst 25"/>
            <p:cNvSpPr txBox="1">
              <a:spLocks/>
            </p:cNvSpPr>
            <p:nvPr/>
          </p:nvSpPr>
          <p:spPr>
            <a:xfrm>
              <a:off x="123368" y="5147491"/>
              <a:ext cx="8864070" cy="258002"/>
            </a:xfrm>
            <a:prstGeom prst="rect">
              <a:avLst/>
            </a:prstGeom>
            <a:solidFill>
              <a:schemeClr val="accent6">
                <a:lumMod val="10000"/>
                <a:lumOff val="90000"/>
              </a:schemeClr>
            </a:solidFill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txBody>
            <a:bodyPr vert="horz" wrap="none" lIns="180000" tIns="72000" rIns="216000" bIns="4572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3"/>
                </a:buClr>
                <a:buFont typeface="Wingdings" panose="05000000000000000000" pitchFamily="2" charset="2"/>
                <a:buNone/>
                <a:defRPr sz="1800" b="1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177800" indent="-177800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5600" indent="-177800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33400" indent="-174625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20725" indent="-182563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 i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563" indent="-182563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5600" indent="-173038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tabLst/>
                <a:defRPr sz="16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38163" indent="-182563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235589">
                <a:lnSpc>
                  <a:spcPts val="2437"/>
                </a:lnSpc>
                <a:spcBef>
                  <a:spcPts val="811"/>
                </a:spcBef>
                <a:spcAft>
                  <a:spcPts val="811"/>
                </a:spcAft>
                <a:buClr>
                  <a:srgbClr val="FFA100"/>
                </a:buClr>
                <a:defRPr/>
              </a:pPr>
              <a:r>
                <a:rPr lang="en-US" sz="2105" dirty="0">
                  <a:solidFill>
                    <a:srgbClr val="000000"/>
                  </a:solidFill>
                </a:rPr>
                <a:t>Highlights</a:t>
              </a:r>
            </a:p>
          </p:txBody>
        </p:sp>
      </p:grpSp>
      <p:graphicFrame>
        <p:nvGraphicFramePr>
          <p:cNvPr id="9" name="Table 8"/>
          <p:cNvGraphicFramePr>
            <a:graphicFrameLocks noGrp="1"/>
          </p:cNvGraphicFramePr>
          <p:nvPr userDrawn="1"/>
        </p:nvGraphicFramePr>
        <p:xfrm>
          <a:off x="605547" y="4638633"/>
          <a:ext cx="13431313" cy="263755"/>
        </p:xfrm>
        <a:graphic>
          <a:graphicData uri="http://schemas.openxmlformats.org/drawingml/2006/table">
            <a:tbl>
              <a:tblPr/>
              <a:tblGrid>
                <a:gridCol w="335783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35783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57586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13978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63755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Key</a:t>
                      </a:r>
                    </a:p>
                  </a:txBody>
                  <a:tcPr marL="14212" marR="14212" marT="11629" marB="0" anchor="ctr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ext</a:t>
                      </a:r>
                    </a:p>
                  </a:txBody>
                  <a:tcPr marL="14212" marR="14212" marT="1162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ext</a:t>
                      </a:r>
                    </a:p>
                  </a:txBody>
                  <a:tcPr marL="14212" marR="14212" marT="1162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6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ext</a:t>
                      </a:r>
                    </a:p>
                  </a:txBody>
                  <a:tcPr marL="14212" marR="14212" marT="11629" marB="0" anchor="ctr">
                    <a:lnL>
                      <a:noFill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C9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0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276468" y="1163833"/>
            <a:ext cx="14135451" cy="522775"/>
          </a:xfrm>
        </p:spPr>
        <p:txBody>
          <a:bodyPr/>
          <a:lstStyle>
            <a:lvl1pPr marL="0" indent="0">
              <a:buNone/>
              <a:defRPr sz="2105" b="1">
                <a:latin typeface="Arial" pitchFamily="34" charset="0"/>
                <a:cs typeface="Arial" pitchFamily="34" charset="0"/>
              </a:defRPr>
            </a:lvl1pPr>
            <a:lvl2pPr>
              <a:defRPr sz="1824">
                <a:latin typeface="Arial" pitchFamily="34" charset="0"/>
                <a:cs typeface="Arial" pitchFamily="34" charset="0"/>
              </a:defRPr>
            </a:lvl2pPr>
            <a:lvl3pPr marL="756388" indent="-252125">
              <a:buClr>
                <a:schemeClr val="tx2"/>
              </a:buClr>
              <a:buFont typeface="Wingdings" pitchFamily="2" charset="2"/>
              <a:buChar char="§"/>
              <a:defRPr sz="1544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853982717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image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8687" y="1015220"/>
            <a:ext cx="13352712" cy="433186"/>
          </a:xfrm>
        </p:spPr>
        <p:txBody>
          <a:bodyPr/>
          <a:lstStyle>
            <a:lvl1pPr>
              <a:defRPr sz="2807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646150" y="1819716"/>
            <a:ext cx="13378153" cy="444634"/>
          </a:xfrm>
        </p:spPr>
        <p:txBody>
          <a:bodyPr/>
          <a:lstStyle>
            <a:lvl1pPr>
              <a:buNone/>
              <a:defRPr sz="2245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ijdelijke aanduiding voor tekst 20"/>
          <p:cNvSpPr>
            <a:spLocks noGrp="1"/>
          </p:cNvSpPr>
          <p:nvPr>
            <p:ph type="body" sz="quarter" idx="19"/>
          </p:nvPr>
        </p:nvSpPr>
        <p:spPr>
          <a:xfrm>
            <a:off x="5214959" y="2509950"/>
            <a:ext cx="8791575" cy="2423400"/>
          </a:xfrm>
          <a:solidFill>
            <a:schemeClr val="tx2">
              <a:lumMod val="20000"/>
              <a:lumOff val="80000"/>
            </a:schemeClr>
          </a:solidFill>
        </p:spPr>
        <p:txBody>
          <a:bodyPr anchor="t" anchorCtr="0"/>
          <a:lstStyle>
            <a:lvl1pPr>
              <a:spcBef>
                <a:spcPts val="0"/>
              </a:spcBef>
              <a:defRPr sz="1964"/>
            </a:lvl1pPr>
            <a:lvl2pPr>
              <a:spcBef>
                <a:spcPts val="0"/>
              </a:spcBef>
              <a:defRPr sz="1964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Tijdelijke aanduiding voor tekst 20"/>
          <p:cNvSpPr>
            <a:spLocks noGrp="1"/>
          </p:cNvSpPr>
          <p:nvPr>
            <p:ph type="body" sz="quarter" idx="21"/>
          </p:nvPr>
        </p:nvSpPr>
        <p:spPr>
          <a:xfrm>
            <a:off x="5214959" y="5262240"/>
            <a:ext cx="8791575" cy="2423400"/>
          </a:xfrm>
          <a:solidFill>
            <a:schemeClr val="tx2">
              <a:lumMod val="20000"/>
              <a:lumOff val="80000"/>
            </a:schemeClr>
          </a:solidFill>
        </p:spPr>
        <p:txBody>
          <a:bodyPr anchor="t" anchorCtr="0"/>
          <a:lstStyle>
            <a:lvl1pPr>
              <a:spcBef>
                <a:spcPts val="0"/>
              </a:spcBef>
              <a:defRPr sz="1964"/>
            </a:lvl1pPr>
            <a:lvl2pPr>
              <a:spcBef>
                <a:spcPts val="0"/>
              </a:spcBef>
              <a:defRPr sz="1964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ijdelijke aanduiding voor afbeelding 12"/>
          <p:cNvSpPr>
            <a:spLocks noGrp="1" noChangeAspect="1"/>
          </p:cNvSpPr>
          <p:nvPr>
            <p:ph type="pic" sz="quarter" idx="22"/>
          </p:nvPr>
        </p:nvSpPr>
        <p:spPr>
          <a:xfrm>
            <a:off x="648685" y="2509950"/>
            <a:ext cx="4222725" cy="24234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 dirty="0"/>
              <a:t>Click icon to add picture</a:t>
            </a:r>
            <a:endParaRPr lang="nl-NL" noProof="0"/>
          </a:p>
        </p:txBody>
      </p:sp>
      <p:sp>
        <p:nvSpPr>
          <p:cNvPr id="14" name="Tijdelijke aanduiding voor afbeelding 12"/>
          <p:cNvSpPr>
            <a:spLocks noGrp="1" noChangeAspect="1"/>
          </p:cNvSpPr>
          <p:nvPr>
            <p:ph type="pic" sz="quarter" idx="23"/>
          </p:nvPr>
        </p:nvSpPr>
        <p:spPr>
          <a:xfrm>
            <a:off x="646100" y="5262240"/>
            <a:ext cx="4222725" cy="24234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 dirty="0"/>
              <a:t>Click icon to add picture</a:t>
            </a:r>
            <a:endParaRPr lang="nl-NL" noProof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sldNum" sz="quarter" idx="24"/>
          </p:nvPr>
        </p:nvSpPr>
        <p:spPr>
          <a:xfrm>
            <a:off x="13990563" y="201216"/>
            <a:ext cx="806402" cy="25953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5A22AC8-36D9-4965-81AD-19038FCC0CCE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ftr" sz="quarter" idx="2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57185924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5" name="Pentagon 4"/>
          <p:cNvSpPr/>
          <p:nvPr userDrawn="1"/>
        </p:nvSpPr>
        <p:spPr bwMode="auto">
          <a:xfrm>
            <a:off x="7225727" y="1922461"/>
            <a:ext cx="7107217" cy="5969751"/>
          </a:xfrm>
          <a:prstGeom prst="homePlate">
            <a:avLst>
              <a:gd name="adj" fmla="val 507"/>
            </a:avLst>
          </a:prstGeom>
          <a:solidFill>
            <a:schemeClr val="bg1"/>
          </a:solidFill>
          <a:ln w="38100" cap="flat" cmpd="sng" algn="ctr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232978" tIns="232978" rIns="232978" bIns="232978" numCol="1" rtlCol="0" anchor="t" anchorCtr="0" compatLnSpc="1">
            <a:prstTxWarp prst="textNoShape">
              <a:avLst/>
            </a:prstTxWarp>
          </a:bodyPr>
          <a:lstStyle/>
          <a:p>
            <a:pPr defTabSz="1183514"/>
            <a:r>
              <a:rPr lang="en-IN" sz="2105" b="1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  <a:endParaRPr lang="en-IN" sz="2386" b="1" dirty="0">
              <a:solidFill>
                <a:srgbClr val="000000"/>
              </a:solidFill>
              <a:latin typeface="Arial"/>
              <a:cs typeface="Arial"/>
            </a:endParaRPr>
          </a:p>
          <a:p>
            <a:pPr marL="589703" indent="-369867" defTabSz="1183514">
              <a:buFont typeface="Arial" pitchFamily="34" charset="0"/>
              <a:buChar char="•"/>
            </a:pPr>
            <a:r>
              <a:rPr lang="en-IN" sz="2105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  <a:p>
            <a:pPr marL="589703" indent="-369867" defTabSz="1183514">
              <a:buFont typeface="Arial" pitchFamily="34" charset="0"/>
              <a:buChar char="•"/>
            </a:pPr>
            <a:r>
              <a:rPr lang="en-IN" sz="2105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  <a:endParaRPr lang="en-IN" sz="2105" b="1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6" name="Pentagon 5"/>
          <p:cNvSpPr/>
          <p:nvPr userDrawn="1"/>
        </p:nvSpPr>
        <p:spPr bwMode="auto">
          <a:xfrm>
            <a:off x="375155" y="1922461"/>
            <a:ext cx="7146695" cy="5969751"/>
          </a:xfrm>
          <a:prstGeom prst="homePlate">
            <a:avLst>
              <a:gd name="adj" fmla="val 8913"/>
            </a:avLst>
          </a:prstGeom>
          <a:solidFill>
            <a:schemeClr val="tx2">
              <a:lumMod val="20000"/>
              <a:lumOff val="80000"/>
            </a:schemeClr>
          </a:solidFill>
          <a:ln w="28575" cap="flat" cmpd="sng" algn="ctr">
            <a:solidFill>
              <a:schemeClr val="tx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232978" tIns="232978" rIns="232978" bIns="232978" numCol="1" rtlCol="0" anchor="t" anchorCtr="0" compatLnSpc="1">
            <a:prstTxWarp prst="textNoShape">
              <a:avLst/>
            </a:prstTxWarp>
          </a:bodyPr>
          <a:lstStyle/>
          <a:p>
            <a:pPr defTabSz="1183514"/>
            <a:r>
              <a:rPr lang="en-IN" sz="2105" b="1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  <a:endParaRPr lang="en-IN" sz="2386" b="1" dirty="0">
              <a:solidFill>
                <a:srgbClr val="000000"/>
              </a:solidFill>
              <a:latin typeface="Arial"/>
              <a:cs typeface="Arial"/>
            </a:endParaRPr>
          </a:p>
          <a:p>
            <a:pPr marL="589703" indent="-369867" defTabSz="1183514">
              <a:buFont typeface="Arial" pitchFamily="34" charset="0"/>
              <a:buChar char="•"/>
            </a:pPr>
            <a:r>
              <a:rPr lang="en-IN" sz="2105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  <a:p>
            <a:pPr marL="589703" indent="-369867" defTabSz="1183514">
              <a:buFont typeface="Arial" pitchFamily="34" charset="0"/>
              <a:buChar char="•"/>
            </a:pPr>
            <a:r>
              <a:rPr lang="en-IN" sz="2105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350067" y="1330883"/>
            <a:ext cx="13982874" cy="444634"/>
          </a:xfrm>
        </p:spPr>
        <p:txBody>
          <a:bodyPr/>
          <a:lstStyle>
            <a:lvl1pPr>
              <a:buNone/>
              <a:defRPr sz="2105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89407475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 dirty="0">
              <a:solidFill>
                <a:srgbClr val="FFFFFF"/>
              </a:solidFill>
            </a:endParaRPr>
          </a:p>
        </p:txBody>
      </p:sp>
      <p:graphicFrame>
        <p:nvGraphicFramePr>
          <p:cNvPr id="5" name="Diagram 4"/>
          <p:cNvGraphicFramePr/>
          <p:nvPr userDrawn="1"/>
        </p:nvGraphicFramePr>
        <p:xfrm>
          <a:off x="645567" y="1905657"/>
          <a:ext cx="7744897" cy="561561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8390466" y="3840045"/>
            <a:ext cx="5666027" cy="1415241"/>
          </a:xfrm>
          <a:prstGeom prst="rect">
            <a:avLst/>
          </a:prstGeom>
          <a:noFill/>
          <a:ln>
            <a:noFill/>
          </a:ln>
        </p:spPr>
        <p:txBody>
          <a:bodyPr wrap="square" lIns="118341" tIns="59173" rIns="118341" bIns="59173" rtlCol="0">
            <a:spAutoFit/>
          </a:bodyPr>
          <a:lstStyle/>
          <a:p>
            <a:pPr marL="369833" indent="-369833" defTabSz="1183391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en-US" sz="2105" dirty="0">
                <a:solidFill>
                  <a:prstClr val="black"/>
                </a:solidFill>
                <a:latin typeface="Arial"/>
                <a:cs typeface="Arial"/>
              </a:rPr>
              <a:t>TEXT</a:t>
            </a:r>
          </a:p>
          <a:p>
            <a:pPr marL="369833" indent="-369833" defTabSz="1183391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en-US" sz="2105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</a:p>
          <a:p>
            <a:pPr marL="369833" indent="-369833" defTabSz="1183391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en-US" sz="2105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</a:p>
          <a:p>
            <a:pPr marL="369833" indent="-369833" defTabSz="1183391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en-US" sz="2105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8390466" y="1883871"/>
            <a:ext cx="5666027" cy="1415241"/>
          </a:xfrm>
          <a:prstGeom prst="rect">
            <a:avLst/>
          </a:prstGeom>
          <a:noFill/>
          <a:ln>
            <a:noFill/>
          </a:ln>
        </p:spPr>
        <p:txBody>
          <a:bodyPr wrap="square" lIns="118341" tIns="59173" rIns="118341" bIns="59173" rtlCol="0">
            <a:spAutoFit/>
          </a:bodyPr>
          <a:lstStyle/>
          <a:p>
            <a:pPr marL="369833" indent="-369833" defTabSz="1183391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en-US" sz="2105" dirty="0">
                <a:solidFill>
                  <a:prstClr val="black"/>
                </a:solidFill>
                <a:latin typeface="Arial"/>
                <a:cs typeface="Arial"/>
              </a:rPr>
              <a:t>TEXT</a:t>
            </a:r>
          </a:p>
          <a:p>
            <a:pPr marL="369833" indent="-369833" defTabSz="1183391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en-US" sz="2105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</a:p>
          <a:p>
            <a:pPr marL="369833" indent="-369833" defTabSz="1183391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en-US" sz="2105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</a:p>
          <a:p>
            <a:pPr marL="369833" indent="-369833" defTabSz="1183391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en-US" sz="2105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8390466" y="5796430"/>
            <a:ext cx="5666027" cy="1415241"/>
          </a:xfrm>
          <a:prstGeom prst="rect">
            <a:avLst/>
          </a:prstGeom>
          <a:noFill/>
          <a:ln>
            <a:noFill/>
          </a:ln>
        </p:spPr>
        <p:txBody>
          <a:bodyPr wrap="square" lIns="118341" tIns="59173" rIns="118341" bIns="59173" rtlCol="0">
            <a:spAutoFit/>
          </a:bodyPr>
          <a:lstStyle/>
          <a:p>
            <a:pPr marL="369833" indent="-369833" defTabSz="1183391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en-US" sz="2105" dirty="0">
                <a:solidFill>
                  <a:prstClr val="black"/>
                </a:solidFill>
                <a:latin typeface="Arial"/>
                <a:cs typeface="Arial"/>
              </a:rPr>
              <a:t>TEXT</a:t>
            </a:r>
          </a:p>
          <a:p>
            <a:pPr marL="369833" indent="-369833" defTabSz="1183391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en-US" sz="2105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</a:p>
          <a:p>
            <a:pPr marL="369833" indent="-369833" defTabSz="1183391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en-US" sz="2105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</a:p>
          <a:p>
            <a:pPr marL="369833" indent="-369833" defTabSz="1183391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en-US" sz="2105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</a:p>
        </p:txBody>
      </p:sp>
      <p:sp>
        <p:nvSpPr>
          <p:cNvPr id="9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276468" y="1163833"/>
            <a:ext cx="14135451" cy="522775"/>
          </a:xfrm>
        </p:spPr>
        <p:txBody>
          <a:bodyPr/>
          <a:lstStyle>
            <a:lvl1pPr marL="0" indent="0">
              <a:buNone/>
              <a:defRPr sz="2105" b="1">
                <a:latin typeface="Arial" pitchFamily="34" charset="0"/>
                <a:cs typeface="Arial" pitchFamily="34" charset="0"/>
              </a:defRPr>
            </a:lvl1pPr>
            <a:lvl2pPr>
              <a:defRPr sz="1824">
                <a:latin typeface="Arial" pitchFamily="34" charset="0"/>
                <a:cs typeface="Arial" pitchFamily="34" charset="0"/>
              </a:defRPr>
            </a:lvl2pPr>
            <a:lvl3pPr marL="756388" indent="-252125">
              <a:buClr>
                <a:schemeClr val="tx2"/>
              </a:buClr>
              <a:buFont typeface="Wingdings" pitchFamily="2" charset="2"/>
              <a:buChar char="§"/>
              <a:defRPr sz="1544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226925482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61716" y="1796502"/>
            <a:ext cx="3536505" cy="3020859"/>
          </a:xfrm>
          <a:prstGeom prst="rect">
            <a:avLst/>
          </a:prstGeom>
          <a:solidFill>
            <a:srgbClr val="E2FFC5"/>
          </a:solidFill>
        </p:spPr>
        <p:txBody>
          <a:bodyPr wrap="square" lIns="118353" tIns="59179" rIns="118353" bIns="59179" anchor="ctr" anchorCtr="0">
            <a:normAutofit/>
          </a:bodyPr>
          <a:lstStyle/>
          <a:p>
            <a:pPr marL="347234" algn="just"/>
            <a:r>
              <a:rPr lang="en-IN" sz="2105" b="1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4365977" y="1807193"/>
            <a:ext cx="3536505" cy="3020859"/>
          </a:xfrm>
          <a:prstGeom prst="rect">
            <a:avLst/>
          </a:prstGeom>
          <a:solidFill>
            <a:srgbClr val="E2FFC5"/>
          </a:solidFill>
        </p:spPr>
        <p:txBody>
          <a:bodyPr wrap="square" lIns="118353" tIns="59179" rIns="118353" bIns="59179" anchor="ctr" anchorCtr="0">
            <a:normAutofit/>
          </a:bodyPr>
          <a:lstStyle/>
          <a:p>
            <a:pPr marL="347234" algn="just"/>
            <a:r>
              <a:rPr lang="en-IN" sz="2105" b="1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661716" y="4952317"/>
            <a:ext cx="3536505" cy="3020859"/>
          </a:xfrm>
          <a:prstGeom prst="rect">
            <a:avLst/>
          </a:prstGeom>
          <a:solidFill>
            <a:srgbClr val="E2FFC5"/>
          </a:solidFill>
        </p:spPr>
        <p:txBody>
          <a:bodyPr wrap="square" lIns="118353" tIns="59179" rIns="118353" bIns="59179" anchor="ctr" anchorCtr="0">
            <a:normAutofit/>
          </a:bodyPr>
          <a:lstStyle/>
          <a:p>
            <a:pPr marL="347234" algn="just"/>
            <a:r>
              <a:rPr lang="en-IN" sz="2105" b="1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8" name="Rectangle 7"/>
          <p:cNvSpPr/>
          <p:nvPr userDrawn="1"/>
        </p:nvSpPr>
        <p:spPr>
          <a:xfrm rot="425343">
            <a:off x="4537875" y="5048465"/>
            <a:ext cx="3435462" cy="293454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118353" tIns="59179" rIns="118353" bIns="59179" anchor="ctr" anchorCtr="0">
            <a:normAutofit/>
          </a:bodyPr>
          <a:lstStyle/>
          <a:p>
            <a:pPr marL="347234" algn="just"/>
            <a:r>
              <a:rPr lang="en-IN" sz="2105" b="1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8390466" y="1782678"/>
            <a:ext cx="5666027" cy="1415241"/>
          </a:xfrm>
          <a:prstGeom prst="rect">
            <a:avLst/>
          </a:prstGeom>
          <a:noFill/>
          <a:ln>
            <a:noFill/>
          </a:ln>
        </p:spPr>
        <p:txBody>
          <a:bodyPr wrap="square" lIns="118341" tIns="59173" rIns="118341" bIns="59173" rtlCol="0">
            <a:spAutoFit/>
          </a:bodyPr>
          <a:lstStyle/>
          <a:p>
            <a:pPr marL="369833" indent="-369833" defTabSz="1183391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en-US" sz="2105" dirty="0">
                <a:solidFill>
                  <a:prstClr val="black"/>
                </a:solidFill>
                <a:latin typeface="Arial"/>
                <a:cs typeface="Arial"/>
              </a:rPr>
              <a:t>TEXT</a:t>
            </a:r>
          </a:p>
          <a:p>
            <a:pPr marL="369833" indent="-369833" defTabSz="1183391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en-US" sz="2105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</a:p>
          <a:p>
            <a:pPr marL="369833" indent="-369833" defTabSz="1183391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en-US" sz="2105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</a:p>
          <a:p>
            <a:pPr marL="369833" indent="-369833" defTabSz="1183391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en-US" sz="2105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</a:p>
        </p:txBody>
      </p:sp>
      <p:sp>
        <p:nvSpPr>
          <p:cNvPr id="10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276468" y="1163833"/>
            <a:ext cx="14135451" cy="522775"/>
          </a:xfrm>
        </p:spPr>
        <p:txBody>
          <a:bodyPr/>
          <a:lstStyle>
            <a:lvl1pPr marL="0" indent="0">
              <a:buNone/>
              <a:defRPr sz="2105" b="1">
                <a:latin typeface="Arial" pitchFamily="34" charset="0"/>
                <a:cs typeface="Arial" pitchFamily="34" charset="0"/>
              </a:defRPr>
            </a:lvl1pPr>
            <a:lvl2pPr>
              <a:defRPr sz="1824">
                <a:latin typeface="Arial" pitchFamily="34" charset="0"/>
                <a:cs typeface="Arial" pitchFamily="34" charset="0"/>
              </a:defRPr>
            </a:lvl2pPr>
            <a:lvl3pPr marL="756388" indent="-252125">
              <a:buClr>
                <a:schemeClr val="tx2"/>
              </a:buClr>
              <a:buFont typeface="Wingdings" pitchFamily="2" charset="2"/>
              <a:buChar char="§"/>
              <a:defRPr sz="1544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926278284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217173" y="1979686"/>
            <a:ext cx="4554387" cy="43155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3568" tIns="61787" rIns="123568" bIns="61787" rtlCol="0" anchor="ctr"/>
          <a:lstStyle/>
          <a:p>
            <a:pPr algn="ctr"/>
            <a:r>
              <a:rPr lang="en-IN" sz="1824" b="1" dirty="0">
                <a:solidFill>
                  <a:srgbClr val="000000"/>
                </a:solidFill>
              </a:rPr>
              <a:t>Description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828853" y="1962827"/>
            <a:ext cx="0" cy="6041718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>
            <a:off x="9711127" y="1979693"/>
            <a:ext cx="0" cy="6041718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 userDrawn="1"/>
        </p:nvSpPr>
        <p:spPr>
          <a:xfrm>
            <a:off x="183237" y="4672594"/>
            <a:ext cx="4554383" cy="115019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123568" tIns="61787" rIns="123568" bIns="61787">
            <a:spAutoFit/>
          </a:bodyPr>
          <a:lstStyle/>
          <a:p>
            <a:pPr marL="128706" indent="-128706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</a:pPr>
            <a:r>
              <a:rPr lang="en-GB" sz="1544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  <a:p>
            <a:pPr marL="128706" indent="-128706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</a:pPr>
            <a:endParaRPr lang="en-GB" sz="1544" dirty="0">
              <a:solidFill>
                <a:srgbClr val="000000"/>
              </a:solidFill>
              <a:latin typeface="Arial"/>
              <a:cs typeface="Arial"/>
            </a:endParaRPr>
          </a:p>
          <a:p>
            <a:pPr marL="128706" indent="-128706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</a:pPr>
            <a:endParaRPr lang="en-GB" sz="1544" dirty="0">
              <a:solidFill>
                <a:srgbClr val="000000"/>
              </a:solidFill>
              <a:latin typeface="Arial"/>
              <a:cs typeface="Arial"/>
            </a:endParaRPr>
          </a:p>
          <a:p>
            <a:pPr marL="128706" indent="-128706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</a:pPr>
            <a:endParaRPr lang="en-GB" sz="1544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217174" y="4069338"/>
            <a:ext cx="14138783" cy="43155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3568" tIns="61787" rIns="123568" bIns="61787" rtlCol="0" anchor="ctr"/>
          <a:lstStyle/>
          <a:p>
            <a:pPr algn="ctr">
              <a:buClr>
                <a:srgbClr val="3D7EDB"/>
              </a:buClr>
            </a:pPr>
            <a:r>
              <a:rPr lang="en-GB" sz="2105" b="1" dirty="0">
                <a:solidFill>
                  <a:srgbClr val="000000"/>
                </a:solidFill>
              </a:rPr>
              <a:t>Description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197440" y="2492440"/>
            <a:ext cx="4554383" cy="115019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123568" tIns="61787" rIns="123568" bIns="61787">
            <a:spAutoFit/>
          </a:bodyPr>
          <a:lstStyle/>
          <a:p>
            <a:pPr marL="128706" indent="-128706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</a:pPr>
            <a:r>
              <a:rPr lang="en-GB" sz="1544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  <a:p>
            <a:pPr marL="128706" indent="-128706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</a:pPr>
            <a:endParaRPr lang="en-GB" sz="1544" dirty="0">
              <a:solidFill>
                <a:srgbClr val="000000"/>
              </a:solidFill>
              <a:latin typeface="Arial"/>
              <a:cs typeface="Arial"/>
            </a:endParaRPr>
          </a:p>
          <a:p>
            <a:pPr marL="128706" indent="-128706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</a:pPr>
            <a:endParaRPr lang="en-GB" sz="1544" dirty="0">
              <a:solidFill>
                <a:srgbClr val="000000"/>
              </a:solidFill>
              <a:latin typeface="Arial"/>
              <a:cs typeface="Arial"/>
            </a:endParaRPr>
          </a:p>
          <a:p>
            <a:pPr marL="128706" indent="-128706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</a:pPr>
            <a:endParaRPr lang="en-GB" sz="1544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4927588" y="1979686"/>
            <a:ext cx="4733295" cy="43155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3568" tIns="61787" rIns="123568" bIns="61787" rtlCol="0" anchor="ctr"/>
          <a:lstStyle/>
          <a:p>
            <a:pPr algn="ctr"/>
            <a:r>
              <a:rPr lang="en-IN" sz="1824" b="1" dirty="0">
                <a:solidFill>
                  <a:srgbClr val="000000"/>
                </a:solidFill>
              </a:rPr>
              <a:t>Description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4893687" y="4672594"/>
            <a:ext cx="4733293" cy="115019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123568" tIns="61787" rIns="123568" bIns="61787">
            <a:spAutoFit/>
          </a:bodyPr>
          <a:lstStyle/>
          <a:p>
            <a:pPr marL="128706" indent="-128706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</a:pPr>
            <a:r>
              <a:rPr lang="en-GB" sz="1544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  <a:p>
            <a:pPr marL="128706" indent="-128706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</a:pPr>
            <a:endParaRPr lang="en-GB" sz="1544" dirty="0">
              <a:solidFill>
                <a:srgbClr val="000000"/>
              </a:solidFill>
              <a:latin typeface="Arial"/>
              <a:cs typeface="Arial"/>
            </a:endParaRPr>
          </a:p>
          <a:p>
            <a:pPr marL="128706" indent="-128706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</a:pPr>
            <a:endParaRPr lang="en-GB" sz="1544" dirty="0">
              <a:solidFill>
                <a:srgbClr val="000000"/>
              </a:solidFill>
              <a:latin typeface="Arial"/>
              <a:cs typeface="Arial"/>
            </a:endParaRPr>
          </a:p>
          <a:p>
            <a:pPr marL="128706" indent="-128706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</a:pPr>
            <a:endParaRPr lang="en-GB" sz="1544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19" name="Rectangle 18"/>
          <p:cNvSpPr/>
          <p:nvPr userDrawn="1"/>
        </p:nvSpPr>
        <p:spPr>
          <a:xfrm>
            <a:off x="4907889" y="2492440"/>
            <a:ext cx="4733293" cy="115019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123568" tIns="61787" rIns="123568" bIns="61787">
            <a:spAutoFit/>
          </a:bodyPr>
          <a:lstStyle/>
          <a:p>
            <a:pPr marL="128706" indent="-128706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</a:pPr>
            <a:r>
              <a:rPr lang="en-GB" sz="1544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  <a:p>
            <a:pPr marL="128706" indent="-128706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</a:pPr>
            <a:endParaRPr lang="en-GB" sz="1544" dirty="0">
              <a:solidFill>
                <a:srgbClr val="000000"/>
              </a:solidFill>
              <a:latin typeface="Arial"/>
              <a:cs typeface="Arial"/>
            </a:endParaRPr>
          </a:p>
          <a:p>
            <a:pPr marL="128706" indent="-128706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</a:pPr>
            <a:endParaRPr lang="en-GB" sz="1544" dirty="0">
              <a:solidFill>
                <a:srgbClr val="000000"/>
              </a:solidFill>
              <a:latin typeface="Arial"/>
              <a:cs typeface="Arial"/>
            </a:endParaRPr>
          </a:p>
          <a:p>
            <a:pPr marL="128706" indent="-128706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</a:pPr>
            <a:endParaRPr lang="en-GB" sz="1544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0" name="Rectangle 19"/>
          <p:cNvSpPr/>
          <p:nvPr userDrawn="1"/>
        </p:nvSpPr>
        <p:spPr>
          <a:xfrm>
            <a:off x="9835530" y="1979686"/>
            <a:ext cx="4554387" cy="43155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3568" tIns="61787" rIns="123568" bIns="61787" rtlCol="0" anchor="ctr"/>
          <a:lstStyle/>
          <a:p>
            <a:pPr algn="ctr"/>
            <a:r>
              <a:rPr lang="en-IN" sz="1824" b="1" dirty="0">
                <a:solidFill>
                  <a:srgbClr val="000000"/>
                </a:solidFill>
              </a:rPr>
              <a:t>Description</a:t>
            </a:r>
          </a:p>
        </p:txBody>
      </p:sp>
      <p:sp>
        <p:nvSpPr>
          <p:cNvPr id="21" name="Rectangle 20"/>
          <p:cNvSpPr/>
          <p:nvPr userDrawn="1"/>
        </p:nvSpPr>
        <p:spPr>
          <a:xfrm>
            <a:off x="9801581" y="4672594"/>
            <a:ext cx="4554383" cy="115019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123568" tIns="61787" rIns="123568" bIns="61787">
            <a:spAutoFit/>
          </a:bodyPr>
          <a:lstStyle/>
          <a:p>
            <a:pPr marL="128706" indent="-128706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</a:pPr>
            <a:r>
              <a:rPr lang="en-GB" sz="1544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  <a:p>
            <a:pPr marL="128706" indent="-128706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</a:pPr>
            <a:endParaRPr lang="en-GB" sz="1544" dirty="0">
              <a:solidFill>
                <a:srgbClr val="000000"/>
              </a:solidFill>
              <a:latin typeface="Arial"/>
              <a:cs typeface="Arial"/>
            </a:endParaRPr>
          </a:p>
          <a:p>
            <a:pPr marL="128706" indent="-128706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</a:pPr>
            <a:endParaRPr lang="en-GB" sz="1544" dirty="0">
              <a:solidFill>
                <a:srgbClr val="000000"/>
              </a:solidFill>
              <a:latin typeface="Arial"/>
              <a:cs typeface="Arial"/>
            </a:endParaRPr>
          </a:p>
          <a:p>
            <a:pPr marL="128706" indent="-128706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</a:pPr>
            <a:endParaRPr lang="en-GB" sz="1544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2" name="Rectangle 21"/>
          <p:cNvSpPr/>
          <p:nvPr userDrawn="1"/>
        </p:nvSpPr>
        <p:spPr>
          <a:xfrm>
            <a:off x="9815787" y="2492440"/>
            <a:ext cx="4554383" cy="115019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123568" tIns="61787" rIns="123568" bIns="61787">
            <a:spAutoFit/>
          </a:bodyPr>
          <a:lstStyle/>
          <a:p>
            <a:pPr marL="128706" indent="-128706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</a:pPr>
            <a:r>
              <a:rPr lang="en-GB" sz="1544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  <a:p>
            <a:pPr marL="128706" indent="-128706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</a:pPr>
            <a:endParaRPr lang="en-GB" sz="1544" dirty="0">
              <a:solidFill>
                <a:srgbClr val="000000"/>
              </a:solidFill>
              <a:latin typeface="Arial"/>
              <a:cs typeface="Arial"/>
            </a:endParaRPr>
          </a:p>
          <a:p>
            <a:pPr marL="128706" indent="-128706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</a:pPr>
            <a:endParaRPr lang="en-GB" sz="1544" dirty="0">
              <a:solidFill>
                <a:srgbClr val="000000"/>
              </a:solidFill>
              <a:latin typeface="Arial"/>
              <a:cs typeface="Arial"/>
            </a:endParaRPr>
          </a:p>
          <a:p>
            <a:pPr marL="128706" indent="-128706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</a:pPr>
            <a:endParaRPr lang="en-GB" sz="1544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4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276468" y="1163833"/>
            <a:ext cx="14135451" cy="522775"/>
          </a:xfrm>
        </p:spPr>
        <p:txBody>
          <a:bodyPr/>
          <a:lstStyle>
            <a:lvl1pPr marL="0" indent="0">
              <a:buNone/>
              <a:defRPr sz="2105" b="1">
                <a:latin typeface="Arial" pitchFamily="34" charset="0"/>
                <a:cs typeface="Arial" pitchFamily="34" charset="0"/>
              </a:defRPr>
            </a:lvl1pPr>
            <a:lvl2pPr>
              <a:defRPr sz="1824">
                <a:latin typeface="Arial" pitchFamily="34" charset="0"/>
                <a:cs typeface="Arial" pitchFamily="34" charset="0"/>
              </a:defRPr>
            </a:lvl2pPr>
            <a:lvl3pPr marL="756388" indent="-252125">
              <a:buClr>
                <a:schemeClr val="tx2"/>
              </a:buClr>
              <a:buFont typeface="Wingdings" pitchFamily="2" charset="2"/>
              <a:buChar char="§"/>
              <a:defRPr sz="1544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134210810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>
            <a:spLocks noChangeArrowheads="1"/>
          </p:cNvSpPr>
          <p:nvPr userDrawn="1"/>
        </p:nvSpPr>
        <p:spPr bwMode="gray">
          <a:xfrm>
            <a:off x="473416" y="1545530"/>
            <a:ext cx="13621933" cy="561017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329251" tIns="94076" rIns="94076" bIns="94076" anchor="ctr"/>
          <a:lstStyle/>
          <a:p>
            <a:pPr marL="443817" indent="-443817" eaLnBrk="0" hangingPunct="0">
              <a:spcBef>
                <a:spcPct val="25000"/>
              </a:spcBef>
              <a:buFont typeface="+mj-lt"/>
              <a:buAutoNum type="arabicPeriod"/>
              <a:defRPr/>
            </a:pPr>
            <a:r>
              <a:rPr lang="en-US" sz="2105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  <a:endParaRPr lang="en-IN" sz="2105" noProof="1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gray">
          <a:xfrm>
            <a:off x="473416" y="2310210"/>
            <a:ext cx="13621933" cy="561017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329251" tIns="94076" rIns="94076" bIns="94076" anchor="ctr"/>
          <a:lstStyle/>
          <a:p>
            <a:pPr eaLnBrk="0" hangingPunct="0">
              <a:spcBef>
                <a:spcPct val="25000"/>
              </a:spcBef>
              <a:defRPr/>
            </a:pPr>
            <a:endParaRPr lang="en-US" sz="2105" dirty="0">
              <a:solidFill>
                <a:srgbClr val="000000"/>
              </a:solidFill>
              <a:latin typeface="Arial"/>
              <a:cs typeface="Arial"/>
            </a:endParaRPr>
          </a:p>
          <a:p>
            <a:pPr marL="443817" indent="-443817" eaLnBrk="0" hangingPunct="0">
              <a:spcBef>
                <a:spcPct val="25000"/>
              </a:spcBef>
              <a:buFont typeface="+mj-lt"/>
              <a:buAutoNum type="arabicPeriod" startAt="2"/>
              <a:defRPr/>
            </a:pPr>
            <a:r>
              <a:rPr lang="en-US" sz="2105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  <a:p>
            <a:pPr eaLnBrk="0" hangingPunct="0">
              <a:spcBef>
                <a:spcPct val="25000"/>
              </a:spcBef>
              <a:defRPr/>
            </a:pPr>
            <a:endParaRPr lang="en-US" sz="2105" noProof="1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gray">
          <a:xfrm>
            <a:off x="473416" y="3074889"/>
            <a:ext cx="13621933" cy="561017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329251" tIns="94076" rIns="94076" bIns="94076" anchor="ctr"/>
          <a:lstStyle/>
          <a:p>
            <a:pPr eaLnBrk="0" hangingPunct="0">
              <a:spcBef>
                <a:spcPct val="25000"/>
              </a:spcBef>
              <a:defRPr/>
            </a:pPr>
            <a:endParaRPr lang="en-US" sz="2105" dirty="0">
              <a:solidFill>
                <a:srgbClr val="000000"/>
              </a:solidFill>
              <a:latin typeface="Arial"/>
              <a:cs typeface="Arial"/>
            </a:endParaRPr>
          </a:p>
          <a:p>
            <a:pPr marL="443817" indent="-443817" eaLnBrk="0" hangingPunct="0">
              <a:spcBef>
                <a:spcPct val="25000"/>
              </a:spcBef>
              <a:buFont typeface="+mj-lt"/>
              <a:buAutoNum type="arabicPeriod" startAt="3"/>
              <a:defRPr/>
            </a:pPr>
            <a:r>
              <a:rPr lang="en-US" sz="2105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  <a:p>
            <a:pPr eaLnBrk="0" hangingPunct="0">
              <a:spcBef>
                <a:spcPct val="25000"/>
              </a:spcBef>
              <a:defRPr/>
            </a:pPr>
            <a:endParaRPr lang="en-US" sz="2105" noProof="1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gray">
          <a:xfrm>
            <a:off x="473416" y="4604249"/>
            <a:ext cx="13621933" cy="561017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329251" tIns="94076" rIns="94076" bIns="94076" anchor="ctr"/>
          <a:lstStyle/>
          <a:p>
            <a:pPr eaLnBrk="0" hangingPunct="0">
              <a:spcBef>
                <a:spcPct val="25000"/>
              </a:spcBef>
              <a:defRPr/>
            </a:pPr>
            <a:endParaRPr lang="en-US" sz="2105" dirty="0">
              <a:solidFill>
                <a:srgbClr val="000000"/>
              </a:solidFill>
              <a:latin typeface="Arial"/>
              <a:cs typeface="Arial"/>
            </a:endParaRPr>
          </a:p>
          <a:p>
            <a:pPr marL="443817" indent="-443817" eaLnBrk="0" hangingPunct="0">
              <a:spcBef>
                <a:spcPct val="25000"/>
              </a:spcBef>
              <a:buFont typeface="+mj-lt"/>
              <a:buAutoNum type="arabicPeriod" startAt="5"/>
              <a:defRPr/>
            </a:pPr>
            <a:r>
              <a:rPr lang="en-US" sz="2105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  <a:p>
            <a:pPr eaLnBrk="0" hangingPunct="0">
              <a:spcBef>
                <a:spcPct val="25000"/>
              </a:spcBef>
              <a:defRPr/>
            </a:pPr>
            <a:endParaRPr lang="en-US" sz="2105" noProof="1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gray">
          <a:xfrm>
            <a:off x="473416" y="3839569"/>
            <a:ext cx="13621933" cy="561017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329251" tIns="94076" rIns="94076" bIns="94076" anchor="ctr"/>
          <a:lstStyle/>
          <a:p>
            <a:pPr marL="443817" indent="-443817" eaLnBrk="0" hangingPunct="0">
              <a:spcBef>
                <a:spcPct val="25000"/>
              </a:spcBef>
              <a:buFont typeface="+mj-lt"/>
              <a:buAutoNum type="arabicPeriod" startAt="4"/>
              <a:defRPr/>
            </a:pPr>
            <a:r>
              <a:rPr lang="en-US" sz="2105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  <a:endParaRPr lang="en-US" sz="2105" noProof="1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gray">
          <a:xfrm>
            <a:off x="473416" y="5368929"/>
            <a:ext cx="13621933" cy="561017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329251" tIns="94076" rIns="94076" bIns="94076" anchor="ctr"/>
          <a:lstStyle/>
          <a:p>
            <a:pPr marL="443817" indent="-443817" eaLnBrk="0" hangingPunct="0">
              <a:spcBef>
                <a:spcPct val="25000"/>
              </a:spcBef>
              <a:buFont typeface="+mj-lt"/>
              <a:buAutoNum type="arabicPeriod" startAt="6"/>
              <a:defRPr/>
            </a:pPr>
            <a:r>
              <a:rPr lang="en-US" sz="2105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  <a:endParaRPr lang="en-US" sz="2105" noProof="1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11" name="Rectangle 4"/>
          <p:cNvSpPr>
            <a:spLocks noChangeArrowheads="1"/>
          </p:cNvSpPr>
          <p:nvPr userDrawn="1"/>
        </p:nvSpPr>
        <p:spPr bwMode="gray">
          <a:xfrm>
            <a:off x="473416" y="6133608"/>
            <a:ext cx="13621933" cy="561017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329251" tIns="94076" rIns="94076" bIns="94076" anchor="ctr"/>
          <a:lstStyle/>
          <a:p>
            <a:pPr eaLnBrk="0" hangingPunct="0">
              <a:spcBef>
                <a:spcPct val="25000"/>
              </a:spcBef>
              <a:defRPr/>
            </a:pPr>
            <a:endParaRPr lang="en-US" sz="2105" dirty="0">
              <a:solidFill>
                <a:srgbClr val="000000"/>
              </a:solidFill>
              <a:latin typeface="Arial"/>
              <a:cs typeface="Arial"/>
            </a:endParaRPr>
          </a:p>
          <a:p>
            <a:pPr marL="443817" indent="-443817" eaLnBrk="0" hangingPunct="0">
              <a:spcBef>
                <a:spcPct val="25000"/>
              </a:spcBef>
              <a:buFont typeface="+mj-lt"/>
              <a:buAutoNum type="arabicPeriod" startAt="7"/>
              <a:defRPr/>
            </a:pPr>
            <a:r>
              <a:rPr lang="en-US" sz="2105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  <a:p>
            <a:pPr eaLnBrk="0" hangingPunct="0">
              <a:spcBef>
                <a:spcPct val="25000"/>
              </a:spcBef>
              <a:defRPr/>
            </a:pPr>
            <a:endParaRPr lang="en-US" sz="2105" noProof="1">
              <a:solidFill>
                <a:srgbClr val="000000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64225713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2" name="Content Placeholder 22"/>
          <p:cNvSpPr>
            <a:spLocks noGrp="1"/>
          </p:cNvSpPr>
          <p:nvPr userDrawn="1"/>
        </p:nvSpPr>
        <p:spPr bwMode="auto">
          <a:xfrm>
            <a:off x="2297802" y="1724912"/>
            <a:ext cx="11590735" cy="1206010"/>
          </a:xfrm>
          <a:prstGeom prst="rect">
            <a:avLst/>
          </a:prstGeom>
          <a:solidFill>
            <a:srgbClr val="00B0F0">
              <a:lumMod val="20000"/>
              <a:lumOff val="80000"/>
            </a:srgbClr>
          </a:solidFill>
          <a:ln w="12700">
            <a:solidFill>
              <a:srgbClr val="00B0F0"/>
            </a:solidFill>
            <a:miter lim="800000"/>
            <a:headEnd/>
            <a:tailEnd/>
          </a:ln>
          <a:effectLst/>
        </p:spPr>
        <p:txBody>
          <a:bodyPr vert="horz" wrap="square" lIns="473422" tIns="59179" rIns="59179" bIns="59179" numCol="1" anchor="ctr" anchorCtr="0" compatLnSpc="1">
            <a:prstTxWarp prst="textNoShape">
              <a:avLst/>
            </a:prstTxWarp>
          </a:bodyPr>
          <a:lstStyle>
            <a:lvl1pPr marL="228600" indent="-228600" algn="l" defTabSz="1019175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4080"/>
              </a:buClr>
              <a:buSzPct val="90000"/>
              <a:buFont typeface="Wingdings" pitchFamily="2" charset="2"/>
              <a:buChar char="n"/>
              <a:defRPr sz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390525" indent="-142875" algn="l" defTabSz="1019175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4080"/>
              </a:buClr>
              <a:buSzPct val="100000"/>
              <a:buFont typeface="Arial" pitchFamily="34" charset="0"/>
              <a:buChar char="–"/>
              <a:defRPr sz="1100">
                <a:solidFill>
                  <a:srgbClr val="000000"/>
                </a:solidFill>
                <a:latin typeface="+mn-lt"/>
              </a:defRPr>
            </a:lvl2pPr>
            <a:lvl3pPr marL="504825" indent="-104775" algn="l" defTabSz="1019175" rtl="0" eaLnBrk="1" fontAlgn="base" hangingPunct="1">
              <a:spcBef>
                <a:spcPts val="200"/>
              </a:spcBef>
              <a:spcAft>
                <a:spcPct val="0"/>
              </a:spcAft>
              <a:buClr>
                <a:srgbClr val="004080"/>
              </a:buClr>
              <a:buSzPct val="100000"/>
              <a:buFont typeface="Wingdings" pitchFamily="2" charset="2"/>
              <a:buChar char="w"/>
              <a:defRPr sz="1000">
                <a:solidFill>
                  <a:srgbClr val="000000"/>
                </a:solidFill>
                <a:latin typeface="+mn-lt"/>
              </a:defRPr>
            </a:lvl3pPr>
            <a:lvl4pPr marL="904875" indent="-212725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4pPr>
            <a:lvl5pPr marL="11477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5pPr>
            <a:lvl6pPr marL="16049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6pPr>
            <a:lvl7pPr marL="20621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7pPr>
            <a:lvl8pPr marL="25193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8pPr>
            <a:lvl9pPr marL="29765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295877" indent="-295877" defTabSz="1319119">
              <a:spcBef>
                <a:spcPts val="778"/>
              </a:spcBef>
              <a:defRPr/>
            </a:pPr>
            <a:r>
              <a:rPr lang="en-US" sz="1824" kern="0" dirty="0"/>
              <a:t>Sample 1</a:t>
            </a:r>
          </a:p>
          <a:p>
            <a:pPr marL="505460" lvl="1" indent="-184938" defTabSz="1319119">
              <a:spcBef>
                <a:spcPts val="519"/>
              </a:spcBef>
              <a:defRPr/>
            </a:pPr>
            <a:r>
              <a:rPr lang="en-US" sz="1824" kern="0" dirty="0">
                <a:cs typeface="Arial"/>
              </a:rPr>
              <a:t>Sample 2</a:t>
            </a:r>
          </a:p>
          <a:p>
            <a:pPr marL="653398" lvl="2" indent="-135619" defTabSz="1319119">
              <a:spcBef>
                <a:spcPts val="260"/>
              </a:spcBef>
              <a:defRPr/>
            </a:pPr>
            <a:r>
              <a:rPr lang="en-US" sz="1824" kern="0" dirty="0">
                <a:cs typeface="Arial"/>
              </a:rPr>
              <a:t>Sample 3</a:t>
            </a:r>
          </a:p>
        </p:txBody>
      </p:sp>
      <p:sp>
        <p:nvSpPr>
          <p:cNvPr id="14" name="Oval 13"/>
          <p:cNvSpPr/>
          <p:nvPr userDrawn="1"/>
        </p:nvSpPr>
        <p:spPr>
          <a:xfrm>
            <a:off x="1140785" y="1650101"/>
            <a:ext cx="1594164" cy="1364560"/>
          </a:xfrm>
          <a:prstGeom prst="ellipse">
            <a:avLst/>
          </a:prstGeom>
          <a:solidFill>
            <a:srgbClr val="00B0F0"/>
          </a:solidFill>
          <a:ln w="6350" cap="flat" cmpd="sng" algn="ctr">
            <a:solidFill>
              <a:srgbClr val="00B0F0"/>
            </a:solidFill>
            <a:prstDash val="solid"/>
          </a:ln>
          <a:effectLst/>
        </p:spPr>
        <p:txBody>
          <a:bodyPr lIns="118353" tIns="59179" rIns="118353" bIns="59179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183514">
              <a:defRPr/>
            </a:pPr>
            <a:r>
              <a:rPr lang="en-US" sz="1824" b="1" dirty="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17" name="Content Placeholder 22"/>
          <p:cNvSpPr>
            <a:spLocks noGrp="1"/>
          </p:cNvSpPr>
          <p:nvPr userDrawn="1"/>
        </p:nvSpPr>
        <p:spPr bwMode="auto">
          <a:xfrm>
            <a:off x="2908097" y="3508318"/>
            <a:ext cx="10919345" cy="1206010"/>
          </a:xfrm>
          <a:prstGeom prst="rect">
            <a:avLst/>
          </a:prstGeom>
          <a:solidFill>
            <a:srgbClr val="00B0F0">
              <a:lumMod val="20000"/>
              <a:lumOff val="80000"/>
            </a:srgbClr>
          </a:solidFill>
          <a:ln w="12700">
            <a:solidFill>
              <a:srgbClr val="00B0F0"/>
            </a:solidFill>
            <a:miter lim="800000"/>
            <a:headEnd/>
            <a:tailEnd/>
          </a:ln>
          <a:effectLst/>
        </p:spPr>
        <p:txBody>
          <a:bodyPr vert="horz" wrap="square" lIns="473422" tIns="59179" rIns="59179" bIns="59179" numCol="1" anchor="ctr" anchorCtr="0" compatLnSpc="1">
            <a:prstTxWarp prst="textNoShape">
              <a:avLst/>
            </a:prstTxWarp>
          </a:bodyPr>
          <a:lstStyle>
            <a:lvl1pPr marL="228600" indent="-228600" algn="l" defTabSz="1019175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4080"/>
              </a:buClr>
              <a:buSzPct val="90000"/>
              <a:buFont typeface="Wingdings" pitchFamily="2" charset="2"/>
              <a:buChar char="n"/>
              <a:defRPr sz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390525" indent="-142875" algn="l" defTabSz="1019175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4080"/>
              </a:buClr>
              <a:buSzPct val="100000"/>
              <a:buFont typeface="Arial" pitchFamily="34" charset="0"/>
              <a:buChar char="–"/>
              <a:defRPr sz="1100">
                <a:solidFill>
                  <a:srgbClr val="000000"/>
                </a:solidFill>
                <a:latin typeface="+mn-lt"/>
              </a:defRPr>
            </a:lvl2pPr>
            <a:lvl3pPr marL="504825" indent="-104775" algn="l" defTabSz="1019175" rtl="0" eaLnBrk="1" fontAlgn="base" hangingPunct="1">
              <a:spcBef>
                <a:spcPts val="200"/>
              </a:spcBef>
              <a:spcAft>
                <a:spcPct val="0"/>
              </a:spcAft>
              <a:buClr>
                <a:srgbClr val="004080"/>
              </a:buClr>
              <a:buSzPct val="100000"/>
              <a:buFont typeface="Wingdings" pitchFamily="2" charset="2"/>
              <a:buChar char="w"/>
              <a:defRPr sz="1000">
                <a:solidFill>
                  <a:srgbClr val="000000"/>
                </a:solidFill>
                <a:latin typeface="+mn-lt"/>
              </a:defRPr>
            </a:lvl3pPr>
            <a:lvl4pPr marL="904875" indent="-212725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4pPr>
            <a:lvl5pPr marL="11477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5pPr>
            <a:lvl6pPr marL="16049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6pPr>
            <a:lvl7pPr marL="20621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7pPr>
            <a:lvl8pPr marL="25193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8pPr>
            <a:lvl9pPr marL="29765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295877" indent="-295877" defTabSz="1319119">
              <a:spcBef>
                <a:spcPts val="778"/>
              </a:spcBef>
              <a:defRPr/>
            </a:pPr>
            <a:r>
              <a:rPr lang="en-US" sz="1824" kern="0" dirty="0"/>
              <a:t>Sample 1</a:t>
            </a:r>
          </a:p>
          <a:p>
            <a:pPr marL="505460" lvl="1" indent="-184938" defTabSz="1319119">
              <a:spcBef>
                <a:spcPts val="519"/>
              </a:spcBef>
              <a:defRPr/>
            </a:pPr>
            <a:r>
              <a:rPr lang="en-US" sz="1824" kern="0" dirty="0">
                <a:cs typeface="Arial"/>
              </a:rPr>
              <a:t>Sample 2</a:t>
            </a:r>
          </a:p>
          <a:p>
            <a:pPr marL="653398" lvl="2" indent="-135619" defTabSz="1319119">
              <a:spcBef>
                <a:spcPts val="260"/>
              </a:spcBef>
              <a:defRPr/>
            </a:pPr>
            <a:r>
              <a:rPr lang="en-US" sz="1824" kern="0" dirty="0">
                <a:cs typeface="Arial"/>
              </a:rPr>
              <a:t>Sample 3</a:t>
            </a:r>
          </a:p>
        </p:txBody>
      </p:sp>
      <p:sp>
        <p:nvSpPr>
          <p:cNvPr id="18" name="Oval 17"/>
          <p:cNvSpPr/>
          <p:nvPr userDrawn="1"/>
        </p:nvSpPr>
        <p:spPr>
          <a:xfrm>
            <a:off x="1751071" y="3433674"/>
            <a:ext cx="1594164" cy="1364560"/>
          </a:xfrm>
          <a:prstGeom prst="ellipse">
            <a:avLst/>
          </a:prstGeom>
          <a:solidFill>
            <a:srgbClr val="00B0F0"/>
          </a:solidFill>
          <a:ln w="6350" cap="flat" cmpd="sng" algn="ctr">
            <a:solidFill>
              <a:srgbClr val="00B0F0"/>
            </a:solidFill>
            <a:prstDash val="solid"/>
          </a:ln>
          <a:effectLst/>
        </p:spPr>
        <p:txBody>
          <a:bodyPr lIns="118353" tIns="59179" rIns="118353" bIns="59179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183514">
              <a:defRPr/>
            </a:pPr>
            <a:r>
              <a:rPr lang="en-US" sz="1824" b="1" dirty="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19" name="Content Placeholder 22"/>
          <p:cNvSpPr>
            <a:spLocks noGrp="1"/>
          </p:cNvSpPr>
          <p:nvPr userDrawn="1"/>
        </p:nvSpPr>
        <p:spPr bwMode="auto">
          <a:xfrm>
            <a:off x="2409115" y="5378684"/>
            <a:ext cx="11438760" cy="1206010"/>
          </a:xfrm>
          <a:prstGeom prst="rect">
            <a:avLst/>
          </a:prstGeom>
          <a:solidFill>
            <a:srgbClr val="00B0F0">
              <a:lumMod val="20000"/>
              <a:lumOff val="80000"/>
            </a:srgbClr>
          </a:solidFill>
          <a:ln w="12700">
            <a:solidFill>
              <a:srgbClr val="00B0F0"/>
            </a:solidFill>
            <a:miter lim="800000"/>
            <a:headEnd/>
            <a:tailEnd/>
          </a:ln>
          <a:effectLst/>
        </p:spPr>
        <p:txBody>
          <a:bodyPr vert="horz" wrap="square" lIns="473422" tIns="59179" rIns="59179" bIns="59179" numCol="1" anchor="ctr" anchorCtr="0" compatLnSpc="1">
            <a:prstTxWarp prst="textNoShape">
              <a:avLst/>
            </a:prstTxWarp>
          </a:bodyPr>
          <a:lstStyle>
            <a:lvl1pPr marL="228600" indent="-228600" algn="l" defTabSz="1019175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4080"/>
              </a:buClr>
              <a:buSzPct val="90000"/>
              <a:buFont typeface="Wingdings" pitchFamily="2" charset="2"/>
              <a:buChar char="n"/>
              <a:defRPr sz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390525" indent="-142875" algn="l" defTabSz="1019175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4080"/>
              </a:buClr>
              <a:buSzPct val="100000"/>
              <a:buFont typeface="Arial" pitchFamily="34" charset="0"/>
              <a:buChar char="–"/>
              <a:defRPr sz="1100">
                <a:solidFill>
                  <a:srgbClr val="000000"/>
                </a:solidFill>
                <a:latin typeface="+mn-lt"/>
              </a:defRPr>
            </a:lvl2pPr>
            <a:lvl3pPr marL="504825" indent="-104775" algn="l" defTabSz="1019175" rtl="0" eaLnBrk="1" fontAlgn="base" hangingPunct="1">
              <a:spcBef>
                <a:spcPts val="200"/>
              </a:spcBef>
              <a:spcAft>
                <a:spcPct val="0"/>
              </a:spcAft>
              <a:buClr>
                <a:srgbClr val="004080"/>
              </a:buClr>
              <a:buSzPct val="100000"/>
              <a:buFont typeface="Wingdings" pitchFamily="2" charset="2"/>
              <a:buChar char="w"/>
              <a:defRPr sz="1000">
                <a:solidFill>
                  <a:srgbClr val="000000"/>
                </a:solidFill>
                <a:latin typeface="+mn-lt"/>
              </a:defRPr>
            </a:lvl3pPr>
            <a:lvl4pPr marL="904875" indent="-212725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4pPr>
            <a:lvl5pPr marL="11477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5pPr>
            <a:lvl6pPr marL="16049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6pPr>
            <a:lvl7pPr marL="20621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7pPr>
            <a:lvl8pPr marL="25193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8pPr>
            <a:lvl9pPr marL="29765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295877" indent="-295877" defTabSz="1319119">
              <a:spcBef>
                <a:spcPts val="778"/>
              </a:spcBef>
              <a:defRPr/>
            </a:pPr>
            <a:r>
              <a:rPr lang="en-US" sz="1824" kern="0" dirty="0"/>
              <a:t>Sample 1</a:t>
            </a:r>
          </a:p>
          <a:p>
            <a:pPr marL="505460" lvl="1" indent="-184938" defTabSz="1319119">
              <a:spcBef>
                <a:spcPts val="519"/>
              </a:spcBef>
              <a:defRPr/>
            </a:pPr>
            <a:r>
              <a:rPr lang="en-US" sz="1824" kern="0" dirty="0">
                <a:cs typeface="Arial"/>
              </a:rPr>
              <a:t>Sample 2</a:t>
            </a:r>
          </a:p>
          <a:p>
            <a:pPr marL="653398" lvl="2" indent="-135619" defTabSz="1319119">
              <a:spcBef>
                <a:spcPts val="260"/>
              </a:spcBef>
              <a:defRPr/>
            </a:pPr>
            <a:r>
              <a:rPr lang="en-US" sz="1824" kern="0" dirty="0">
                <a:cs typeface="Arial"/>
              </a:rPr>
              <a:t>Sample 3</a:t>
            </a:r>
          </a:p>
        </p:txBody>
      </p:sp>
      <p:sp>
        <p:nvSpPr>
          <p:cNvPr id="20" name="Oval 19"/>
          <p:cNvSpPr/>
          <p:nvPr userDrawn="1"/>
        </p:nvSpPr>
        <p:spPr>
          <a:xfrm>
            <a:off x="1251978" y="5304076"/>
            <a:ext cx="1594164" cy="1364560"/>
          </a:xfrm>
          <a:prstGeom prst="ellipse">
            <a:avLst/>
          </a:prstGeom>
          <a:solidFill>
            <a:srgbClr val="00B0F0"/>
          </a:solidFill>
          <a:ln w="6350" cap="flat" cmpd="sng" algn="ctr">
            <a:solidFill>
              <a:srgbClr val="00B0F0"/>
            </a:solidFill>
            <a:prstDash val="solid"/>
          </a:ln>
          <a:effectLst/>
        </p:spPr>
        <p:txBody>
          <a:bodyPr lIns="118353" tIns="59179" rIns="118353" bIns="59179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183514">
              <a:defRPr/>
            </a:pPr>
            <a:r>
              <a:rPr lang="en-US" sz="1824" b="1" dirty="0">
                <a:solidFill>
                  <a:srgbClr val="FFFFFF"/>
                </a:solidFill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832565250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3" descr="TG_BM_RGB"/>
          <p:cNvPicPr>
            <a:picLocks noChangeAspect="1" noChangeArrowheads="1"/>
          </p:cNvPicPr>
          <p:nvPr userDrawn="1"/>
        </p:nvPicPr>
        <p:blipFill>
          <a:blip r:embed="rId2" cstate="print"/>
          <a:srcRect l="9850" t="10782" r="9810" b="10782"/>
          <a:stretch>
            <a:fillRect/>
          </a:stretch>
        </p:blipFill>
        <p:spPr bwMode="auto">
          <a:xfrm>
            <a:off x="13691831" y="90335"/>
            <a:ext cx="786133" cy="5168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23" descr="TS_BM_RGB"/>
          <p:cNvPicPr>
            <a:picLocks noChangeAspect="1" noChangeArrowheads="1"/>
          </p:cNvPicPr>
          <p:nvPr userDrawn="1"/>
        </p:nvPicPr>
        <p:blipFill>
          <a:blip r:embed="rId3" cstate="print"/>
          <a:srcRect l="9319" t="32796" r="9198" b="31863"/>
          <a:stretch>
            <a:fillRect/>
          </a:stretch>
        </p:blipFill>
        <p:spPr bwMode="auto">
          <a:xfrm>
            <a:off x="226481" y="7945357"/>
            <a:ext cx="1755265" cy="169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368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3631" y="2352943"/>
            <a:ext cx="13337449" cy="5037932"/>
          </a:xfrm>
          <a:prstGeom prst="rect">
            <a:avLst/>
          </a:prstGeom>
        </p:spPr>
        <p:txBody>
          <a:bodyPr lIns="85873" tIns="42938" rIns="85873" bIns="42938"/>
          <a:lstStyle>
            <a:lvl1pPr>
              <a:spcAft>
                <a:spcPts val="793"/>
              </a:spcAft>
              <a:buClr>
                <a:schemeClr val="tx2">
                  <a:lumMod val="75000"/>
                </a:schemeClr>
              </a:buClr>
              <a:buSzPct val="80000"/>
              <a:buFont typeface="Wingdings" pitchFamily="2" charset="2"/>
              <a:buChar char="q"/>
              <a:defRPr sz="3087"/>
            </a:lvl1pPr>
            <a:lvl2pPr>
              <a:buFont typeface="Wingdings" pitchFamily="2" charset="2"/>
              <a:buChar char="§"/>
              <a:defRPr sz="2526"/>
            </a:lvl2pPr>
            <a:lvl3pPr>
              <a:buClr>
                <a:schemeClr val="tx2">
                  <a:lumMod val="75000"/>
                </a:schemeClr>
              </a:buClr>
              <a:buSzPct val="100000"/>
              <a:buFont typeface="Arial" pitchFamily="34" charset="0"/>
              <a:buChar char="•"/>
              <a:defRPr sz="2105"/>
            </a:lvl3pPr>
            <a:lvl4pPr>
              <a:buClr>
                <a:schemeClr val="tx2">
                  <a:lumMod val="75000"/>
                </a:schemeClr>
              </a:buClr>
              <a:buSzPct val="100000"/>
              <a:buFont typeface="Courier New" pitchFamily="49" charset="0"/>
              <a:buChar char="o"/>
              <a:defRPr sz="1824"/>
            </a:lvl4pPr>
            <a:lvl5pPr>
              <a:buClr>
                <a:schemeClr val="tx2">
                  <a:lumMod val="75000"/>
                </a:schemeClr>
              </a:buClr>
              <a:defRPr sz="1544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8583032" y="190"/>
            <a:ext cx="4243156" cy="356855"/>
          </a:xfrm>
          <a:prstGeom prst="rect">
            <a:avLst/>
          </a:prstGeom>
        </p:spPr>
        <p:txBody>
          <a:bodyPr lIns="85873" tIns="42938" rIns="85873" bIns="42938"/>
          <a:lstStyle>
            <a:lvl1pPr marL="0" indent="0">
              <a:buNone/>
              <a:defRPr sz="1544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4"/>
          </p:nvPr>
        </p:nvSpPr>
        <p:spPr>
          <a:xfrm>
            <a:off x="11808771" y="7785057"/>
            <a:ext cx="1696753" cy="146940"/>
          </a:xfrm>
          <a:prstGeom prst="rect">
            <a:avLst/>
          </a:prstGeom>
        </p:spPr>
        <p:txBody>
          <a:bodyPr lIns="84337" tIns="42169" rIns="84337" bIns="42169"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CE28FF-62AE-498F-879D-E9A752CB7C60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219306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3" descr="TS_BM_RGB"/>
          <p:cNvPicPr>
            <a:picLocks noChangeAspect="1" noChangeArrowheads="1"/>
          </p:cNvPicPr>
          <p:nvPr userDrawn="1"/>
        </p:nvPicPr>
        <p:blipFill>
          <a:blip r:embed="rId2" cstate="print"/>
          <a:srcRect l="9319" t="32796" r="9198" b="31863"/>
          <a:stretch>
            <a:fillRect/>
          </a:stretch>
        </p:blipFill>
        <p:spPr bwMode="auto">
          <a:xfrm>
            <a:off x="226481" y="7945357"/>
            <a:ext cx="1755265" cy="169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368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43631" y="2352943"/>
            <a:ext cx="13337449" cy="5037932"/>
          </a:xfrm>
          <a:prstGeom prst="rect">
            <a:avLst/>
          </a:prstGeom>
        </p:spPr>
        <p:txBody>
          <a:bodyPr lIns="85873" tIns="42938" rIns="85873" bIns="42938"/>
          <a:lstStyle>
            <a:lvl1pPr>
              <a:spcAft>
                <a:spcPts val="793"/>
              </a:spcAft>
              <a:buClr>
                <a:schemeClr val="tx2">
                  <a:lumMod val="75000"/>
                </a:schemeClr>
              </a:buClr>
              <a:buSzPct val="80000"/>
              <a:buFont typeface="Wingdings" pitchFamily="2" charset="2"/>
              <a:buChar char="q"/>
              <a:defRPr sz="3087"/>
            </a:lvl1pPr>
            <a:lvl2pPr>
              <a:buFont typeface="Wingdings" pitchFamily="2" charset="2"/>
              <a:buChar char="§"/>
              <a:defRPr sz="2526"/>
            </a:lvl2pPr>
            <a:lvl3pPr>
              <a:buClr>
                <a:schemeClr val="tx2">
                  <a:lumMod val="75000"/>
                </a:schemeClr>
              </a:buClr>
              <a:buSzPct val="100000"/>
              <a:buFont typeface="Arial" pitchFamily="34" charset="0"/>
              <a:buChar char="•"/>
              <a:defRPr sz="2105"/>
            </a:lvl3pPr>
            <a:lvl4pPr>
              <a:buClr>
                <a:schemeClr val="tx2">
                  <a:lumMod val="75000"/>
                </a:schemeClr>
              </a:buClr>
              <a:buSzPct val="100000"/>
              <a:buFont typeface="Courier New" pitchFamily="49" charset="0"/>
              <a:buChar char="o"/>
              <a:defRPr sz="1824"/>
            </a:lvl4pPr>
            <a:lvl5pPr>
              <a:buClr>
                <a:schemeClr val="tx2">
                  <a:lumMod val="75000"/>
                </a:schemeClr>
              </a:buClr>
              <a:defRPr sz="1544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 noChangeArrowheads="1"/>
          </p:cNvSpPr>
          <p:nvPr>
            <p:ph type="dt" sz="half" idx="10"/>
          </p:nvPr>
        </p:nvSpPr>
        <p:spPr>
          <a:xfrm>
            <a:off x="11808771" y="7785057"/>
            <a:ext cx="1696753" cy="146940"/>
          </a:xfrm>
          <a:prstGeom prst="rect">
            <a:avLst/>
          </a:prstGeom>
        </p:spPr>
        <p:txBody>
          <a:bodyPr lIns="84337" tIns="42169" rIns="84337" bIns="42169"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1C877E3-A15E-43A4-A09F-E723C0E7B338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9035549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3" descr="TS_BM_RGB"/>
          <p:cNvPicPr>
            <a:picLocks noChangeAspect="1" noChangeArrowheads="1"/>
          </p:cNvPicPr>
          <p:nvPr userDrawn="1"/>
        </p:nvPicPr>
        <p:blipFill>
          <a:blip r:embed="rId2" cstate="print"/>
          <a:srcRect l="9319" t="32796" r="9198" b="31863"/>
          <a:stretch>
            <a:fillRect/>
          </a:stretch>
        </p:blipFill>
        <p:spPr bwMode="auto">
          <a:xfrm>
            <a:off x="226481" y="7945220"/>
            <a:ext cx="1755265" cy="169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368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43631" y="2352943"/>
            <a:ext cx="13337449" cy="5037932"/>
          </a:xfrm>
          <a:prstGeom prst="rect">
            <a:avLst/>
          </a:prstGeom>
        </p:spPr>
        <p:txBody>
          <a:bodyPr lIns="85873" tIns="42937" rIns="85873" bIns="42937"/>
          <a:lstStyle>
            <a:lvl1pPr>
              <a:spcAft>
                <a:spcPts val="793"/>
              </a:spcAft>
              <a:buClr>
                <a:schemeClr val="tx2">
                  <a:lumMod val="75000"/>
                </a:schemeClr>
              </a:buClr>
              <a:buSzPct val="80000"/>
              <a:buFont typeface="Wingdings" pitchFamily="2" charset="2"/>
              <a:buChar char="q"/>
              <a:defRPr sz="3087"/>
            </a:lvl1pPr>
            <a:lvl2pPr>
              <a:buFont typeface="Wingdings" pitchFamily="2" charset="2"/>
              <a:buChar char="§"/>
              <a:defRPr sz="2526"/>
            </a:lvl2pPr>
            <a:lvl3pPr>
              <a:buClr>
                <a:schemeClr val="tx2">
                  <a:lumMod val="75000"/>
                </a:schemeClr>
              </a:buClr>
              <a:buSzPct val="100000"/>
              <a:buFont typeface="Arial" pitchFamily="34" charset="0"/>
              <a:buChar char="•"/>
              <a:defRPr sz="2105"/>
            </a:lvl3pPr>
            <a:lvl4pPr>
              <a:buClr>
                <a:schemeClr val="tx2">
                  <a:lumMod val="75000"/>
                </a:schemeClr>
              </a:buClr>
              <a:buSzPct val="100000"/>
              <a:buFont typeface="Courier New" pitchFamily="49" charset="0"/>
              <a:buChar char="o"/>
              <a:defRPr sz="1824"/>
            </a:lvl4pPr>
            <a:lvl5pPr>
              <a:buClr>
                <a:schemeClr val="tx2">
                  <a:lumMod val="75000"/>
                </a:schemeClr>
              </a:buClr>
              <a:defRPr sz="1544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 noChangeArrowheads="1"/>
          </p:cNvSpPr>
          <p:nvPr>
            <p:ph type="dt" sz="half" idx="10"/>
          </p:nvPr>
        </p:nvSpPr>
        <p:spPr>
          <a:xfrm>
            <a:off x="11808750" y="7784923"/>
            <a:ext cx="1696753" cy="146940"/>
          </a:xfrm>
          <a:prstGeom prst="rect">
            <a:avLst/>
          </a:prstGeom>
        </p:spPr>
        <p:txBody>
          <a:bodyPr lIns="84337" tIns="42169" rIns="84337" bIns="42169"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1C877E3-A15E-43A4-A09F-E723C0E7B338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0850652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3" descr="TS_BM_RGB"/>
          <p:cNvPicPr>
            <a:picLocks noChangeAspect="1" noChangeArrowheads="1"/>
          </p:cNvPicPr>
          <p:nvPr userDrawn="1"/>
        </p:nvPicPr>
        <p:blipFill>
          <a:blip r:embed="rId2" cstate="print"/>
          <a:srcRect l="9319" t="32796" r="9198" b="31863"/>
          <a:stretch>
            <a:fillRect/>
          </a:stretch>
        </p:blipFill>
        <p:spPr bwMode="auto">
          <a:xfrm>
            <a:off x="226452" y="7945304"/>
            <a:ext cx="1755265" cy="169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648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43619" y="2352943"/>
            <a:ext cx="13337449" cy="5037932"/>
          </a:xfrm>
          <a:prstGeom prst="rect">
            <a:avLst/>
          </a:prstGeom>
        </p:spPr>
        <p:txBody>
          <a:bodyPr lIns="91318" tIns="45660" rIns="91318" bIns="45660"/>
          <a:lstStyle>
            <a:lvl1pPr>
              <a:spcAft>
                <a:spcPts val="843"/>
              </a:spcAft>
              <a:buClr>
                <a:schemeClr val="tx2">
                  <a:lumMod val="75000"/>
                </a:schemeClr>
              </a:buClr>
              <a:buSzPct val="80000"/>
              <a:buFont typeface="Wingdings" pitchFamily="2" charset="2"/>
              <a:buChar char="q"/>
              <a:defRPr sz="3368"/>
            </a:lvl1pPr>
            <a:lvl2pPr>
              <a:buFont typeface="Wingdings" pitchFamily="2" charset="2"/>
              <a:buChar char="§"/>
              <a:defRPr sz="2807"/>
            </a:lvl2pPr>
            <a:lvl3pPr>
              <a:buClr>
                <a:schemeClr val="tx2">
                  <a:lumMod val="75000"/>
                </a:schemeClr>
              </a:buClr>
              <a:buSzPct val="100000"/>
              <a:buFont typeface="Arial" pitchFamily="34" charset="0"/>
              <a:buChar char="•"/>
              <a:defRPr sz="2245"/>
            </a:lvl3pPr>
            <a:lvl4pPr>
              <a:buClr>
                <a:schemeClr val="tx2">
                  <a:lumMod val="75000"/>
                </a:schemeClr>
              </a:buClr>
              <a:buSzPct val="100000"/>
              <a:buFont typeface="Courier New" pitchFamily="49" charset="0"/>
              <a:buChar char="o"/>
              <a:defRPr sz="1964"/>
            </a:lvl4pPr>
            <a:lvl5pPr>
              <a:buClr>
                <a:schemeClr val="tx2">
                  <a:lumMod val="75000"/>
                </a:schemeClr>
              </a:buClr>
              <a:defRPr sz="1684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 noChangeArrowheads="1"/>
          </p:cNvSpPr>
          <p:nvPr>
            <p:ph type="dt" sz="half" idx="10"/>
          </p:nvPr>
        </p:nvSpPr>
        <p:spPr>
          <a:xfrm>
            <a:off x="11808743" y="7785009"/>
            <a:ext cx="1696753" cy="166026"/>
          </a:xfrm>
          <a:prstGeom prst="rect">
            <a:avLst/>
          </a:prstGeom>
        </p:spPr>
        <p:txBody>
          <a:bodyPr lIns="84395" tIns="42197" rIns="84395" bIns="42197"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1C877E3-A15E-43A4-A09F-E723C0E7B338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1124957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72290" y="627346"/>
            <a:ext cx="14059297" cy="433186"/>
          </a:xfrm>
        </p:spPr>
        <p:txBody>
          <a:bodyPr/>
          <a:lstStyle>
            <a:lvl1pPr>
              <a:defRPr sz="2807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16" name="Tijdelijke aanduiding voor tekst 15"/>
          <p:cNvSpPr>
            <a:spLocks noGrp="1"/>
          </p:cNvSpPr>
          <p:nvPr>
            <p:ph type="body" sz="quarter" idx="14"/>
          </p:nvPr>
        </p:nvSpPr>
        <p:spPr>
          <a:xfrm>
            <a:off x="533042" y="2307581"/>
            <a:ext cx="6732106" cy="432750"/>
          </a:xfrm>
          <a:solidFill>
            <a:schemeClr val="tx2">
              <a:lumMod val="20000"/>
              <a:lumOff val="80000"/>
            </a:schemeClr>
          </a:solidFill>
        </p:spPr>
        <p:txBody>
          <a:bodyPr lIns="194796" anchor="ctr"/>
          <a:lstStyle>
            <a:lvl1pPr marL="0" indent="0" algn="l">
              <a:spcBef>
                <a:spcPts val="0"/>
              </a:spcBef>
              <a:buNone/>
              <a:defRPr sz="196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7" name="Tijdelijke aanduiding voor tekst 15"/>
          <p:cNvSpPr>
            <a:spLocks noGrp="1"/>
          </p:cNvSpPr>
          <p:nvPr>
            <p:ph type="body" sz="quarter" idx="15"/>
          </p:nvPr>
        </p:nvSpPr>
        <p:spPr>
          <a:xfrm>
            <a:off x="7676983" y="2307581"/>
            <a:ext cx="6655819" cy="432750"/>
          </a:xfrm>
          <a:solidFill>
            <a:schemeClr val="accent5">
              <a:lumMod val="60000"/>
              <a:lumOff val="40000"/>
            </a:schemeClr>
          </a:solidFill>
        </p:spPr>
        <p:txBody>
          <a:bodyPr lIns="194796" anchor="ctr"/>
          <a:lstStyle>
            <a:lvl1pPr marL="0" indent="0">
              <a:spcBef>
                <a:spcPts val="0"/>
              </a:spcBef>
              <a:buNone/>
              <a:defRPr sz="196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330273" y="1263216"/>
            <a:ext cx="14081579" cy="444634"/>
          </a:xfrm>
        </p:spPr>
        <p:txBody>
          <a:bodyPr/>
          <a:lstStyle>
            <a:lvl1pPr>
              <a:buNone/>
              <a:defRPr sz="2245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ijdelijke aanduiding voor tekst 20"/>
          <p:cNvSpPr>
            <a:spLocks noGrp="1"/>
          </p:cNvSpPr>
          <p:nvPr>
            <p:ph type="body" sz="quarter" idx="19"/>
          </p:nvPr>
        </p:nvSpPr>
        <p:spPr>
          <a:xfrm>
            <a:off x="533042" y="2718695"/>
            <a:ext cx="6732106" cy="4721303"/>
          </a:xfrm>
        </p:spPr>
        <p:txBody>
          <a:bodyPr/>
          <a:lstStyle>
            <a:lvl1pPr>
              <a:defRPr sz="1964"/>
            </a:lvl1pPr>
            <a:lvl2pPr>
              <a:defRPr sz="1964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1" name="Tijdelijke aanduiding voor tekst 20"/>
          <p:cNvSpPr>
            <a:spLocks noGrp="1"/>
          </p:cNvSpPr>
          <p:nvPr>
            <p:ph type="body" sz="quarter" idx="20"/>
          </p:nvPr>
        </p:nvSpPr>
        <p:spPr>
          <a:xfrm>
            <a:off x="7677059" y="2718695"/>
            <a:ext cx="6655819" cy="4721303"/>
          </a:xfrm>
        </p:spPr>
        <p:txBody>
          <a:bodyPr/>
          <a:lstStyle>
            <a:lvl1pPr>
              <a:defRPr sz="1964"/>
            </a:lvl1pPr>
            <a:lvl2pPr>
              <a:defRPr sz="1964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8" name="Rectangle 5"/>
          <p:cNvSpPr>
            <a:spLocks noGrp="1" noChangeArrowheads="1"/>
          </p:cNvSpPr>
          <p:nvPr>
            <p:ph type="sldNum" sz="quarter" idx="21"/>
          </p:nvPr>
        </p:nvSpPr>
        <p:spPr>
          <a:xfrm>
            <a:off x="13990563" y="201216"/>
            <a:ext cx="806402" cy="25953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EEDDE4F-381E-4904-8E4A-86B45F5FCC9F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2" name="Rectangle 6"/>
          <p:cNvSpPr>
            <a:spLocks noGrp="1" noChangeArrowheads="1"/>
          </p:cNvSpPr>
          <p:nvPr>
            <p:ph type="ftr" sz="quarter" idx="2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26256064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Rectangle 1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3907345" y="7753454"/>
            <a:ext cx="287458" cy="137399"/>
          </a:xfrm>
          <a:prstGeom prst="rect">
            <a:avLst/>
          </a:prstGeom>
        </p:spPr>
        <p:txBody>
          <a:bodyPr lIns="78812" tIns="39404" rIns="78812" bIns="39404"/>
          <a:lstStyle>
            <a:lvl1pPr>
              <a:defRPr>
                <a:latin typeface="Arial" pitchFamily="34" charset="0"/>
              </a:defRPr>
            </a:lvl1pPr>
          </a:lstStyle>
          <a:p>
            <a:pPr>
              <a:defRPr/>
            </a:pPr>
            <a:fld id="{F61F20F4-2133-4CF9-AD70-09C32949D095}" type="slidenum">
              <a:rPr lang="en-GB">
                <a:solidFill>
                  <a:srgbClr val="FFFFFF"/>
                </a:solidFill>
                <a:cs typeface="Arial"/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162778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 userDrawn="1"/>
        </p:nvCxnSpPr>
        <p:spPr>
          <a:xfrm>
            <a:off x="122114" y="1099185"/>
            <a:ext cx="1442187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8432" y="366590"/>
            <a:ext cx="12210520" cy="769048"/>
          </a:xfrm>
        </p:spPr>
        <p:txBody>
          <a:bodyPr/>
          <a:lstStyle>
            <a:lvl1pPr>
              <a:defRPr>
                <a:solidFill>
                  <a:srgbClr val="0067B4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fld id="{75DB8150-027A-4063-B60C-B74F0E17818C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886532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PP header horizon met logo's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5056" y="490435"/>
            <a:ext cx="14657710" cy="1883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438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48694" y="2854831"/>
            <a:ext cx="13352711" cy="1375890"/>
          </a:xfrm>
        </p:spPr>
        <p:txBody>
          <a:bodyPr bIns="48844"/>
          <a:lstStyle>
            <a:lvl1pPr>
              <a:defRPr sz="491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4438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48694" y="7442456"/>
            <a:ext cx="13352711" cy="501886"/>
          </a:xfrm>
        </p:spPr>
        <p:txBody>
          <a:bodyPr tIns="48844" rIns="97686" bIns="48844"/>
          <a:lstStyle>
            <a:lvl1pPr marL="0" indent="0">
              <a:buFontTx/>
              <a:buNone/>
              <a:defRPr sz="2667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39990596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73606" y="627403"/>
            <a:ext cx="13980331" cy="433186"/>
          </a:xfrm>
        </p:spPr>
        <p:txBody>
          <a:bodyPr/>
          <a:lstStyle>
            <a:lvl1pPr>
              <a:defRPr sz="2807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8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14117441" y="230399"/>
            <a:ext cx="392327" cy="263726"/>
          </a:xfrm>
          <a:prstGeom prst="rect">
            <a:avLst/>
          </a:prstGeom>
        </p:spPr>
        <p:txBody>
          <a:bodyPr vert="horz" lIns="0" tIns="47120" rIns="74203" bIns="47120" rtlCol="0" anchor="ctr"/>
          <a:lstStyle>
            <a:lvl1pPr algn="l">
              <a:defRPr sz="1544" b="1">
                <a:solidFill>
                  <a:schemeClr val="bg1"/>
                </a:solidFill>
                <a:latin typeface="+mn-lt"/>
              </a:defRPr>
            </a:lvl1pPr>
          </a:lstStyle>
          <a:p>
            <a:fld id="{7103653F-4628-4CCA-BBFC-10994C39EA7C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Tijdelijke aanduiding voor inhoud 2"/>
          <p:cNvSpPr>
            <a:spLocks noGrp="1"/>
          </p:cNvSpPr>
          <p:nvPr>
            <p:ph idx="15"/>
          </p:nvPr>
        </p:nvSpPr>
        <p:spPr>
          <a:xfrm>
            <a:off x="335618" y="1315378"/>
            <a:ext cx="13957773" cy="6256431"/>
          </a:xfrm>
        </p:spPr>
        <p:txBody>
          <a:bodyPr/>
          <a:lstStyle>
            <a:lvl1pPr>
              <a:defRPr sz="2245">
                <a:latin typeface="Arial" pitchFamily="34" charset="0"/>
                <a:cs typeface="Arial" pitchFamily="34" charset="0"/>
              </a:defRPr>
            </a:lvl1pPr>
            <a:lvl2pPr>
              <a:defRPr sz="1964">
                <a:latin typeface="Arial" pitchFamily="34" charset="0"/>
                <a:cs typeface="Arial" pitchFamily="34" charset="0"/>
              </a:defRPr>
            </a:lvl2pPr>
            <a:lvl3pPr marL="809569" indent="-269857">
              <a:buClr>
                <a:schemeClr val="tx2"/>
              </a:buClr>
              <a:buFont typeface="Wingdings" pitchFamily="2" charset="2"/>
              <a:buChar char="§"/>
              <a:defRPr sz="1684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202201937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2" hasCustomPrompt="1"/>
          </p:nvPr>
        </p:nvSpPr>
        <p:spPr>
          <a:xfrm>
            <a:off x="2145850" y="3107248"/>
            <a:ext cx="11619949" cy="543755"/>
          </a:xfrm>
          <a:solidFill>
            <a:schemeClr val="tx2">
              <a:lumMod val="50000"/>
            </a:schemeClr>
          </a:solidFill>
        </p:spPr>
        <p:txBody>
          <a:bodyPr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text</a:t>
            </a:r>
            <a:endParaRPr lang="en-IN" dirty="0"/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3" hasCustomPrompt="1"/>
          </p:nvPr>
        </p:nvSpPr>
        <p:spPr>
          <a:xfrm>
            <a:off x="2117563" y="3872758"/>
            <a:ext cx="11619949" cy="543755"/>
          </a:xfrm>
          <a:solidFill>
            <a:schemeClr val="tx2">
              <a:lumMod val="50000"/>
            </a:schemeClr>
          </a:solidFill>
        </p:spPr>
        <p:txBody>
          <a:bodyPr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14" hasCustomPrompt="1"/>
          </p:nvPr>
        </p:nvSpPr>
        <p:spPr>
          <a:xfrm>
            <a:off x="2116483" y="4599600"/>
            <a:ext cx="11619949" cy="543755"/>
          </a:xfrm>
          <a:solidFill>
            <a:schemeClr val="tx2">
              <a:lumMod val="50000"/>
            </a:schemeClr>
          </a:solidFill>
        </p:spPr>
        <p:txBody>
          <a:bodyPr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15" hasCustomPrompt="1"/>
          </p:nvPr>
        </p:nvSpPr>
        <p:spPr>
          <a:xfrm>
            <a:off x="2129854" y="5376898"/>
            <a:ext cx="11619949" cy="543755"/>
          </a:xfrm>
          <a:solidFill>
            <a:schemeClr val="tx2">
              <a:lumMod val="50000"/>
            </a:schemeClr>
          </a:solidFill>
        </p:spPr>
        <p:txBody>
          <a:bodyPr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29" name="Text Placeholder 28"/>
          <p:cNvSpPr>
            <a:spLocks noGrp="1"/>
          </p:cNvSpPr>
          <p:nvPr>
            <p:ph type="body" sz="quarter" idx="16" hasCustomPrompt="1"/>
          </p:nvPr>
        </p:nvSpPr>
        <p:spPr>
          <a:xfrm>
            <a:off x="2116483" y="6141642"/>
            <a:ext cx="11619949" cy="543755"/>
          </a:xfrm>
          <a:solidFill>
            <a:schemeClr val="tx2">
              <a:lumMod val="50000"/>
            </a:schemeClr>
          </a:solidFill>
        </p:spPr>
        <p:txBody>
          <a:bodyPr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text</a:t>
            </a:r>
            <a:endParaRPr lang="en-IN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2165489" y="2383189"/>
            <a:ext cx="11619949" cy="543755"/>
          </a:xfrm>
          <a:solidFill>
            <a:schemeClr val="tx2">
              <a:lumMod val="50000"/>
            </a:schemeClr>
          </a:solidFill>
        </p:spPr>
        <p:txBody>
          <a:bodyPr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text</a:t>
            </a:r>
            <a:endParaRPr lang="en-IN" dirty="0"/>
          </a:p>
        </p:txBody>
      </p:sp>
      <p:sp>
        <p:nvSpPr>
          <p:cNvPr id="33" name="Text Placeholder 32"/>
          <p:cNvSpPr>
            <a:spLocks noGrp="1"/>
          </p:cNvSpPr>
          <p:nvPr>
            <p:ph type="body" sz="quarter" idx="18" hasCustomPrompt="1"/>
          </p:nvPr>
        </p:nvSpPr>
        <p:spPr>
          <a:xfrm>
            <a:off x="2166396" y="1618982"/>
            <a:ext cx="11619949" cy="618733"/>
          </a:xfrm>
          <a:solidFill>
            <a:schemeClr val="tx2">
              <a:lumMod val="60000"/>
              <a:lumOff val="40000"/>
            </a:schemeClr>
          </a:solidFill>
        </p:spPr>
        <p:txBody>
          <a:bodyPr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Topic</a:t>
            </a:r>
            <a:endParaRPr lang="en-IN" dirty="0"/>
          </a:p>
        </p:txBody>
      </p:sp>
      <p:sp>
        <p:nvSpPr>
          <p:cNvPr id="34" name="Rectangle 15"/>
          <p:cNvSpPr>
            <a:spLocks noChangeArrowheads="1"/>
          </p:cNvSpPr>
          <p:nvPr userDrawn="1"/>
        </p:nvSpPr>
        <p:spPr bwMode="gray">
          <a:xfrm>
            <a:off x="677129" y="1600343"/>
            <a:ext cx="1346693" cy="637323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100685" tIns="100685" rIns="100685" bIns="100685" anchor="ctr"/>
          <a:lstStyle/>
          <a:p>
            <a:pPr algn="ctr" eaLnBrk="0" hangingPunct="0">
              <a:spcBef>
                <a:spcPct val="25000"/>
              </a:spcBef>
              <a:defRPr/>
            </a:pPr>
            <a:r>
              <a:rPr lang="en-US" sz="2245" b="1" noProof="1">
                <a:solidFill>
                  <a:srgbClr val="FFFFFF"/>
                </a:solidFill>
                <a:latin typeface="Calibri"/>
              </a:rPr>
              <a:t>SN</a:t>
            </a:r>
          </a:p>
        </p:txBody>
      </p:sp>
      <p:sp>
        <p:nvSpPr>
          <p:cNvPr id="37" name="Text Placeholder 36"/>
          <p:cNvSpPr>
            <a:spLocks noGrp="1"/>
          </p:cNvSpPr>
          <p:nvPr>
            <p:ph type="body" sz="quarter" idx="19" hasCustomPrompt="1"/>
          </p:nvPr>
        </p:nvSpPr>
        <p:spPr>
          <a:xfrm>
            <a:off x="636392" y="2352632"/>
            <a:ext cx="1343872" cy="535610"/>
          </a:xfrm>
          <a:solidFill>
            <a:schemeClr val="tx2">
              <a:lumMod val="50000"/>
            </a:schemeClr>
          </a:solidFill>
        </p:spPr>
        <p:txBody>
          <a:bodyPr anchor="ctr" anchorCtr="0"/>
          <a:lstStyle>
            <a:lvl1pPr marL="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IN" dirty="0"/>
              <a:t>1</a:t>
            </a:r>
          </a:p>
        </p:txBody>
      </p:sp>
      <p:sp>
        <p:nvSpPr>
          <p:cNvPr id="39" name="Text Placeholder 38"/>
          <p:cNvSpPr>
            <a:spLocks noGrp="1"/>
          </p:cNvSpPr>
          <p:nvPr>
            <p:ph type="body" sz="quarter" idx="20" hasCustomPrompt="1"/>
          </p:nvPr>
        </p:nvSpPr>
        <p:spPr>
          <a:xfrm>
            <a:off x="636392" y="3100674"/>
            <a:ext cx="1343872" cy="548070"/>
          </a:xfrm>
          <a:solidFill>
            <a:schemeClr val="tx2">
              <a:lumMod val="50000"/>
            </a:schemeClr>
          </a:solidFill>
        </p:spPr>
        <p:txBody>
          <a:bodyPr anchor="ctr" anchorCtr="0"/>
          <a:lstStyle>
            <a:lvl1pPr marL="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2</a:t>
            </a:r>
            <a:endParaRPr lang="en-IN" dirty="0"/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21" hasCustomPrompt="1"/>
          </p:nvPr>
        </p:nvSpPr>
        <p:spPr>
          <a:xfrm>
            <a:off x="636392" y="3861177"/>
            <a:ext cx="1343872" cy="548070"/>
          </a:xfrm>
          <a:solidFill>
            <a:schemeClr val="tx2">
              <a:lumMod val="50000"/>
            </a:schemeClr>
          </a:solidFill>
        </p:spPr>
        <p:txBody>
          <a:bodyPr anchor="ctr" anchorCtr="0"/>
          <a:lstStyle>
            <a:lvl1pPr marL="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3</a:t>
            </a:r>
            <a:endParaRPr lang="en-IN" dirty="0"/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22" hasCustomPrompt="1"/>
          </p:nvPr>
        </p:nvSpPr>
        <p:spPr>
          <a:xfrm>
            <a:off x="636392" y="4621679"/>
            <a:ext cx="1343872" cy="548070"/>
          </a:xfrm>
          <a:solidFill>
            <a:schemeClr val="tx2">
              <a:lumMod val="50000"/>
            </a:schemeClr>
          </a:solidFill>
        </p:spPr>
        <p:txBody>
          <a:bodyPr anchor="ctr" anchorCtr="0"/>
          <a:lstStyle>
            <a:lvl1pPr marL="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4</a:t>
            </a:r>
            <a:endParaRPr lang="en-IN" dirty="0"/>
          </a:p>
        </p:txBody>
      </p:sp>
      <p:sp>
        <p:nvSpPr>
          <p:cNvPr id="45" name="Text Placeholder 44"/>
          <p:cNvSpPr>
            <a:spLocks noGrp="1"/>
          </p:cNvSpPr>
          <p:nvPr>
            <p:ph type="body" sz="quarter" idx="23" hasCustomPrompt="1"/>
          </p:nvPr>
        </p:nvSpPr>
        <p:spPr>
          <a:xfrm>
            <a:off x="636392" y="5382182"/>
            <a:ext cx="1343872" cy="548070"/>
          </a:xfrm>
          <a:solidFill>
            <a:schemeClr val="tx2">
              <a:lumMod val="50000"/>
            </a:schemeClr>
          </a:solidFill>
        </p:spPr>
        <p:txBody>
          <a:bodyPr anchor="ctr" anchorCtr="0"/>
          <a:lstStyle>
            <a:lvl1pPr marL="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5</a:t>
            </a:r>
            <a:endParaRPr lang="en-IN" dirty="0"/>
          </a:p>
        </p:txBody>
      </p:sp>
      <p:sp>
        <p:nvSpPr>
          <p:cNvPr id="47" name="Text Placeholder 46"/>
          <p:cNvSpPr>
            <a:spLocks noGrp="1"/>
          </p:cNvSpPr>
          <p:nvPr>
            <p:ph type="body" sz="quarter" idx="24" hasCustomPrompt="1"/>
          </p:nvPr>
        </p:nvSpPr>
        <p:spPr>
          <a:xfrm>
            <a:off x="636392" y="6142682"/>
            <a:ext cx="1343872" cy="548070"/>
          </a:xfrm>
          <a:solidFill>
            <a:schemeClr val="tx2">
              <a:lumMod val="50000"/>
            </a:schemeClr>
          </a:solidFill>
        </p:spPr>
        <p:txBody>
          <a:bodyPr anchor="ctr" anchorCtr="0"/>
          <a:lstStyle>
            <a:lvl1pPr marL="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6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914534680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>
            <a:spLocks noChangeArrowheads="1"/>
          </p:cNvSpPr>
          <p:nvPr userDrawn="1"/>
        </p:nvSpPr>
        <p:spPr bwMode="gray">
          <a:xfrm>
            <a:off x="2097025" y="2906457"/>
            <a:ext cx="11310358" cy="637323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352106" tIns="100605" rIns="100605" bIns="100605" anchor="ctr"/>
          <a:lstStyle/>
          <a:p>
            <a:pPr defTabSz="1377935" eaLnBrk="0" fontAlgn="auto" hangingPunct="0">
              <a:spcBef>
                <a:spcPct val="25000"/>
              </a:spcBef>
              <a:spcAft>
                <a:spcPts val="0"/>
              </a:spcAft>
              <a:defRPr/>
            </a:pPr>
            <a:r>
              <a:rPr lang="en-IN" sz="2245" b="1" noProof="1">
                <a:solidFill>
                  <a:srgbClr val="3D7EDB">
                    <a:lumMod val="50000"/>
                  </a:srgbClr>
                </a:solidFill>
                <a:latin typeface="Calibri"/>
              </a:rPr>
              <a:t>Text</a:t>
            </a:r>
          </a:p>
        </p:txBody>
      </p:sp>
      <p:sp>
        <p:nvSpPr>
          <p:cNvPr id="6" name="Rectangle 15"/>
          <p:cNvSpPr>
            <a:spLocks noChangeArrowheads="1"/>
          </p:cNvSpPr>
          <p:nvPr userDrawn="1"/>
        </p:nvSpPr>
        <p:spPr bwMode="gray">
          <a:xfrm>
            <a:off x="656768" y="2124410"/>
            <a:ext cx="1346693" cy="637323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100605" tIns="100605" rIns="100605" bIns="100605" anchor="ctr"/>
          <a:lstStyle/>
          <a:p>
            <a:pPr algn="ctr" defTabSz="1377935" eaLnBrk="0" fontAlgn="auto" hangingPunct="0">
              <a:spcBef>
                <a:spcPct val="25000"/>
              </a:spcBef>
              <a:spcAft>
                <a:spcPts val="0"/>
              </a:spcAft>
              <a:defRPr/>
            </a:pPr>
            <a:r>
              <a:rPr lang="en-US" sz="2245" b="1" noProof="1">
                <a:solidFill>
                  <a:srgbClr val="FFFFFF"/>
                </a:solidFill>
                <a:latin typeface="Calibri"/>
              </a:rPr>
              <a:t>2</a:t>
            </a: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gray">
          <a:xfrm>
            <a:off x="2100242" y="3673651"/>
            <a:ext cx="11310358" cy="594901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352106" tIns="100605" rIns="100605" bIns="100605" anchor="ctr"/>
          <a:lstStyle/>
          <a:p>
            <a:pPr defTabSz="1377935" eaLnBrk="0" fontAlgn="auto" hangingPunct="0">
              <a:spcBef>
                <a:spcPct val="25000"/>
              </a:spcBef>
              <a:spcAft>
                <a:spcPts val="0"/>
              </a:spcAft>
              <a:defRPr/>
            </a:pPr>
            <a:r>
              <a:rPr lang="en-IN" sz="2245" b="1" noProof="1">
                <a:solidFill>
                  <a:srgbClr val="3D7EDB">
                    <a:lumMod val="50000"/>
                  </a:srgbClr>
                </a:solidFill>
                <a:latin typeface="Calibri"/>
              </a:rPr>
              <a:t>Text</a:t>
            </a:r>
          </a:p>
        </p:txBody>
      </p:sp>
      <p:sp>
        <p:nvSpPr>
          <p:cNvPr id="8" name="Rectangle 15"/>
          <p:cNvSpPr>
            <a:spLocks noChangeArrowheads="1"/>
          </p:cNvSpPr>
          <p:nvPr userDrawn="1"/>
        </p:nvSpPr>
        <p:spPr bwMode="gray">
          <a:xfrm>
            <a:off x="656774" y="2890709"/>
            <a:ext cx="1313699" cy="594901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100605" tIns="100605" rIns="100605" bIns="100605" anchor="ctr"/>
          <a:lstStyle/>
          <a:p>
            <a:pPr algn="ctr" defTabSz="1377935" eaLnBrk="0" fontAlgn="auto" hangingPunct="0">
              <a:spcBef>
                <a:spcPct val="25000"/>
              </a:spcBef>
              <a:spcAft>
                <a:spcPts val="0"/>
              </a:spcAft>
              <a:defRPr/>
            </a:pPr>
            <a:r>
              <a:rPr lang="en-US" sz="2245" b="1" noProof="1">
                <a:solidFill>
                  <a:srgbClr val="FFFFFF"/>
                </a:solidFill>
                <a:latin typeface="Calibri"/>
              </a:rPr>
              <a:t>3</a:t>
            </a: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gray">
          <a:xfrm>
            <a:off x="2109299" y="1369882"/>
            <a:ext cx="11310358" cy="637323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352106" tIns="100605" rIns="100605" bIns="100605" anchor="ctr"/>
          <a:lstStyle/>
          <a:p>
            <a:pPr defTabSz="1377935" eaLnBrk="0" fontAlgn="auto" hangingPunct="0">
              <a:spcBef>
                <a:spcPct val="25000"/>
              </a:spcBef>
              <a:spcAft>
                <a:spcPts val="0"/>
              </a:spcAft>
              <a:defRPr/>
            </a:pPr>
            <a:r>
              <a:rPr lang="en-IN" sz="2245" b="1" noProof="1">
                <a:solidFill>
                  <a:srgbClr val="3D7EDB">
                    <a:lumMod val="50000"/>
                  </a:srgbClr>
                </a:solidFill>
                <a:latin typeface="Calibri"/>
              </a:rPr>
              <a:t>Text</a:t>
            </a:r>
          </a:p>
        </p:txBody>
      </p:sp>
      <p:sp>
        <p:nvSpPr>
          <p:cNvPr id="10" name="Rectangle 15"/>
          <p:cNvSpPr>
            <a:spLocks noChangeArrowheads="1"/>
          </p:cNvSpPr>
          <p:nvPr userDrawn="1"/>
        </p:nvSpPr>
        <p:spPr bwMode="gray">
          <a:xfrm>
            <a:off x="656761" y="1369685"/>
            <a:ext cx="1346693" cy="637323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100605" tIns="100605" rIns="100605" bIns="100605" anchor="ctr"/>
          <a:lstStyle/>
          <a:p>
            <a:pPr algn="ctr" defTabSz="1377935" eaLnBrk="0" fontAlgn="auto" hangingPunct="0">
              <a:spcBef>
                <a:spcPct val="25000"/>
              </a:spcBef>
              <a:spcAft>
                <a:spcPts val="0"/>
              </a:spcAft>
              <a:defRPr/>
            </a:pPr>
            <a:r>
              <a:rPr lang="en-US" sz="2245" b="1" noProof="1">
                <a:solidFill>
                  <a:srgbClr val="FFFFFF"/>
                </a:solidFill>
                <a:latin typeface="Calibri"/>
              </a:rPr>
              <a:t>1</a:t>
            </a:r>
          </a:p>
        </p:txBody>
      </p:sp>
      <p:sp>
        <p:nvSpPr>
          <p:cNvPr id="11" name="Rectangle 4"/>
          <p:cNvSpPr>
            <a:spLocks noChangeArrowheads="1"/>
          </p:cNvSpPr>
          <p:nvPr userDrawn="1"/>
        </p:nvSpPr>
        <p:spPr bwMode="gray">
          <a:xfrm>
            <a:off x="2109289" y="4420047"/>
            <a:ext cx="11310358" cy="662267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352106" tIns="100605" rIns="100605" bIns="100605" anchor="ctr"/>
          <a:lstStyle/>
          <a:p>
            <a:pPr defTabSz="1377935" eaLnBrk="0" fontAlgn="auto" hangingPunct="0">
              <a:spcBef>
                <a:spcPct val="25000"/>
              </a:spcBef>
              <a:spcAft>
                <a:spcPts val="0"/>
              </a:spcAft>
              <a:defRPr/>
            </a:pPr>
            <a:r>
              <a:rPr lang="en-US" sz="2245" b="1" noProof="1">
                <a:solidFill>
                  <a:srgbClr val="3D7EDB">
                    <a:lumMod val="50000"/>
                  </a:srgbClr>
                </a:solidFill>
                <a:latin typeface="Calibri"/>
              </a:rPr>
              <a:t>Text</a:t>
            </a:r>
          </a:p>
        </p:txBody>
      </p:sp>
      <p:sp>
        <p:nvSpPr>
          <p:cNvPr id="12" name="Rectangle 11"/>
          <p:cNvSpPr>
            <a:spLocks noChangeArrowheads="1"/>
          </p:cNvSpPr>
          <p:nvPr userDrawn="1"/>
        </p:nvSpPr>
        <p:spPr bwMode="gray">
          <a:xfrm>
            <a:off x="656773" y="3637091"/>
            <a:ext cx="1313699" cy="637323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100605" tIns="100605" rIns="100605" bIns="100605" anchor="ctr"/>
          <a:lstStyle/>
          <a:p>
            <a:pPr algn="ctr" defTabSz="1377935" eaLnBrk="0" fontAlgn="auto" hangingPunct="0">
              <a:spcBef>
                <a:spcPct val="25000"/>
              </a:spcBef>
              <a:spcAft>
                <a:spcPts val="0"/>
              </a:spcAft>
              <a:defRPr/>
            </a:pPr>
            <a:r>
              <a:rPr lang="en-US" sz="2245" b="1" noProof="1">
                <a:solidFill>
                  <a:srgbClr val="FFFFFF"/>
                </a:solidFill>
                <a:latin typeface="Calibri"/>
              </a:rPr>
              <a:t>4</a:t>
            </a:r>
          </a:p>
        </p:txBody>
      </p:sp>
      <p:sp>
        <p:nvSpPr>
          <p:cNvPr id="13" name="Rectangle 4"/>
          <p:cNvSpPr>
            <a:spLocks noChangeArrowheads="1"/>
          </p:cNvSpPr>
          <p:nvPr userDrawn="1"/>
        </p:nvSpPr>
        <p:spPr bwMode="gray">
          <a:xfrm>
            <a:off x="2100242" y="5263466"/>
            <a:ext cx="11310358" cy="662267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352106" tIns="100605" rIns="100605" bIns="100605" anchor="ctr"/>
          <a:lstStyle/>
          <a:p>
            <a:pPr defTabSz="1377935" eaLnBrk="0" fontAlgn="auto" hangingPunct="0">
              <a:spcBef>
                <a:spcPct val="25000"/>
              </a:spcBef>
              <a:spcAft>
                <a:spcPts val="0"/>
              </a:spcAft>
              <a:defRPr/>
            </a:pPr>
            <a:r>
              <a:rPr lang="en-US" sz="2245" b="1" noProof="1">
                <a:solidFill>
                  <a:srgbClr val="3D7EDB">
                    <a:lumMod val="50000"/>
                  </a:srgbClr>
                </a:solidFill>
                <a:latin typeface="Calibri"/>
              </a:rPr>
              <a:t>Text</a:t>
            </a: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gray">
          <a:xfrm>
            <a:off x="647725" y="4480461"/>
            <a:ext cx="1313699" cy="637323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100605" tIns="100605" rIns="100605" bIns="100605" anchor="ctr"/>
          <a:lstStyle/>
          <a:p>
            <a:pPr algn="ctr" defTabSz="1377935" eaLnBrk="0" fontAlgn="auto" hangingPunct="0">
              <a:spcBef>
                <a:spcPct val="25000"/>
              </a:spcBef>
              <a:spcAft>
                <a:spcPts val="0"/>
              </a:spcAft>
              <a:defRPr/>
            </a:pPr>
            <a:r>
              <a:rPr lang="en-US" sz="2245" b="1" noProof="1">
                <a:solidFill>
                  <a:srgbClr val="FFFFFF"/>
                </a:solidFill>
                <a:latin typeface="Calibri"/>
              </a:rPr>
              <a:t>5</a:t>
            </a:r>
          </a:p>
        </p:txBody>
      </p:sp>
      <p:sp>
        <p:nvSpPr>
          <p:cNvPr id="15" name="Rectangle 4"/>
          <p:cNvSpPr>
            <a:spLocks noChangeArrowheads="1"/>
          </p:cNvSpPr>
          <p:nvPr userDrawn="1"/>
        </p:nvSpPr>
        <p:spPr bwMode="gray">
          <a:xfrm>
            <a:off x="2117384" y="2141814"/>
            <a:ext cx="11310358" cy="662267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352106" tIns="100605" rIns="100605" bIns="100605" anchor="ctr"/>
          <a:lstStyle/>
          <a:p>
            <a:pPr defTabSz="1377935" eaLnBrk="0" fontAlgn="auto" hangingPunct="0">
              <a:spcBef>
                <a:spcPct val="25000"/>
              </a:spcBef>
              <a:spcAft>
                <a:spcPts val="0"/>
              </a:spcAft>
              <a:defRPr/>
            </a:pPr>
            <a:r>
              <a:rPr lang="en-IN" sz="2245" b="1" noProof="1">
                <a:solidFill>
                  <a:srgbClr val="3D7EDB">
                    <a:lumMod val="50000"/>
                  </a:srgbClr>
                </a:solidFill>
                <a:latin typeface="Calibri"/>
              </a:rPr>
              <a:t>Text</a:t>
            </a:r>
          </a:p>
        </p:txBody>
      </p:sp>
      <p:sp>
        <p:nvSpPr>
          <p:cNvPr id="16" name="Rectangle 15"/>
          <p:cNvSpPr>
            <a:spLocks noChangeArrowheads="1"/>
          </p:cNvSpPr>
          <p:nvPr userDrawn="1"/>
        </p:nvSpPr>
        <p:spPr bwMode="gray">
          <a:xfrm>
            <a:off x="642949" y="5325162"/>
            <a:ext cx="1313699" cy="637323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100605" tIns="100605" rIns="100605" bIns="100605" anchor="ctr"/>
          <a:lstStyle/>
          <a:p>
            <a:pPr algn="ctr" defTabSz="1377935" eaLnBrk="0" fontAlgn="auto" hangingPunct="0">
              <a:spcBef>
                <a:spcPct val="25000"/>
              </a:spcBef>
              <a:spcAft>
                <a:spcPts val="0"/>
              </a:spcAft>
              <a:defRPr/>
            </a:pPr>
            <a:r>
              <a:rPr lang="en-US" sz="2245" b="1" noProof="1">
                <a:solidFill>
                  <a:srgbClr val="FFFFFF"/>
                </a:solidFill>
                <a:latin typeface="Calibri"/>
              </a:rPr>
              <a:t>6</a:t>
            </a:r>
          </a:p>
        </p:txBody>
      </p:sp>
      <p:sp>
        <p:nvSpPr>
          <p:cNvPr id="17" name="Rectangle 4"/>
          <p:cNvSpPr>
            <a:spLocks noChangeArrowheads="1"/>
          </p:cNvSpPr>
          <p:nvPr userDrawn="1"/>
        </p:nvSpPr>
        <p:spPr bwMode="gray">
          <a:xfrm>
            <a:off x="2114623" y="6161590"/>
            <a:ext cx="11310358" cy="662267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352106" tIns="100605" rIns="100605" bIns="100605" anchor="ctr"/>
          <a:lstStyle/>
          <a:p>
            <a:pPr defTabSz="1377935" eaLnBrk="0" fontAlgn="auto" hangingPunct="0">
              <a:spcBef>
                <a:spcPct val="25000"/>
              </a:spcBef>
              <a:spcAft>
                <a:spcPts val="0"/>
              </a:spcAft>
              <a:defRPr/>
            </a:pPr>
            <a:r>
              <a:rPr lang="en-IN" sz="2245" b="1" noProof="1">
                <a:solidFill>
                  <a:srgbClr val="3D7EDB">
                    <a:lumMod val="50000"/>
                  </a:srgbClr>
                </a:solidFill>
                <a:latin typeface="Calibri"/>
              </a:rPr>
              <a:t>Text</a:t>
            </a: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gray">
          <a:xfrm>
            <a:off x="662104" y="6177895"/>
            <a:ext cx="1313699" cy="637323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100605" tIns="100605" rIns="100605" bIns="100605" anchor="ctr"/>
          <a:lstStyle/>
          <a:p>
            <a:pPr algn="ctr" defTabSz="1377935" eaLnBrk="0" fontAlgn="auto" hangingPunct="0">
              <a:spcBef>
                <a:spcPct val="25000"/>
              </a:spcBef>
              <a:spcAft>
                <a:spcPts val="0"/>
              </a:spcAft>
              <a:defRPr/>
            </a:pPr>
            <a:r>
              <a:rPr lang="en-US" sz="2245" b="1" noProof="1">
                <a:solidFill>
                  <a:srgbClr val="FFFFFF"/>
                </a:solidFill>
                <a:latin typeface="Calibri"/>
              </a:rPr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3865042392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73606" y="627403"/>
            <a:ext cx="13980331" cy="433186"/>
          </a:xfrm>
        </p:spPr>
        <p:txBody>
          <a:bodyPr/>
          <a:lstStyle>
            <a:lvl1pPr>
              <a:defRPr sz="3368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8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14117441" y="247266"/>
            <a:ext cx="392327" cy="263726"/>
          </a:xfrm>
          <a:prstGeom prst="rect">
            <a:avLst/>
          </a:prstGeom>
        </p:spPr>
        <p:txBody>
          <a:bodyPr vert="horz" lIns="0" tIns="47120" rIns="74203" bIns="47120" rtlCol="0" anchor="ctr"/>
          <a:lstStyle>
            <a:lvl1pPr algn="l">
              <a:defRPr sz="1544" b="1">
                <a:solidFill>
                  <a:schemeClr val="bg1"/>
                </a:solidFill>
                <a:latin typeface="+mn-lt"/>
              </a:defRPr>
            </a:lvl1pPr>
          </a:lstStyle>
          <a:p>
            <a:fld id="{7103653F-4628-4CCA-BBFC-10994C39EA7C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1194155" y="1389071"/>
            <a:ext cx="12630377" cy="863103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/>
          <a:p>
            <a:pPr lvl="0"/>
            <a:r>
              <a:rPr lang="en-US" dirty="0"/>
              <a:t>Click to edit text</a:t>
            </a:r>
            <a:endParaRPr lang="en-IN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1194155" y="2665951"/>
            <a:ext cx="12630377" cy="863103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/>
          <a:p>
            <a:pPr lvl="0"/>
            <a:r>
              <a:rPr lang="en-US" dirty="0"/>
              <a:t>Click to edit text</a:t>
            </a:r>
            <a:endParaRPr lang="en-IN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7" hasCustomPrompt="1"/>
          </p:nvPr>
        </p:nvSpPr>
        <p:spPr>
          <a:xfrm>
            <a:off x="1194155" y="3942828"/>
            <a:ext cx="12630377" cy="863103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/>
          <a:p>
            <a:pPr lvl="0"/>
            <a:r>
              <a:rPr lang="en-US" dirty="0"/>
              <a:t>Click to edit text</a:t>
            </a:r>
            <a:endParaRPr lang="en-IN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8" hasCustomPrompt="1"/>
          </p:nvPr>
        </p:nvSpPr>
        <p:spPr>
          <a:xfrm>
            <a:off x="1194155" y="5219706"/>
            <a:ext cx="12630377" cy="863103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/>
          <a:p>
            <a:pPr lvl="0"/>
            <a:r>
              <a:rPr lang="en-US" dirty="0"/>
              <a:t>Click to edit text</a:t>
            </a:r>
            <a:endParaRPr lang="en-IN" dirty="0"/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19" hasCustomPrompt="1"/>
          </p:nvPr>
        </p:nvSpPr>
        <p:spPr>
          <a:xfrm>
            <a:off x="225035" y="1340543"/>
            <a:ext cx="1010430" cy="863103"/>
          </a:xfrm>
          <a:prstGeom prst="flowChartConnector">
            <a:avLst/>
          </a:prstGeom>
          <a:solidFill>
            <a:schemeClr val="tx2">
              <a:lumMod val="50000"/>
            </a:schemeClr>
          </a:solidFill>
        </p:spPr>
        <p:txBody>
          <a:bodyPr anchor="ctr"/>
          <a:lstStyle>
            <a:lvl1pPr marL="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20" hasCustomPrompt="1"/>
          </p:nvPr>
        </p:nvSpPr>
        <p:spPr>
          <a:xfrm>
            <a:off x="225035" y="2639582"/>
            <a:ext cx="1010430" cy="863103"/>
          </a:xfrm>
          <a:prstGeom prst="flowChartConnector">
            <a:avLst/>
          </a:prstGeom>
          <a:solidFill>
            <a:schemeClr val="tx2">
              <a:lumMod val="50000"/>
            </a:schemeClr>
          </a:solidFill>
        </p:spPr>
        <p:txBody>
          <a:bodyPr anchor="ctr"/>
          <a:lstStyle>
            <a:lvl1pPr marL="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2</a:t>
            </a:r>
            <a:endParaRPr lang="en-IN" dirty="0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21" hasCustomPrompt="1"/>
          </p:nvPr>
        </p:nvSpPr>
        <p:spPr>
          <a:xfrm>
            <a:off x="225035" y="3938622"/>
            <a:ext cx="1010430" cy="863103"/>
          </a:xfrm>
          <a:prstGeom prst="flowChartConnector">
            <a:avLst/>
          </a:prstGeom>
          <a:solidFill>
            <a:schemeClr val="tx2">
              <a:lumMod val="50000"/>
            </a:schemeClr>
          </a:solidFill>
        </p:spPr>
        <p:txBody>
          <a:bodyPr anchor="ctr"/>
          <a:lstStyle>
            <a:lvl1pPr marL="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3</a:t>
            </a:r>
            <a:endParaRPr lang="en-IN" dirty="0"/>
          </a:p>
        </p:txBody>
      </p:sp>
      <p:sp>
        <p:nvSpPr>
          <p:cNvPr id="32" name="Text Placeholder 31"/>
          <p:cNvSpPr>
            <a:spLocks noGrp="1"/>
          </p:cNvSpPr>
          <p:nvPr>
            <p:ph type="body" sz="quarter" idx="22" hasCustomPrompt="1"/>
          </p:nvPr>
        </p:nvSpPr>
        <p:spPr>
          <a:xfrm>
            <a:off x="225035" y="5237658"/>
            <a:ext cx="1010430" cy="863103"/>
          </a:xfrm>
          <a:prstGeom prst="flowChartConnector">
            <a:avLst/>
          </a:prstGeom>
          <a:solidFill>
            <a:schemeClr val="tx2">
              <a:lumMod val="50000"/>
            </a:schemeClr>
          </a:solidFill>
        </p:spPr>
        <p:txBody>
          <a:bodyPr anchor="ctr"/>
          <a:lstStyle>
            <a:lvl1pPr marL="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4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34607202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with image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6914" y="593664"/>
            <a:ext cx="14234162" cy="433186"/>
          </a:xfrm>
        </p:spPr>
        <p:txBody>
          <a:bodyPr/>
          <a:lstStyle>
            <a:lvl1pPr>
              <a:defRPr sz="2807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271060" y="1212669"/>
            <a:ext cx="14022352" cy="444634"/>
          </a:xfrm>
        </p:spPr>
        <p:txBody>
          <a:bodyPr/>
          <a:lstStyle>
            <a:lvl1pPr>
              <a:buNone/>
              <a:defRPr sz="2245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ijdelijke aanduiding voor tekst 20"/>
          <p:cNvSpPr>
            <a:spLocks noGrp="1"/>
          </p:cNvSpPr>
          <p:nvPr>
            <p:ph type="body" sz="quarter" idx="19"/>
          </p:nvPr>
        </p:nvSpPr>
        <p:spPr>
          <a:xfrm>
            <a:off x="3887895" y="1919708"/>
            <a:ext cx="10251069" cy="1583865"/>
          </a:xfrm>
          <a:solidFill>
            <a:schemeClr val="tx2">
              <a:lumMod val="20000"/>
              <a:lumOff val="80000"/>
            </a:schemeClr>
          </a:solidFill>
        </p:spPr>
        <p:txBody>
          <a:bodyPr anchor="t" anchorCtr="0"/>
          <a:lstStyle>
            <a:lvl1pPr>
              <a:spcBef>
                <a:spcPts val="0"/>
              </a:spcBef>
              <a:defRPr sz="1964"/>
            </a:lvl1pPr>
            <a:lvl2pPr>
              <a:spcBef>
                <a:spcPts val="0"/>
              </a:spcBef>
              <a:defRPr sz="1964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2" name="Tijdelijke aanduiding voor tekst 20"/>
          <p:cNvSpPr>
            <a:spLocks noGrp="1"/>
          </p:cNvSpPr>
          <p:nvPr>
            <p:ph type="body" sz="quarter" idx="20"/>
          </p:nvPr>
        </p:nvSpPr>
        <p:spPr>
          <a:xfrm>
            <a:off x="3887895" y="5872105"/>
            <a:ext cx="10251069" cy="1583865"/>
          </a:xfrm>
          <a:solidFill>
            <a:schemeClr val="tx2">
              <a:lumMod val="20000"/>
              <a:lumOff val="80000"/>
            </a:schemeClr>
          </a:solidFill>
        </p:spPr>
        <p:txBody>
          <a:bodyPr anchor="t" anchorCtr="0"/>
          <a:lstStyle>
            <a:lvl1pPr>
              <a:spcBef>
                <a:spcPts val="0"/>
              </a:spcBef>
              <a:defRPr sz="1964"/>
            </a:lvl1pPr>
            <a:lvl2pPr>
              <a:spcBef>
                <a:spcPts val="0"/>
              </a:spcBef>
              <a:defRPr sz="1964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Tijdelijke aanduiding voor tekst 20"/>
          <p:cNvSpPr>
            <a:spLocks noGrp="1"/>
          </p:cNvSpPr>
          <p:nvPr>
            <p:ph type="body" sz="quarter" idx="21"/>
          </p:nvPr>
        </p:nvSpPr>
        <p:spPr>
          <a:xfrm>
            <a:off x="3887895" y="3895907"/>
            <a:ext cx="10251069" cy="1583865"/>
          </a:xfrm>
          <a:solidFill>
            <a:schemeClr val="tx2">
              <a:lumMod val="20000"/>
              <a:lumOff val="80000"/>
            </a:schemeClr>
          </a:solidFill>
        </p:spPr>
        <p:txBody>
          <a:bodyPr anchor="t" anchorCtr="0"/>
          <a:lstStyle>
            <a:lvl1pPr>
              <a:spcBef>
                <a:spcPts val="0"/>
              </a:spcBef>
              <a:defRPr sz="1964"/>
            </a:lvl1pPr>
            <a:lvl2pPr>
              <a:spcBef>
                <a:spcPts val="0"/>
              </a:spcBef>
              <a:defRPr sz="1964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ijdelijke aanduiding voor afbeelding 12"/>
          <p:cNvSpPr>
            <a:spLocks noGrp="1"/>
          </p:cNvSpPr>
          <p:nvPr>
            <p:ph type="pic" sz="quarter" idx="22"/>
          </p:nvPr>
        </p:nvSpPr>
        <p:spPr>
          <a:xfrm>
            <a:off x="375116" y="1919708"/>
            <a:ext cx="3226928" cy="1583865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 dirty="0"/>
              <a:t>Click icon to add picture</a:t>
            </a:r>
            <a:endParaRPr lang="nl-NL" noProof="0"/>
          </a:p>
        </p:txBody>
      </p:sp>
      <p:sp>
        <p:nvSpPr>
          <p:cNvPr id="14" name="Tijdelijke aanduiding voor afbeelding 12"/>
          <p:cNvSpPr>
            <a:spLocks noGrp="1"/>
          </p:cNvSpPr>
          <p:nvPr>
            <p:ph type="pic" sz="quarter" idx="23"/>
          </p:nvPr>
        </p:nvSpPr>
        <p:spPr>
          <a:xfrm>
            <a:off x="355376" y="3895907"/>
            <a:ext cx="3244084" cy="1583865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 dirty="0"/>
              <a:t>Click icon to add picture</a:t>
            </a:r>
            <a:endParaRPr lang="nl-NL" noProof="0"/>
          </a:p>
        </p:txBody>
      </p:sp>
      <p:sp>
        <p:nvSpPr>
          <p:cNvPr id="15" name="Tijdelijke aanduiding voor afbeelding 12"/>
          <p:cNvSpPr>
            <a:spLocks noGrp="1"/>
          </p:cNvSpPr>
          <p:nvPr>
            <p:ph type="pic" sz="quarter" idx="24"/>
          </p:nvPr>
        </p:nvSpPr>
        <p:spPr>
          <a:xfrm>
            <a:off x="394855" y="5872105"/>
            <a:ext cx="3204603" cy="1583865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 dirty="0"/>
              <a:t>Click icon to add picture</a:t>
            </a:r>
            <a:endParaRPr lang="nl-NL" noProof="0"/>
          </a:p>
        </p:txBody>
      </p:sp>
      <p:sp>
        <p:nvSpPr>
          <p:cNvPr id="10" name="Rectangle 5"/>
          <p:cNvSpPr>
            <a:spLocks noGrp="1" noChangeArrowheads="1"/>
          </p:cNvSpPr>
          <p:nvPr>
            <p:ph type="sldNum" sz="quarter" idx="2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1C7F818-1137-44F4-B6D6-BECAD6B9515E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9133970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image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8694" y="1015223"/>
            <a:ext cx="13352711" cy="433186"/>
          </a:xfrm>
        </p:spPr>
        <p:txBody>
          <a:bodyPr/>
          <a:lstStyle>
            <a:lvl1pPr>
              <a:defRPr sz="2807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646170" y="1819764"/>
            <a:ext cx="13378153" cy="444634"/>
          </a:xfrm>
        </p:spPr>
        <p:txBody>
          <a:bodyPr/>
          <a:lstStyle>
            <a:lvl1pPr>
              <a:buNone/>
              <a:defRPr sz="2245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ijdelijke aanduiding voor tekst 20"/>
          <p:cNvSpPr>
            <a:spLocks noGrp="1"/>
          </p:cNvSpPr>
          <p:nvPr>
            <p:ph type="body" sz="quarter" idx="19"/>
          </p:nvPr>
        </p:nvSpPr>
        <p:spPr>
          <a:xfrm>
            <a:off x="5214961" y="2509950"/>
            <a:ext cx="8791575" cy="2423400"/>
          </a:xfrm>
          <a:solidFill>
            <a:schemeClr val="tx2">
              <a:lumMod val="20000"/>
              <a:lumOff val="80000"/>
            </a:schemeClr>
          </a:solidFill>
        </p:spPr>
        <p:txBody>
          <a:bodyPr anchor="t" anchorCtr="0"/>
          <a:lstStyle>
            <a:lvl1pPr>
              <a:spcBef>
                <a:spcPts val="0"/>
              </a:spcBef>
              <a:defRPr sz="1964"/>
            </a:lvl1pPr>
            <a:lvl2pPr>
              <a:spcBef>
                <a:spcPts val="0"/>
              </a:spcBef>
              <a:defRPr sz="1964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Tijdelijke aanduiding voor tekst 20"/>
          <p:cNvSpPr>
            <a:spLocks noGrp="1"/>
          </p:cNvSpPr>
          <p:nvPr>
            <p:ph type="body" sz="quarter" idx="21"/>
          </p:nvPr>
        </p:nvSpPr>
        <p:spPr>
          <a:xfrm>
            <a:off x="5214961" y="5262240"/>
            <a:ext cx="8791575" cy="2423400"/>
          </a:xfrm>
          <a:solidFill>
            <a:schemeClr val="tx2">
              <a:lumMod val="20000"/>
              <a:lumOff val="80000"/>
            </a:schemeClr>
          </a:solidFill>
        </p:spPr>
        <p:txBody>
          <a:bodyPr anchor="t" anchorCtr="0"/>
          <a:lstStyle>
            <a:lvl1pPr>
              <a:spcBef>
                <a:spcPts val="0"/>
              </a:spcBef>
              <a:defRPr sz="1964"/>
            </a:lvl1pPr>
            <a:lvl2pPr>
              <a:spcBef>
                <a:spcPts val="0"/>
              </a:spcBef>
              <a:defRPr sz="1964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ijdelijke aanduiding voor afbeelding 12"/>
          <p:cNvSpPr>
            <a:spLocks noGrp="1" noChangeAspect="1"/>
          </p:cNvSpPr>
          <p:nvPr>
            <p:ph type="pic" sz="quarter" idx="22"/>
          </p:nvPr>
        </p:nvSpPr>
        <p:spPr>
          <a:xfrm>
            <a:off x="648695" y="2509950"/>
            <a:ext cx="4222725" cy="24234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 dirty="0"/>
              <a:t>Click icon to add picture</a:t>
            </a:r>
            <a:endParaRPr lang="nl-NL" noProof="0"/>
          </a:p>
        </p:txBody>
      </p:sp>
      <p:sp>
        <p:nvSpPr>
          <p:cNvPr id="14" name="Tijdelijke aanduiding voor afbeelding 12"/>
          <p:cNvSpPr>
            <a:spLocks noGrp="1" noChangeAspect="1"/>
          </p:cNvSpPr>
          <p:nvPr>
            <p:ph type="pic" sz="quarter" idx="23"/>
          </p:nvPr>
        </p:nvSpPr>
        <p:spPr>
          <a:xfrm>
            <a:off x="646111" y="5262240"/>
            <a:ext cx="4222725" cy="24234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 dirty="0"/>
              <a:t>Click icon to add picture</a:t>
            </a:r>
            <a:endParaRPr lang="nl-NL" noProof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sldNum" sz="quarter" idx="24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5A22AC8-36D9-4965-81AD-19038FCC0CCE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8022655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72316" y="627395"/>
            <a:ext cx="14059299" cy="433186"/>
          </a:xfrm>
        </p:spPr>
        <p:txBody>
          <a:bodyPr/>
          <a:lstStyle>
            <a:lvl1pPr>
              <a:defRPr sz="2807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16" name="Tijdelijke aanduiding voor tekst 15"/>
          <p:cNvSpPr>
            <a:spLocks noGrp="1"/>
          </p:cNvSpPr>
          <p:nvPr>
            <p:ph type="body" sz="quarter" idx="14"/>
          </p:nvPr>
        </p:nvSpPr>
        <p:spPr>
          <a:xfrm>
            <a:off x="533048" y="2307581"/>
            <a:ext cx="6732105" cy="432750"/>
          </a:xfrm>
          <a:solidFill>
            <a:schemeClr val="tx2">
              <a:lumMod val="20000"/>
              <a:lumOff val="80000"/>
            </a:schemeClr>
          </a:solidFill>
        </p:spPr>
        <p:txBody>
          <a:bodyPr lIns="192298" anchor="ctr"/>
          <a:lstStyle>
            <a:lvl1pPr marL="0" indent="0" algn="l">
              <a:spcBef>
                <a:spcPts val="0"/>
              </a:spcBef>
              <a:buNone/>
              <a:defRPr sz="196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7" name="Tijdelijke aanduiding voor tekst 15"/>
          <p:cNvSpPr>
            <a:spLocks noGrp="1"/>
          </p:cNvSpPr>
          <p:nvPr>
            <p:ph type="body" sz="quarter" idx="15"/>
          </p:nvPr>
        </p:nvSpPr>
        <p:spPr>
          <a:xfrm>
            <a:off x="7676990" y="2307581"/>
            <a:ext cx="6655817" cy="432750"/>
          </a:xfrm>
          <a:solidFill>
            <a:schemeClr val="accent5">
              <a:lumMod val="60000"/>
              <a:lumOff val="40000"/>
            </a:schemeClr>
          </a:solidFill>
        </p:spPr>
        <p:txBody>
          <a:bodyPr lIns="192298" anchor="ctr"/>
          <a:lstStyle>
            <a:lvl1pPr marL="0" indent="0">
              <a:spcBef>
                <a:spcPts val="0"/>
              </a:spcBef>
              <a:buNone/>
              <a:defRPr sz="196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330274" y="1263263"/>
            <a:ext cx="14081580" cy="444634"/>
          </a:xfrm>
        </p:spPr>
        <p:txBody>
          <a:bodyPr/>
          <a:lstStyle>
            <a:lvl1pPr>
              <a:buNone/>
              <a:defRPr sz="2245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ijdelijke aanduiding voor tekst 20"/>
          <p:cNvSpPr>
            <a:spLocks noGrp="1"/>
          </p:cNvSpPr>
          <p:nvPr>
            <p:ph type="body" sz="quarter" idx="19"/>
          </p:nvPr>
        </p:nvSpPr>
        <p:spPr>
          <a:xfrm>
            <a:off x="533048" y="2718695"/>
            <a:ext cx="6732105" cy="4721303"/>
          </a:xfrm>
        </p:spPr>
        <p:txBody>
          <a:bodyPr/>
          <a:lstStyle>
            <a:lvl1pPr>
              <a:defRPr sz="1964"/>
            </a:lvl1pPr>
            <a:lvl2pPr>
              <a:defRPr sz="1964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1" name="Tijdelijke aanduiding voor tekst 20"/>
          <p:cNvSpPr>
            <a:spLocks noGrp="1"/>
          </p:cNvSpPr>
          <p:nvPr>
            <p:ph type="body" sz="quarter" idx="20"/>
          </p:nvPr>
        </p:nvSpPr>
        <p:spPr>
          <a:xfrm>
            <a:off x="7677071" y="2718695"/>
            <a:ext cx="6655817" cy="4721303"/>
          </a:xfrm>
        </p:spPr>
        <p:txBody>
          <a:bodyPr/>
          <a:lstStyle>
            <a:lvl1pPr>
              <a:defRPr sz="1964"/>
            </a:lvl1pPr>
            <a:lvl2pPr>
              <a:defRPr sz="1964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8" name="Rectangle 5"/>
          <p:cNvSpPr>
            <a:spLocks noGrp="1" noChangeArrowheads="1"/>
          </p:cNvSpPr>
          <p:nvPr>
            <p:ph type="sldNum" sz="quarter" idx="2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EEDDE4F-381E-4904-8E4A-86B45F5FCC9F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7988350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PP header horizon met logo's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5075" y="490435"/>
            <a:ext cx="14657713" cy="1883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438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48688" y="2854831"/>
            <a:ext cx="13352712" cy="1375890"/>
          </a:xfrm>
        </p:spPr>
        <p:txBody>
          <a:bodyPr bIns="45718"/>
          <a:lstStyle>
            <a:lvl1pPr>
              <a:defRPr sz="4503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4438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48688" y="7442409"/>
            <a:ext cx="13352712" cy="501886"/>
          </a:xfrm>
        </p:spPr>
        <p:txBody>
          <a:bodyPr tIns="45718" rIns="91435" bIns="45718"/>
          <a:lstStyle>
            <a:lvl1pPr marL="0" indent="0">
              <a:buFontTx/>
              <a:buNone/>
              <a:defRPr sz="2532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14718874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8694" y="1015223"/>
            <a:ext cx="13352711" cy="433186"/>
          </a:xfrm>
        </p:spPr>
        <p:txBody>
          <a:bodyPr/>
          <a:lstStyle>
            <a:lvl1pPr>
              <a:defRPr sz="2807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16" name="Tijdelijke aanduiding voor tekst 15"/>
          <p:cNvSpPr>
            <a:spLocks noGrp="1"/>
          </p:cNvSpPr>
          <p:nvPr>
            <p:ph type="body" sz="quarter" idx="14"/>
          </p:nvPr>
        </p:nvSpPr>
        <p:spPr>
          <a:xfrm>
            <a:off x="646111" y="2509950"/>
            <a:ext cx="4222725" cy="432750"/>
          </a:xfrm>
          <a:solidFill>
            <a:schemeClr val="tx2">
              <a:lumMod val="20000"/>
              <a:lumOff val="80000"/>
            </a:schemeClr>
          </a:solidFill>
        </p:spPr>
        <p:txBody>
          <a:bodyPr lIns="192298" anchor="ctr"/>
          <a:lstStyle>
            <a:lvl1pPr marL="0" indent="0" algn="l">
              <a:spcBef>
                <a:spcPts val="0"/>
              </a:spcBef>
              <a:buNone/>
              <a:defRPr sz="196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7" name="Tijdelijke aanduiding voor tekst 15"/>
          <p:cNvSpPr>
            <a:spLocks noGrp="1"/>
          </p:cNvSpPr>
          <p:nvPr>
            <p:ph type="body" sz="quarter" idx="15"/>
          </p:nvPr>
        </p:nvSpPr>
        <p:spPr>
          <a:xfrm>
            <a:off x="5220732" y="2509950"/>
            <a:ext cx="4222725" cy="432750"/>
          </a:xfrm>
          <a:solidFill>
            <a:schemeClr val="bg1">
              <a:lumMod val="85000"/>
            </a:schemeClr>
          </a:solidFill>
        </p:spPr>
        <p:txBody>
          <a:bodyPr lIns="192298" anchor="ctr"/>
          <a:lstStyle>
            <a:lvl1pPr marL="0" indent="0">
              <a:spcBef>
                <a:spcPts val="0"/>
              </a:spcBef>
              <a:buNone/>
              <a:defRPr sz="196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646170" y="1819764"/>
            <a:ext cx="13378153" cy="444634"/>
          </a:xfrm>
        </p:spPr>
        <p:txBody>
          <a:bodyPr/>
          <a:lstStyle>
            <a:lvl1pPr>
              <a:buNone/>
              <a:defRPr sz="2245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ijdelijke aanduiding voor tekst 15"/>
          <p:cNvSpPr>
            <a:spLocks noGrp="1"/>
          </p:cNvSpPr>
          <p:nvPr>
            <p:ph type="body" sz="quarter" idx="18"/>
          </p:nvPr>
        </p:nvSpPr>
        <p:spPr>
          <a:xfrm>
            <a:off x="9778054" y="2509950"/>
            <a:ext cx="4222725" cy="432750"/>
          </a:xfrm>
          <a:solidFill>
            <a:schemeClr val="tx2">
              <a:lumMod val="20000"/>
              <a:lumOff val="80000"/>
            </a:schemeClr>
          </a:solidFill>
        </p:spPr>
        <p:txBody>
          <a:bodyPr lIns="192298" anchor="ctr"/>
          <a:lstStyle>
            <a:lvl1pPr marL="0" indent="0">
              <a:spcBef>
                <a:spcPts val="0"/>
              </a:spcBef>
              <a:buNone/>
              <a:defRPr sz="196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1" name="Tijdelijke aanduiding voor tekst 20"/>
          <p:cNvSpPr>
            <a:spLocks noGrp="1"/>
          </p:cNvSpPr>
          <p:nvPr>
            <p:ph type="body" sz="quarter" idx="19"/>
          </p:nvPr>
        </p:nvSpPr>
        <p:spPr>
          <a:xfrm>
            <a:off x="646111" y="2921064"/>
            <a:ext cx="4222725" cy="4721303"/>
          </a:xfrm>
        </p:spPr>
        <p:txBody>
          <a:bodyPr/>
          <a:lstStyle>
            <a:lvl1pPr>
              <a:defRPr sz="1964"/>
            </a:lvl1pPr>
            <a:lvl2pPr>
              <a:defRPr sz="1964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2" name="Tijdelijke aanduiding voor tekst 20"/>
          <p:cNvSpPr>
            <a:spLocks noGrp="1"/>
          </p:cNvSpPr>
          <p:nvPr>
            <p:ph type="body" sz="quarter" idx="20"/>
          </p:nvPr>
        </p:nvSpPr>
        <p:spPr>
          <a:xfrm>
            <a:off x="5220732" y="2921064"/>
            <a:ext cx="4222725" cy="4721303"/>
          </a:xfrm>
        </p:spPr>
        <p:txBody>
          <a:bodyPr/>
          <a:lstStyle>
            <a:lvl1pPr>
              <a:defRPr sz="1964"/>
            </a:lvl1pPr>
            <a:lvl2pPr>
              <a:defRPr sz="1964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Tijdelijke aanduiding voor tekst 20"/>
          <p:cNvSpPr>
            <a:spLocks noGrp="1"/>
          </p:cNvSpPr>
          <p:nvPr>
            <p:ph type="body" sz="quarter" idx="21"/>
          </p:nvPr>
        </p:nvSpPr>
        <p:spPr>
          <a:xfrm>
            <a:off x="9778054" y="2921064"/>
            <a:ext cx="4222725" cy="4721303"/>
          </a:xfrm>
        </p:spPr>
        <p:txBody>
          <a:bodyPr/>
          <a:lstStyle>
            <a:lvl1pPr>
              <a:defRPr sz="1964"/>
            </a:lvl1pPr>
            <a:lvl2pPr>
              <a:defRPr sz="1964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Rectangle 5"/>
          <p:cNvSpPr>
            <a:spLocks noGrp="1" noChangeArrowheads="1"/>
          </p:cNvSpPr>
          <p:nvPr>
            <p:ph type="sldNum" sz="quarter" idx="2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F7271F2-7CBD-49FF-AC82-FB447FEFDDB6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8139779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8694" y="1015223"/>
            <a:ext cx="13352711" cy="433186"/>
          </a:xfrm>
        </p:spPr>
        <p:txBody>
          <a:bodyPr/>
          <a:lstStyle>
            <a:lvl1pPr>
              <a:defRPr sz="2807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6" name="Tijdelijke aanduiding voor tekst 15"/>
          <p:cNvSpPr>
            <a:spLocks noGrp="1"/>
          </p:cNvSpPr>
          <p:nvPr>
            <p:ph type="body" sz="quarter" idx="14"/>
          </p:nvPr>
        </p:nvSpPr>
        <p:spPr>
          <a:xfrm>
            <a:off x="646108" y="2509950"/>
            <a:ext cx="13355299" cy="432750"/>
          </a:xfrm>
          <a:solidFill>
            <a:schemeClr val="tx2">
              <a:lumMod val="20000"/>
              <a:lumOff val="80000"/>
            </a:schemeClr>
          </a:solidFill>
        </p:spPr>
        <p:txBody>
          <a:bodyPr lIns="192298" anchor="ctr"/>
          <a:lstStyle>
            <a:lvl1pPr marL="0" indent="0" algn="l">
              <a:spcBef>
                <a:spcPts val="0"/>
              </a:spcBef>
              <a:buNone/>
              <a:defRPr sz="196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646170" y="1819764"/>
            <a:ext cx="13378153" cy="444634"/>
          </a:xfrm>
        </p:spPr>
        <p:txBody>
          <a:bodyPr/>
          <a:lstStyle>
            <a:lvl1pPr>
              <a:buNone/>
              <a:defRPr sz="2245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Tijdelijke aanduiding voor tekst 10"/>
          <p:cNvSpPr>
            <a:spLocks noGrp="1"/>
          </p:cNvSpPr>
          <p:nvPr>
            <p:ph type="body" sz="quarter" idx="18"/>
          </p:nvPr>
        </p:nvSpPr>
        <p:spPr>
          <a:xfrm>
            <a:off x="646118" y="2942700"/>
            <a:ext cx="13355259" cy="1151115"/>
          </a:xfrm>
        </p:spPr>
        <p:txBody>
          <a:bodyPr/>
          <a:lstStyle>
            <a:lvl1pPr>
              <a:spcBef>
                <a:spcPts val="0"/>
              </a:spcBef>
              <a:defRPr sz="1964"/>
            </a:lvl1pPr>
            <a:lvl2pPr>
              <a:spcBef>
                <a:spcPts val="0"/>
              </a:spcBef>
              <a:defRPr sz="1964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9" name="Tijdelijke aanduiding voor tekst 10"/>
          <p:cNvSpPr>
            <a:spLocks noGrp="1"/>
          </p:cNvSpPr>
          <p:nvPr>
            <p:ph type="body" sz="quarter" idx="19"/>
          </p:nvPr>
        </p:nvSpPr>
        <p:spPr>
          <a:xfrm>
            <a:off x="646156" y="4703994"/>
            <a:ext cx="13355259" cy="1151115"/>
          </a:xfrm>
        </p:spPr>
        <p:txBody>
          <a:bodyPr/>
          <a:lstStyle>
            <a:lvl1pPr>
              <a:spcBef>
                <a:spcPts val="0"/>
              </a:spcBef>
              <a:defRPr sz="1964"/>
            </a:lvl1pPr>
            <a:lvl2pPr>
              <a:spcBef>
                <a:spcPts val="0"/>
              </a:spcBef>
              <a:defRPr sz="1964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0" name="Tijdelijke aanduiding voor tekst 10"/>
          <p:cNvSpPr>
            <a:spLocks noGrp="1"/>
          </p:cNvSpPr>
          <p:nvPr>
            <p:ph type="body" sz="quarter" idx="20"/>
          </p:nvPr>
        </p:nvSpPr>
        <p:spPr>
          <a:xfrm>
            <a:off x="646156" y="6469613"/>
            <a:ext cx="13355259" cy="1151115"/>
          </a:xfrm>
        </p:spPr>
        <p:txBody>
          <a:bodyPr/>
          <a:lstStyle>
            <a:lvl1pPr>
              <a:spcBef>
                <a:spcPts val="0"/>
              </a:spcBef>
              <a:defRPr sz="1964"/>
            </a:lvl1pPr>
            <a:lvl2pPr>
              <a:spcBef>
                <a:spcPts val="0"/>
              </a:spcBef>
              <a:defRPr sz="1964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ijdelijke aanduiding voor tekst 15"/>
          <p:cNvSpPr>
            <a:spLocks noGrp="1"/>
          </p:cNvSpPr>
          <p:nvPr>
            <p:ph type="body" sz="quarter" idx="21"/>
          </p:nvPr>
        </p:nvSpPr>
        <p:spPr>
          <a:xfrm>
            <a:off x="646108" y="4271243"/>
            <a:ext cx="13355299" cy="432750"/>
          </a:xfrm>
          <a:solidFill>
            <a:schemeClr val="bg1">
              <a:lumMod val="85000"/>
            </a:schemeClr>
          </a:solidFill>
        </p:spPr>
        <p:txBody>
          <a:bodyPr lIns="192298" anchor="ctr"/>
          <a:lstStyle>
            <a:lvl1pPr marL="0" indent="0" algn="l">
              <a:spcBef>
                <a:spcPts val="0"/>
              </a:spcBef>
              <a:buNone/>
              <a:defRPr sz="196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2" name="Tijdelijke aanduiding voor tekst 15"/>
          <p:cNvSpPr>
            <a:spLocks noGrp="1"/>
          </p:cNvSpPr>
          <p:nvPr>
            <p:ph type="body" sz="quarter" idx="22"/>
          </p:nvPr>
        </p:nvSpPr>
        <p:spPr>
          <a:xfrm>
            <a:off x="646141" y="6036863"/>
            <a:ext cx="13355299" cy="432750"/>
          </a:xfrm>
          <a:solidFill>
            <a:schemeClr val="tx2">
              <a:lumMod val="20000"/>
              <a:lumOff val="80000"/>
            </a:schemeClr>
          </a:solidFill>
        </p:spPr>
        <p:txBody>
          <a:bodyPr lIns="192298" anchor="ctr"/>
          <a:lstStyle>
            <a:lvl1pPr marL="0" indent="0" algn="l">
              <a:spcBef>
                <a:spcPts val="0"/>
              </a:spcBef>
              <a:buNone/>
              <a:defRPr sz="196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Rectangle 5"/>
          <p:cNvSpPr>
            <a:spLocks noGrp="1" noChangeArrowheads="1"/>
          </p:cNvSpPr>
          <p:nvPr>
            <p:ph type="sldNum" sz="quarter" idx="23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2F3E2E6-0002-40E1-98BA-05E901993722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590574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3" descr="TG_BM_RGB"/>
          <p:cNvPicPr>
            <a:picLocks noChangeAspect="1" noChangeArrowheads="1"/>
          </p:cNvPicPr>
          <p:nvPr userDrawn="1"/>
        </p:nvPicPr>
        <p:blipFill>
          <a:blip r:embed="rId2" cstate="print"/>
          <a:srcRect l="9850" t="10782" r="9810" b="10782"/>
          <a:stretch>
            <a:fillRect/>
          </a:stretch>
        </p:blipFill>
        <p:spPr bwMode="auto">
          <a:xfrm>
            <a:off x="13691058" y="89695"/>
            <a:ext cx="786054" cy="5171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23" descr="TS_BM_RGB"/>
          <p:cNvPicPr>
            <a:picLocks noChangeAspect="1" noChangeArrowheads="1"/>
          </p:cNvPicPr>
          <p:nvPr userDrawn="1"/>
        </p:nvPicPr>
        <p:blipFill>
          <a:blip r:embed="rId3" cstate="print"/>
          <a:srcRect l="9319" t="32796" r="9198" b="31863"/>
          <a:stretch>
            <a:fillRect/>
          </a:stretch>
        </p:blipFill>
        <p:spPr bwMode="auto">
          <a:xfrm>
            <a:off x="226416" y="7944348"/>
            <a:ext cx="1755263" cy="169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508"/>
            </a:lvl1pPr>
          </a:lstStyle>
          <a:p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8583034" y="14"/>
            <a:ext cx="4243156" cy="356853"/>
          </a:xfrm>
          <a:prstGeom prst="rect">
            <a:avLst/>
          </a:prstGeom>
        </p:spPr>
        <p:txBody>
          <a:bodyPr lIns="89141" tIns="44574" rIns="89141" bIns="44574"/>
          <a:lstStyle>
            <a:lvl1pPr marL="0" indent="0">
              <a:buNone/>
              <a:defRPr sz="1684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4"/>
          </p:nvPr>
        </p:nvSpPr>
        <p:spPr>
          <a:xfrm>
            <a:off x="11808617" y="7783991"/>
            <a:ext cx="1696753" cy="129765"/>
          </a:xfrm>
          <a:prstGeom prst="rect">
            <a:avLst/>
          </a:prstGeom>
        </p:spPr>
        <p:txBody>
          <a:bodyPr lIns="90269" tIns="45133" rIns="90269" bIns="45133"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5"/>
          </p:nvPr>
        </p:nvSpPr>
        <p:spPr>
          <a:xfrm>
            <a:off x="633444" y="201216"/>
            <a:ext cx="5766928" cy="259530"/>
          </a:xfrm>
          <a:prstGeom prst="rect">
            <a:avLst/>
          </a:prstGeom>
        </p:spPr>
        <p:txBody>
          <a:bodyPr lIns="90269" tIns="45133" rIns="90269" bIns="45133"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FBD539C-7D05-4CDF-9AAA-99238C8D92F8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448436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33444" y="201216"/>
            <a:ext cx="5766928" cy="259530"/>
          </a:xfrm>
          <a:prstGeom prst="rect">
            <a:avLst/>
          </a:prstGeom>
        </p:spPr>
        <p:txBody>
          <a:bodyPr lIns="90269" tIns="45133" rIns="90269" bIns="45133"/>
          <a:lstStyle/>
          <a:p>
            <a:pPr>
              <a:defRPr/>
            </a:pPr>
            <a:endParaRPr lang="en-GB" dirty="0">
              <a:solidFill>
                <a:srgbClr val="000000"/>
              </a:solidFill>
              <a:latin typeface="Calibri"/>
            </a:endParaRPr>
          </a:p>
        </p:txBody>
      </p:sp>
      <p:grpSp>
        <p:nvGrpSpPr>
          <p:cNvPr id="5" name="Group 4"/>
          <p:cNvGrpSpPr/>
          <p:nvPr userDrawn="1"/>
        </p:nvGrpSpPr>
        <p:grpSpPr>
          <a:xfrm>
            <a:off x="568116" y="1878109"/>
            <a:ext cx="2412769" cy="5723804"/>
            <a:chOff x="404813" y="1566716"/>
            <a:chExt cx="1719262" cy="4774796"/>
          </a:xfrm>
        </p:grpSpPr>
        <p:sp>
          <p:nvSpPr>
            <p:cNvPr id="6" name="Rectangle 5"/>
            <p:cNvSpPr>
              <a:spLocks noChangeArrowheads="1"/>
            </p:cNvSpPr>
            <p:nvPr/>
          </p:nvSpPr>
          <p:spPr bwMode="gray">
            <a:xfrm>
              <a:off x="404813" y="1566716"/>
              <a:ext cx="1719262" cy="968375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>
                <a:defRPr/>
              </a:pPr>
              <a:r>
                <a:rPr lang="en-GB" sz="1964" b="1" dirty="0">
                  <a:solidFill>
                    <a:srgbClr val="FFFFFF"/>
                  </a:solidFill>
                  <a:latin typeface="Calibri"/>
                </a:rPr>
                <a:t>Text</a:t>
              </a:r>
            </a:p>
          </p:txBody>
        </p:sp>
        <p:sp>
          <p:nvSpPr>
            <p:cNvPr id="7" name="Rectangle 6"/>
            <p:cNvSpPr>
              <a:spLocks noChangeArrowheads="1"/>
            </p:cNvSpPr>
            <p:nvPr/>
          </p:nvSpPr>
          <p:spPr bwMode="gray">
            <a:xfrm>
              <a:off x="404813" y="2836581"/>
              <a:ext cx="1719262" cy="966788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1110602" eaLnBrk="0" hangingPunct="0">
                <a:defRPr/>
              </a:pPr>
              <a:r>
                <a:rPr lang="en-GB" sz="2245" b="1" dirty="0">
                  <a:solidFill>
                    <a:srgbClr val="000000"/>
                  </a:solidFill>
                  <a:latin typeface="Calibri"/>
                  <a:ea typeface="ＭＳ Ｐゴシック" pitchFamily="34" charset="-128"/>
                </a:rPr>
                <a:t>Text</a:t>
              </a:r>
            </a:p>
          </p:txBody>
        </p:sp>
        <p:sp>
          <p:nvSpPr>
            <p:cNvPr id="8" name="Rectangle 7"/>
            <p:cNvSpPr>
              <a:spLocks noChangeArrowheads="1"/>
            </p:cNvSpPr>
            <p:nvPr/>
          </p:nvSpPr>
          <p:spPr bwMode="gray">
            <a:xfrm>
              <a:off x="404813" y="4104859"/>
              <a:ext cx="1719262" cy="966787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>
                <a:defRPr/>
              </a:pPr>
              <a:r>
                <a:rPr lang="en-GB" sz="1964" b="1" dirty="0">
                  <a:solidFill>
                    <a:srgbClr val="000000"/>
                  </a:solidFill>
                  <a:latin typeface="Calibri"/>
                </a:rPr>
                <a:t>Text</a:t>
              </a:r>
            </a:p>
          </p:txBody>
        </p:sp>
        <p:sp>
          <p:nvSpPr>
            <p:cNvPr id="9" name="Rectangle 8"/>
            <p:cNvSpPr>
              <a:spLocks noChangeArrowheads="1"/>
            </p:cNvSpPr>
            <p:nvPr/>
          </p:nvSpPr>
          <p:spPr bwMode="gray">
            <a:xfrm>
              <a:off x="404813" y="5373137"/>
              <a:ext cx="1719262" cy="968375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>
                <a:defRPr/>
              </a:pPr>
              <a:r>
                <a:rPr lang="en-GB" sz="1964" b="1" dirty="0">
                  <a:solidFill>
                    <a:srgbClr val="000000"/>
                  </a:solidFill>
                  <a:latin typeface="Calibri"/>
                </a:rPr>
                <a:t>Text</a:t>
              </a:r>
            </a:p>
          </p:txBody>
        </p:sp>
      </p:grpSp>
      <p:sp>
        <p:nvSpPr>
          <p:cNvPr id="10" name="AutoShape 9"/>
          <p:cNvSpPr>
            <a:spLocks noChangeArrowheads="1"/>
          </p:cNvSpPr>
          <p:nvPr userDrawn="1"/>
        </p:nvSpPr>
        <p:spPr bwMode="gray">
          <a:xfrm rot="5400000" flipV="1">
            <a:off x="1610582" y="2941880"/>
            <a:ext cx="372992" cy="505723"/>
          </a:xfrm>
          <a:prstGeom prst="rightArrow">
            <a:avLst>
              <a:gd name="adj1" fmla="val 55000"/>
              <a:gd name="adj2" fmla="val 63606"/>
            </a:avLst>
          </a:prstGeom>
          <a:solidFill>
            <a:schemeClr val="tx2">
              <a:lumMod val="50000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vert="eaVert" lIns="448863" tIns="0" rIns="0" bIns="0" anchor="ctr"/>
          <a:lstStyle/>
          <a:p>
            <a:pPr algn="ctr" eaLnBrk="0" hangingPunct="0">
              <a:defRPr/>
            </a:pPr>
            <a:endParaRPr lang="en-GB" noProof="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1" name="AutoShape 9"/>
          <p:cNvSpPr>
            <a:spLocks noChangeArrowheads="1"/>
          </p:cNvSpPr>
          <p:nvPr userDrawn="1"/>
        </p:nvSpPr>
        <p:spPr bwMode="gray">
          <a:xfrm rot="5400000" flipV="1">
            <a:off x="1610582" y="4511351"/>
            <a:ext cx="372992" cy="505723"/>
          </a:xfrm>
          <a:prstGeom prst="rightArrow">
            <a:avLst>
              <a:gd name="adj1" fmla="val 55000"/>
              <a:gd name="adj2" fmla="val 63606"/>
            </a:avLst>
          </a:prstGeom>
          <a:solidFill>
            <a:schemeClr val="tx2">
              <a:lumMod val="50000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vert="eaVert" lIns="448863" tIns="0" rIns="0" bIns="0" anchor="ctr"/>
          <a:lstStyle/>
          <a:p>
            <a:pPr algn="ctr" eaLnBrk="0" hangingPunct="0">
              <a:defRPr/>
            </a:pPr>
            <a:endParaRPr lang="en-GB" noProof="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2" name="AutoShape 9"/>
          <p:cNvSpPr>
            <a:spLocks noChangeArrowheads="1"/>
          </p:cNvSpPr>
          <p:nvPr userDrawn="1"/>
        </p:nvSpPr>
        <p:spPr bwMode="gray">
          <a:xfrm rot="5400000" flipV="1">
            <a:off x="1610582" y="6015581"/>
            <a:ext cx="372992" cy="505723"/>
          </a:xfrm>
          <a:prstGeom prst="rightArrow">
            <a:avLst>
              <a:gd name="adj1" fmla="val 55000"/>
              <a:gd name="adj2" fmla="val 63606"/>
            </a:avLst>
          </a:prstGeom>
          <a:solidFill>
            <a:schemeClr val="tx2">
              <a:lumMod val="50000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vert="eaVert" lIns="448863" tIns="0" rIns="0" bIns="0" anchor="ctr"/>
          <a:lstStyle/>
          <a:p>
            <a:pPr algn="ctr" eaLnBrk="0" hangingPunct="0">
              <a:defRPr/>
            </a:pPr>
            <a:endParaRPr lang="en-GB" noProof="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3036723" y="1830698"/>
            <a:ext cx="10921070" cy="1509818"/>
          </a:xfrm>
          <a:prstGeom prst="rect">
            <a:avLst/>
          </a:prstGeom>
          <a:noFill/>
          <a:ln>
            <a:noFill/>
          </a:ln>
        </p:spPr>
        <p:txBody>
          <a:bodyPr wrap="square" lIns="126665" tIns="63332" rIns="126665" bIns="63332" rtlCol="0">
            <a:spAutoFit/>
          </a:bodyPr>
          <a:lstStyle/>
          <a:p>
            <a:pPr marL="395818" indent="-395818" defTabSz="1266610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en-US" sz="2245" dirty="0">
                <a:solidFill>
                  <a:prstClr val="black"/>
                </a:solidFill>
                <a:latin typeface="Calibri"/>
              </a:rPr>
              <a:t>TEXT</a:t>
            </a:r>
          </a:p>
          <a:p>
            <a:pPr marL="395818" indent="-395818" defTabSz="1266610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en-US" sz="2245" dirty="0">
                <a:solidFill>
                  <a:prstClr val="black"/>
                </a:solidFill>
                <a:latin typeface="Calibri"/>
              </a:rPr>
              <a:t> </a:t>
            </a:r>
          </a:p>
          <a:p>
            <a:pPr marL="395818" indent="-395818" defTabSz="1266610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en-US" sz="2245" dirty="0">
                <a:solidFill>
                  <a:prstClr val="black"/>
                </a:solidFill>
                <a:latin typeface="Calibri"/>
              </a:rPr>
              <a:t> </a:t>
            </a:r>
          </a:p>
          <a:p>
            <a:pPr marL="395818" indent="-395818" defTabSz="1266610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en-US" sz="2245" dirty="0">
                <a:solidFill>
                  <a:prstClr val="black"/>
                </a:solidFill>
                <a:latin typeface="Calibri"/>
              </a:rPr>
              <a:t> 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3036723" y="3334179"/>
            <a:ext cx="10921070" cy="1509818"/>
          </a:xfrm>
          <a:prstGeom prst="rect">
            <a:avLst/>
          </a:prstGeom>
          <a:noFill/>
          <a:ln>
            <a:noFill/>
          </a:ln>
        </p:spPr>
        <p:txBody>
          <a:bodyPr wrap="square" lIns="126665" tIns="63332" rIns="126665" bIns="63332" rtlCol="0">
            <a:spAutoFit/>
          </a:bodyPr>
          <a:lstStyle/>
          <a:p>
            <a:pPr marL="395818" indent="-395818" defTabSz="1266610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en-US" sz="2245" dirty="0">
                <a:solidFill>
                  <a:prstClr val="black"/>
                </a:solidFill>
                <a:latin typeface="Calibri"/>
              </a:rPr>
              <a:t>TEXT</a:t>
            </a:r>
          </a:p>
          <a:p>
            <a:pPr marL="395818" indent="-395818" defTabSz="1266610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en-US" sz="2245" dirty="0">
                <a:solidFill>
                  <a:prstClr val="black"/>
                </a:solidFill>
                <a:latin typeface="Calibri"/>
              </a:rPr>
              <a:t> </a:t>
            </a:r>
          </a:p>
          <a:p>
            <a:pPr marL="395818" indent="-395818" defTabSz="1266610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en-US" sz="2245" dirty="0">
                <a:solidFill>
                  <a:prstClr val="black"/>
                </a:solidFill>
                <a:latin typeface="Calibri"/>
              </a:rPr>
              <a:t> </a:t>
            </a:r>
          </a:p>
          <a:p>
            <a:pPr marL="395818" indent="-395818" defTabSz="1266610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en-US" sz="2245" dirty="0">
                <a:solidFill>
                  <a:prstClr val="black"/>
                </a:solidFill>
                <a:latin typeface="Calibri"/>
              </a:rPr>
              <a:t> 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3036723" y="6344431"/>
            <a:ext cx="10921070" cy="1509818"/>
          </a:xfrm>
          <a:prstGeom prst="rect">
            <a:avLst/>
          </a:prstGeom>
          <a:noFill/>
          <a:ln>
            <a:noFill/>
          </a:ln>
        </p:spPr>
        <p:txBody>
          <a:bodyPr wrap="square" lIns="126665" tIns="63332" rIns="126665" bIns="63332" rtlCol="0">
            <a:spAutoFit/>
          </a:bodyPr>
          <a:lstStyle/>
          <a:p>
            <a:pPr marL="395818" indent="-395818" defTabSz="1266610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en-US" sz="2245" dirty="0">
                <a:solidFill>
                  <a:prstClr val="black"/>
                </a:solidFill>
                <a:latin typeface="Calibri"/>
              </a:rPr>
              <a:t>TEXT</a:t>
            </a:r>
          </a:p>
          <a:p>
            <a:pPr marL="395818" indent="-395818" defTabSz="1266610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en-US" sz="2245" dirty="0">
                <a:solidFill>
                  <a:prstClr val="black"/>
                </a:solidFill>
                <a:latin typeface="Calibri"/>
              </a:rPr>
              <a:t> </a:t>
            </a:r>
          </a:p>
          <a:p>
            <a:pPr marL="395818" indent="-395818" defTabSz="1266610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en-US" sz="2245" dirty="0">
                <a:solidFill>
                  <a:prstClr val="black"/>
                </a:solidFill>
                <a:latin typeface="Calibri"/>
              </a:rPr>
              <a:t> </a:t>
            </a:r>
          </a:p>
          <a:p>
            <a:pPr marL="395818" indent="-395818" defTabSz="1266610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en-US" sz="2245" dirty="0">
                <a:solidFill>
                  <a:prstClr val="black"/>
                </a:solidFill>
                <a:latin typeface="Calibri"/>
              </a:rPr>
              <a:t> 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3036723" y="4836396"/>
            <a:ext cx="10921070" cy="1509818"/>
          </a:xfrm>
          <a:prstGeom prst="rect">
            <a:avLst/>
          </a:prstGeom>
          <a:noFill/>
          <a:ln>
            <a:noFill/>
          </a:ln>
        </p:spPr>
        <p:txBody>
          <a:bodyPr wrap="square" lIns="126665" tIns="63332" rIns="126665" bIns="63332" rtlCol="0">
            <a:spAutoFit/>
          </a:bodyPr>
          <a:lstStyle/>
          <a:p>
            <a:pPr marL="395818" indent="-395818" defTabSz="1266610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en-US" sz="2245" dirty="0">
                <a:solidFill>
                  <a:prstClr val="black"/>
                </a:solidFill>
                <a:latin typeface="Calibri"/>
              </a:rPr>
              <a:t>TEXT</a:t>
            </a:r>
          </a:p>
          <a:p>
            <a:pPr marL="395818" indent="-395818" defTabSz="1266610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en-US" sz="2245" dirty="0">
                <a:solidFill>
                  <a:prstClr val="black"/>
                </a:solidFill>
                <a:latin typeface="Calibri"/>
              </a:rPr>
              <a:t> </a:t>
            </a:r>
          </a:p>
          <a:p>
            <a:pPr marL="395818" indent="-395818" defTabSz="1266610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en-US" sz="2245" dirty="0">
                <a:solidFill>
                  <a:prstClr val="black"/>
                </a:solidFill>
                <a:latin typeface="Calibri"/>
              </a:rPr>
              <a:t> </a:t>
            </a:r>
          </a:p>
          <a:p>
            <a:pPr marL="395818" indent="-395818" defTabSz="1266610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en-US" sz="2245" dirty="0">
                <a:solidFill>
                  <a:prstClr val="black"/>
                </a:solidFill>
                <a:latin typeface="Calibri"/>
              </a:rPr>
              <a:t> </a:t>
            </a:r>
          </a:p>
        </p:txBody>
      </p:sp>
      <p:sp>
        <p:nvSpPr>
          <p:cNvPr id="17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276394" y="1163648"/>
            <a:ext cx="14135451" cy="522775"/>
          </a:xfrm>
        </p:spPr>
        <p:txBody>
          <a:bodyPr/>
          <a:lstStyle>
            <a:lvl1pPr marL="0" indent="0">
              <a:buNone/>
              <a:defRPr sz="2245" b="1">
                <a:latin typeface="Arial" pitchFamily="34" charset="0"/>
                <a:cs typeface="Arial" pitchFamily="34" charset="0"/>
              </a:defRPr>
            </a:lvl1pPr>
            <a:lvl2pPr>
              <a:defRPr sz="1964">
                <a:latin typeface="Arial" pitchFamily="34" charset="0"/>
                <a:cs typeface="Arial" pitchFamily="34" charset="0"/>
              </a:defRPr>
            </a:lvl2pPr>
            <a:lvl3pPr marL="809569" indent="-269857">
              <a:buClr>
                <a:schemeClr val="tx2"/>
              </a:buClr>
              <a:buFont typeface="Wingdings" pitchFamily="2" charset="2"/>
              <a:buChar char="§"/>
              <a:defRPr sz="1684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546464914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33444" y="201216"/>
            <a:ext cx="5766928" cy="259530"/>
          </a:xfrm>
          <a:prstGeom prst="rect">
            <a:avLst/>
          </a:prstGeom>
        </p:spPr>
        <p:txBody>
          <a:bodyPr lIns="90269" tIns="45133" rIns="90269" bIns="45133"/>
          <a:lstStyle/>
          <a:p>
            <a:pPr>
              <a:defRPr/>
            </a:pPr>
            <a:endParaRPr lang="en-GB" dirty="0">
              <a:solidFill>
                <a:srgbClr val="000000"/>
              </a:solidFill>
              <a:latin typeface="Calibri"/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35330307"/>
              </p:ext>
            </p:extLst>
          </p:nvPr>
        </p:nvGraphicFramePr>
        <p:xfrm>
          <a:off x="524034" y="1639403"/>
          <a:ext cx="13333101" cy="6233273"/>
        </p:xfrm>
        <a:graphic>
          <a:graphicData uri="http://schemas.openxmlformats.org/drawingml/2006/table">
            <a:tbl>
              <a:tblPr firstRow="1"/>
              <a:tblGrid>
                <a:gridCol w="50258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84452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4633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1933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1015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1015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4155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IN" sz="17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SN</a:t>
                      </a:r>
                      <a:endParaRPr lang="en-US" sz="1700" b="1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US" sz="17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Area</a:t>
                      </a: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US" sz="17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ext</a:t>
                      </a: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US" sz="17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ext</a:t>
                      </a: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US" sz="17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ext</a:t>
                      </a: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US" sz="17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ext</a:t>
                      </a: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55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marR="0" lvl="0" indent="0" algn="l" defTabSz="98956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300" b="1" kern="1200" cap="all" dirty="0">
                          <a:solidFill>
                            <a:srgbClr val="31A93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 2"/>
                        </a:rPr>
                        <a:t></a:t>
                      </a:r>
                      <a:endParaRPr lang="en-US" sz="2300" kern="1200" dirty="0">
                        <a:solidFill>
                          <a:srgbClr val="31A93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/>
                      <a:r>
                        <a:rPr lang="en-IN" sz="1700" b="1" dirty="0">
                          <a:solidFill>
                            <a:srgbClr val="FF0000"/>
                          </a:solidFill>
                        </a:rPr>
                        <a:t>X</a:t>
                      </a: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155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700" dirty="0"/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155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3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700" dirty="0"/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155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4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700" dirty="0"/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155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5</a:t>
                      </a: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700" dirty="0"/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155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6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700" dirty="0"/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155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7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700" dirty="0"/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155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8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700" dirty="0"/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155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9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700" dirty="0"/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155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0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700" dirty="0"/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4155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1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174625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700" dirty="0"/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174625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174625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4155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2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700" dirty="0"/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4155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3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700" dirty="0"/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4155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4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174625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174625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174625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174625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</a:tbl>
          </a:graphicData>
        </a:graphic>
      </p:graphicFrame>
      <p:sp>
        <p:nvSpPr>
          <p:cNvPr id="7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276394" y="1163648"/>
            <a:ext cx="14135451" cy="522775"/>
          </a:xfrm>
        </p:spPr>
        <p:txBody>
          <a:bodyPr/>
          <a:lstStyle>
            <a:lvl1pPr marL="0" indent="0">
              <a:buNone/>
              <a:defRPr sz="2245" b="1">
                <a:latin typeface="Arial" pitchFamily="34" charset="0"/>
                <a:cs typeface="Arial" pitchFamily="34" charset="0"/>
              </a:defRPr>
            </a:lvl1pPr>
            <a:lvl2pPr>
              <a:defRPr sz="1964">
                <a:latin typeface="Arial" pitchFamily="34" charset="0"/>
                <a:cs typeface="Arial" pitchFamily="34" charset="0"/>
              </a:defRPr>
            </a:lvl2pPr>
            <a:lvl3pPr marL="809569" indent="-269857">
              <a:buClr>
                <a:schemeClr val="tx2"/>
              </a:buClr>
              <a:buFont typeface="Wingdings" pitchFamily="2" charset="2"/>
              <a:buChar char="§"/>
              <a:defRPr sz="1684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642895585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33444" y="201216"/>
            <a:ext cx="5766928" cy="259530"/>
          </a:xfrm>
          <a:prstGeom prst="rect">
            <a:avLst/>
          </a:prstGeom>
        </p:spPr>
        <p:txBody>
          <a:bodyPr lIns="90269" tIns="45133" rIns="90269" bIns="45133"/>
          <a:lstStyle/>
          <a:p>
            <a:pPr>
              <a:defRPr/>
            </a:pPr>
            <a:endParaRPr lang="en-GB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2266727" y="3247536"/>
            <a:ext cx="1693237" cy="654859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6681" tIns="63338" rIns="126681" bIns="63338" rtlCol="0" anchor="ctr"/>
          <a:lstStyle/>
          <a:p>
            <a:r>
              <a:rPr lang="en-IN" sz="1964" b="1" dirty="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3901929" y="4010988"/>
            <a:ext cx="1693237" cy="971390"/>
          </a:xfrm>
          <a:prstGeom prst="rect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6681" tIns="63338" rIns="126681" bIns="63338" rtlCol="0" anchor="ctr"/>
          <a:lstStyle/>
          <a:p>
            <a:r>
              <a:rPr lang="en-IN" sz="1964" b="1" dirty="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19" name="Rectangle 18"/>
          <p:cNvSpPr/>
          <p:nvPr userDrawn="1"/>
        </p:nvSpPr>
        <p:spPr>
          <a:xfrm>
            <a:off x="5543447" y="5234126"/>
            <a:ext cx="1693237" cy="2427273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6681" tIns="63338" rIns="126681" bIns="63338" rtlCol="0" anchor="ctr"/>
          <a:lstStyle/>
          <a:p>
            <a:r>
              <a:rPr lang="en-IN" sz="1964" b="1" dirty="0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631511" y="1794523"/>
            <a:ext cx="13486385" cy="371441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6681" tIns="63338" rIns="126681" bIns="63338" rtlCol="0" anchor="ctr"/>
          <a:lstStyle/>
          <a:p>
            <a:pPr algn="ctr"/>
            <a:r>
              <a:rPr lang="en-IN" b="1" dirty="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21" name="Bent-Up Arrow 20"/>
          <p:cNvSpPr/>
          <p:nvPr userDrawn="1"/>
        </p:nvSpPr>
        <p:spPr>
          <a:xfrm rot="5400000">
            <a:off x="4061883" y="4830852"/>
            <a:ext cx="1321646" cy="1641522"/>
          </a:xfrm>
          <a:prstGeom prst="bentUpArrow">
            <a:avLst>
              <a:gd name="adj1" fmla="val 25000"/>
              <a:gd name="adj2" fmla="val 25890"/>
              <a:gd name="adj3" fmla="val 25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6681" tIns="63338" rIns="126681" bIns="63338" rtlCol="0" anchor="ctr"/>
          <a:lstStyle/>
          <a:p>
            <a:pPr algn="ctr"/>
            <a:endParaRPr lang="en-IN" dirty="0">
              <a:solidFill>
                <a:srgbClr val="FFFFFF"/>
              </a:solidFill>
            </a:endParaRPr>
          </a:p>
        </p:txBody>
      </p:sp>
      <p:sp>
        <p:nvSpPr>
          <p:cNvPr id="22" name="Rectangle 21"/>
          <p:cNvSpPr/>
          <p:nvPr userDrawn="1"/>
        </p:nvSpPr>
        <p:spPr>
          <a:xfrm>
            <a:off x="2333676" y="2344529"/>
            <a:ext cx="11697810" cy="697780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6681" tIns="63338" rIns="126681" bIns="63338" rtlCol="0" anchor="t" anchorCtr="0"/>
          <a:lstStyle/>
          <a:p>
            <a:pPr marL="237516" indent="-237516">
              <a:buFont typeface="Wingdings" panose="05000000000000000000" pitchFamily="2" charset="2"/>
              <a:buChar char="§"/>
            </a:pPr>
            <a:r>
              <a:rPr lang="en-IN" sz="1684" dirty="0">
                <a:solidFill>
                  <a:srgbClr val="000000"/>
                </a:solidFill>
              </a:rPr>
              <a:t>Text</a:t>
            </a:r>
          </a:p>
          <a:p>
            <a:pPr marL="237516" indent="-237516">
              <a:buFont typeface="Wingdings" panose="05000000000000000000" pitchFamily="2" charset="2"/>
              <a:buChar char="§"/>
            </a:pPr>
            <a:r>
              <a:rPr lang="en-IN" sz="1684" dirty="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23" name="Rectangle 22"/>
          <p:cNvSpPr/>
          <p:nvPr userDrawn="1"/>
        </p:nvSpPr>
        <p:spPr>
          <a:xfrm>
            <a:off x="3908679" y="3247578"/>
            <a:ext cx="10122800" cy="656579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6681" tIns="63338" rIns="126681" bIns="63338" rtlCol="0" anchor="t" anchorCtr="0"/>
          <a:lstStyle/>
          <a:p>
            <a:pPr marL="237516" indent="-237516">
              <a:buFont typeface="Wingdings" panose="05000000000000000000" pitchFamily="2" charset="2"/>
              <a:buChar char="§"/>
            </a:pPr>
            <a:r>
              <a:rPr lang="en-IN" sz="1684" dirty="0">
                <a:solidFill>
                  <a:srgbClr val="000000"/>
                </a:solidFill>
              </a:rPr>
              <a:t> </a:t>
            </a:r>
          </a:p>
          <a:p>
            <a:pPr marL="237516" indent="-237516">
              <a:buFont typeface="Wingdings" panose="05000000000000000000" pitchFamily="2" charset="2"/>
              <a:buChar char="§"/>
            </a:pPr>
            <a:endParaRPr lang="en-IN" sz="1684" dirty="0">
              <a:solidFill>
                <a:srgbClr val="000000"/>
              </a:solidFill>
            </a:endParaRPr>
          </a:p>
        </p:txBody>
      </p:sp>
      <p:sp>
        <p:nvSpPr>
          <p:cNvPr id="24" name="Rectangle 23"/>
          <p:cNvSpPr/>
          <p:nvPr userDrawn="1"/>
        </p:nvSpPr>
        <p:spPr>
          <a:xfrm>
            <a:off x="5609086" y="4010993"/>
            <a:ext cx="8422392" cy="970699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6681" tIns="63338" rIns="126681" bIns="63338" rtlCol="0" anchor="t" anchorCtr="0"/>
          <a:lstStyle/>
          <a:p>
            <a:pPr marL="237516" indent="-237516">
              <a:buFont typeface="Wingdings" panose="05000000000000000000" pitchFamily="2" charset="2"/>
              <a:buChar char="§"/>
            </a:pPr>
            <a:r>
              <a:rPr lang="en-IN" sz="1684" dirty="0">
                <a:solidFill>
                  <a:srgbClr val="000000"/>
                </a:solidFill>
              </a:rPr>
              <a:t>Text </a:t>
            </a:r>
          </a:p>
        </p:txBody>
      </p:sp>
      <p:sp>
        <p:nvSpPr>
          <p:cNvPr id="25" name="Rectangle 24"/>
          <p:cNvSpPr/>
          <p:nvPr userDrawn="1"/>
        </p:nvSpPr>
        <p:spPr>
          <a:xfrm>
            <a:off x="7285162" y="5234127"/>
            <a:ext cx="6746324" cy="2427271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6681" tIns="63338" rIns="126681" bIns="63338" rtlCol="0" anchor="t" anchorCtr="0"/>
          <a:lstStyle/>
          <a:p>
            <a:pPr marL="237516" indent="-237516">
              <a:buFont typeface="Wingdings" panose="05000000000000000000" pitchFamily="2" charset="2"/>
              <a:buChar char="§"/>
            </a:pPr>
            <a:r>
              <a:rPr lang="en-IN" sz="1684" dirty="0">
                <a:solidFill>
                  <a:srgbClr val="000000"/>
                </a:solidFill>
              </a:rPr>
              <a:t>Text </a:t>
            </a:r>
          </a:p>
          <a:p>
            <a:pPr marL="237516" indent="-237516">
              <a:buFont typeface="Wingdings" panose="05000000000000000000" pitchFamily="2" charset="2"/>
              <a:buChar char="§"/>
            </a:pPr>
            <a:endParaRPr lang="en-IN" sz="1684" dirty="0">
              <a:solidFill>
                <a:srgbClr val="000000"/>
              </a:solidFill>
            </a:endParaRPr>
          </a:p>
        </p:txBody>
      </p:sp>
      <p:sp>
        <p:nvSpPr>
          <p:cNvPr id="26" name="Bent-Up Arrow 25"/>
          <p:cNvSpPr/>
          <p:nvPr userDrawn="1"/>
        </p:nvSpPr>
        <p:spPr>
          <a:xfrm rot="5400000">
            <a:off x="2542549" y="3631357"/>
            <a:ext cx="1083598" cy="1635197"/>
          </a:xfrm>
          <a:prstGeom prst="bentUpArrow">
            <a:avLst>
              <a:gd name="adj1" fmla="val 25000"/>
              <a:gd name="adj2" fmla="val 25890"/>
              <a:gd name="adj3" fmla="val 25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6681" tIns="63338" rIns="126681" bIns="63338" rtlCol="0" anchor="ctr"/>
          <a:lstStyle/>
          <a:p>
            <a:pPr algn="ctr"/>
            <a:endParaRPr lang="en-IN" dirty="0">
              <a:solidFill>
                <a:srgbClr val="FFFFFF"/>
              </a:solidFill>
            </a:endParaRPr>
          </a:p>
        </p:txBody>
      </p:sp>
      <p:sp>
        <p:nvSpPr>
          <p:cNvPr id="27" name="Bent-Up Arrow 26"/>
          <p:cNvSpPr/>
          <p:nvPr userDrawn="1"/>
        </p:nvSpPr>
        <p:spPr>
          <a:xfrm rot="5400000">
            <a:off x="1018196" y="2653863"/>
            <a:ext cx="861903" cy="1635202"/>
          </a:xfrm>
          <a:prstGeom prst="bentUpArrow">
            <a:avLst>
              <a:gd name="adj1" fmla="val 25000"/>
              <a:gd name="adj2" fmla="val 24912"/>
              <a:gd name="adj3" fmla="val 25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6681" tIns="63338" rIns="126681" bIns="63338" rtlCol="0" anchor="ctr"/>
          <a:lstStyle/>
          <a:p>
            <a:pPr algn="ctr"/>
            <a:endParaRPr lang="en-IN" dirty="0">
              <a:solidFill>
                <a:srgbClr val="FFFFFF"/>
              </a:solidFill>
            </a:endParaRPr>
          </a:p>
        </p:txBody>
      </p:sp>
      <p:sp>
        <p:nvSpPr>
          <p:cNvPr id="28" name="Rectangle 27"/>
          <p:cNvSpPr/>
          <p:nvPr userDrawn="1"/>
        </p:nvSpPr>
        <p:spPr>
          <a:xfrm>
            <a:off x="631524" y="2344584"/>
            <a:ext cx="1693237" cy="695954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6681" tIns="63338" rIns="126681" bIns="63338" rtlCol="0" anchor="ctr"/>
          <a:lstStyle/>
          <a:p>
            <a:r>
              <a:rPr lang="en-IN" sz="1964" b="1" dirty="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29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276394" y="1163648"/>
            <a:ext cx="14135451" cy="522775"/>
          </a:xfrm>
        </p:spPr>
        <p:txBody>
          <a:bodyPr/>
          <a:lstStyle>
            <a:lvl1pPr marL="0" indent="0">
              <a:buNone/>
              <a:defRPr sz="2245" b="1">
                <a:latin typeface="Arial" pitchFamily="34" charset="0"/>
                <a:cs typeface="Arial" pitchFamily="34" charset="0"/>
              </a:defRPr>
            </a:lvl1pPr>
            <a:lvl2pPr>
              <a:defRPr sz="1964">
                <a:latin typeface="Arial" pitchFamily="34" charset="0"/>
                <a:cs typeface="Arial" pitchFamily="34" charset="0"/>
              </a:defRPr>
            </a:lvl2pPr>
            <a:lvl3pPr marL="809569" indent="-269857">
              <a:buClr>
                <a:schemeClr val="tx2"/>
              </a:buClr>
              <a:buFont typeface="Wingdings" pitchFamily="2" charset="2"/>
              <a:buChar char="§"/>
              <a:defRPr sz="1684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353964915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33444" y="201216"/>
            <a:ext cx="5766928" cy="259530"/>
          </a:xfrm>
          <a:prstGeom prst="rect">
            <a:avLst/>
          </a:prstGeom>
        </p:spPr>
        <p:txBody>
          <a:bodyPr lIns="90269" tIns="45133" rIns="90269" bIns="45133"/>
          <a:lstStyle/>
          <a:p>
            <a:pPr>
              <a:defRPr/>
            </a:pPr>
            <a:endParaRPr lang="en-GB" dirty="0">
              <a:solidFill>
                <a:srgbClr val="000000"/>
              </a:solidFill>
              <a:latin typeface="Calibri"/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408402110"/>
              </p:ext>
            </p:extLst>
          </p:nvPr>
        </p:nvGraphicFramePr>
        <p:xfrm>
          <a:off x="335629" y="1622536"/>
          <a:ext cx="14076225" cy="6084175"/>
        </p:xfrm>
        <a:graphic>
          <a:graphicData uri="http://schemas.openxmlformats.org/drawingml/2006/table">
            <a:tbl>
              <a:tblPr firstRow="1"/>
              <a:tblGrid>
                <a:gridCol w="4248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42572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223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87343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548816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IN" sz="17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SN</a:t>
                      </a:r>
                      <a:endParaRPr lang="en-US" sz="17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US" sz="17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 Area</a:t>
                      </a: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US" sz="17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Progress</a:t>
                      </a: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7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Remarks</a:t>
                      </a: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72417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1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marR="0" lvl="0" indent="0" algn="ctr" defTabSz="98956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700" b="1" kern="1200" dirty="0">
                        <a:solidFill>
                          <a:srgbClr val="31A93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50521" marR="50521" marT="43155" marB="43155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4625" marR="0" lvl="0" indent="0" algn="l" defTabSz="98956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700" kern="1200" dirty="0">
                        <a:solidFill>
                          <a:srgbClr val="31A93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72417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2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700" b="0" kern="1200" dirty="0">
                        <a:solidFill>
                          <a:srgbClr val="FF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50521" marR="50521" marT="43155" marB="43155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462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48816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3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48816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4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48816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5</a:t>
                      </a: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48816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6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48816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7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548816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8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548816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9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548816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10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6" name="Up Arrow 5"/>
          <p:cNvSpPr/>
          <p:nvPr userDrawn="1"/>
        </p:nvSpPr>
        <p:spPr bwMode="auto">
          <a:xfrm>
            <a:off x="7719231" y="2259736"/>
            <a:ext cx="303130" cy="388396"/>
          </a:xfrm>
          <a:prstGeom prst="upArrow">
            <a:avLst/>
          </a:prstGeom>
          <a:solidFill>
            <a:srgbClr val="00B050"/>
          </a:solidFill>
          <a:ln w="19050" cap="flat" cmpd="sng" algn="ctr">
            <a:solidFill>
              <a:srgbClr val="00B050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none" lIns="126681" tIns="63338" rIns="126681" bIns="63338" numCol="1" rtlCol="0" anchor="ctr" anchorCtr="0" compatLnSpc="1">
            <a:prstTxWarp prst="textNoShape">
              <a:avLst/>
            </a:prstTxWarp>
          </a:bodyPr>
          <a:lstStyle/>
          <a:p>
            <a:pPr algn="ctr" defTabSz="1266745"/>
            <a:endParaRPr lang="en-IN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7" name="Up Arrow 6"/>
          <p:cNvSpPr/>
          <p:nvPr userDrawn="1"/>
        </p:nvSpPr>
        <p:spPr bwMode="auto">
          <a:xfrm>
            <a:off x="7719231" y="3406468"/>
            <a:ext cx="303130" cy="388396"/>
          </a:xfrm>
          <a:prstGeom prst="upArrow">
            <a:avLst/>
          </a:prstGeom>
          <a:solidFill>
            <a:srgbClr val="00B050"/>
          </a:solidFill>
          <a:ln w="19050" cap="flat" cmpd="sng" algn="ctr">
            <a:solidFill>
              <a:srgbClr val="00B050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none" lIns="126681" tIns="63338" rIns="126681" bIns="63338" numCol="1" rtlCol="0" anchor="ctr" anchorCtr="0" compatLnSpc="1">
            <a:prstTxWarp prst="textNoShape">
              <a:avLst/>
            </a:prstTxWarp>
          </a:bodyPr>
          <a:lstStyle/>
          <a:p>
            <a:pPr algn="ctr" defTabSz="1266745"/>
            <a:endParaRPr lang="en-IN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8" name="Up Arrow 7"/>
          <p:cNvSpPr/>
          <p:nvPr userDrawn="1"/>
        </p:nvSpPr>
        <p:spPr bwMode="auto">
          <a:xfrm flipV="1">
            <a:off x="7719231" y="2866830"/>
            <a:ext cx="303130" cy="388396"/>
          </a:xfrm>
          <a:prstGeom prst="upArrow">
            <a:avLst/>
          </a:prstGeom>
          <a:solidFill>
            <a:srgbClr val="EB5335"/>
          </a:solidFill>
          <a:ln w="19050" cap="flat" cmpd="sng" algn="ctr">
            <a:solidFill>
              <a:srgbClr val="EB5335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none" lIns="126681" tIns="63338" rIns="126681" bIns="63338" numCol="1" rtlCol="0" anchor="ctr" anchorCtr="0" compatLnSpc="1">
            <a:prstTxWarp prst="textNoShape">
              <a:avLst/>
            </a:prstTxWarp>
          </a:bodyPr>
          <a:lstStyle/>
          <a:p>
            <a:pPr algn="ctr" defTabSz="1266745"/>
            <a:endParaRPr lang="en-IN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9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276394" y="1163648"/>
            <a:ext cx="14135451" cy="522775"/>
          </a:xfrm>
        </p:spPr>
        <p:txBody>
          <a:bodyPr/>
          <a:lstStyle>
            <a:lvl1pPr marL="0" indent="0">
              <a:buNone/>
              <a:defRPr sz="2245" b="1">
                <a:latin typeface="Arial" pitchFamily="34" charset="0"/>
                <a:cs typeface="Arial" pitchFamily="34" charset="0"/>
              </a:defRPr>
            </a:lvl1pPr>
            <a:lvl2pPr>
              <a:defRPr sz="1964">
                <a:latin typeface="Arial" pitchFamily="34" charset="0"/>
                <a:cs typeface="Arial" pitchFamily="34" charset="0"/>
              </a:defRPr>
            </a:lvl2pPr>
            <a:lvl3pPr marL="809569" indent="-269857">
              <a:buClr>
                <a:schemeClr val="tx2"/>
              </a:buClr>
              <a:buFont typeface="Wingdings" pitchFamily="2" charset="2"/>
              <a:buChar char="§"/>
              <a:defRPr sz="1684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437868085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33444" y="201216"/>
            <a:ext cx="5766928" cy="259530"/>
          </a:xfrm>
          <a:prstGeom prst="rect">
            <a:avLst/>
          </a:prstGeom>
        </p:spPr>
        <p:txBody>
          <a:bodyPr lIns="90269" tIns="45133" rIns="90269" bIns="45133"/>
          <a:lstStyle/>
          <a:p>
            <a:pPr>
              <a:defRPr/>
            </a:pPr>
            <a:endParaRPr lang="en-GB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752599" y="1370422"/>
            <a:ext cx="13619784" cy="61566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126681" tIns="63338" rIns="126681" bIns="63338" anchor="ctr" anchorCtr="0">
            <a:normAutofit/>
          </a:bodyPr>
          <a:lstStyle/>
          <a:p>
            <a:pPr marL="371666" algn="just"/>
            <a:r>
              <a:rPr lang="en-IN" sz="2245" b="1" dirty="0">
                <a:solidFill>
                  <a:srgbClr val="000000"/>
                </a:solidFill>
                <a:latin typeface="Calibri"/>
              </a:rPr>
              <a:t>Text</a:t>
            </a:r>
          </a:p>
        </p:txBody>
      </p:sp>
      <p:sp>
        <p:nvSpPr>
          <p:cNvPr id="6" name="Oval 259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285191" y="1388637"/>
            <a:ext cx="625430" cy="520300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126681" tIns="63338" rIns="126681" bIns="63338" anchor="ctr"/>
          <a:lstStyle/>
          <a:p>
            <a:pPr algn="ctr" defTabSz="126674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kern="0" dirty="0">
                <a:solidFill>
                  <a:srgbClr val="FFFFFF"/>
                </a:solidFill>
                <a:latin typeface="Calibri"/>
              </a:rPr>
              <a:t>1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752599" y="2410903"/>
            <a:ext cx="13619784" cy="66782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126681" tIns="63338" rIns="126681" bIns="63338" anchor="ctr" anchorCtr="0">
            <a:normAutofit/>
          </a:bodyPr>
          <a:lstStyle/>
          <a:p>
            <a:pPr marL="371666" algn="just"/>
            <a:r>
              <a:rPr lang="en-IN" sz="2245" b="1" dirty="0">
                <a:solidFill>
                  <a:srgbClr val="000000"/>
                </a:solidFill>
                <a:latin typeface="Calibri"/>
              </a:rPr>
              <a:t>Text</a:t>
            </a:r>
          </a:p>
        </p:txBody>
      </p:sp>
      <p:sp>
        <p:nvSpPr>
          <p:cNvPr id="8" name="Oval 260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286666" y="2488835"/>
            <a:ext cx="625430" cy="520300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126681" tIns="63338" rIns="126681" bIns="63338" anchor="ctr"/>
          <a:lstStyle/>
          <a:p>
            <a:pPr algn="ctr" defTabSz="126674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kern="0" dirty="0">
                <a:solidFill>
                  <a:srgbClr val="FFFFFF"/>
                </a:solidFill>
                <a:latin typeface="Calibri"/>
              </a:rPr>
              <a:t>2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752599" y="3503497"/>
            <a:ext cx="13619784" cy="68643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126681" tIns="63338" rIns="126681" bIns="63338" anchor="ctr" anchorCtr="0">
            <a:normAutofit/>
          </a:bodyPr>
          <a:lstStyle/>
          <a:p>
            <a:pPr marL="371666" algn="just"/>
            <a:r>
              <a:rPr lang="en-IN" sz="2245" b="1" dirty="0">
                <a:solidFill>
                  <a:srgbClr val="000000"/>
                </a:solidFill>
                <a:latin typeface="Calibri"/>
              </a:rPr>
              <a:t>Text</a:t>
            </a:r>
          </a:p>
        </p:txBody>
      </p:sp>
      <p:sp>
        <p:nvSpPr>
          <p:cNvPr id="10" name="Oval 26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275320" y="3570909"/>
            <a:ext cx="625430" cy="520300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126681" tIns="63338" rIns="126681" bIns="63338" anchor="ctr"/>
          <a:lstStyle/>
          <a:p>
            <a:pPr algn="ctr" defTabSz="126674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kern="0" dirty="0">
                <a:solidFill>
                  <a:srgbClr val="FFFFFF"/>
                </a:solidFill>
                <a:latin typeface="Calibri"/>
              </a:rPr>
              <a:t>3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752599" y="4614753"/>
            <a:ext cx="13619784" cy="65384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126681" tIns="63338" rIns="126681" bIns="63338" anchor="ctr" anchorCtr="0">
            <a:normAutofit/>
          </a:bodyPr>
          <a:lstStyle/>
          <a:p>
            <a:pPr marL="371666" algn="just"/>
            <a:r>
              <a:rPr lang="en-IN" sz="2245" b="1" dirty="0">
                <a:solidFill>
                  <a:srgbClr val="000000"/>
                </a:solidFill>
                <a:latin typeface="Calibri"/>
              </a:rPr>
              <a:t>Text</a:t>
            </a:r>
          </a:p>
        </p:txBody>
      </p:sp>
      <p:sp>
        <p:nvSpPr>
          <p:cNvPr id="12" name="Oval 262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296877" y="4657669"/>
            <a:ext cx="625430" cy="520300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126681" tIns="63338" rIns="126681" bIns="63338" anchor="ctr"/>
          <a:lstStyle/>
          <a:p>
            <a:pPr algn="ctr" defTabSz="126674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kern="0" dirty="0">
                <a:solidFill>
                  <a:srgbClr val="FFFFFF"/>
                </a:solidFill>
                <a:latin typeface="Calibri"/>
              </a:rPr>
              <a:t>4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752599" y="5693414"/>
            <a:ext cx="13619784" cy="59339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126681" tIns="63338" rIns="126681" bIns="63338" anchor="ctr" anchorCtr="0">
            <a:normAutofit/>
          </a:bodyPr>
          <a:lstStyle/>
          <a:p>
            <a:pPr marL="239716" algn="just"/>
            <a:r>
              <a:rPr lang="en-IN" sz="2245" b="1" dirty="0">
                <a:solidFill>
                  <a:srgbClr val="000000"/>
                </a:solidFill>
                <a:latin typeface="Calibri"/>
              </a:rPr>
              <a:t>Text</a:t>
            </a:r>
          </a:p>
        </p:txBody>
      </p:sp>
      <p:sp>
        <p:nvSpPr>
          <p:cNvPr id="14" name="Oval 263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gray">
          <a:xfrm>
            <a:off x="310423" y="5729122"/>
            <a:ext cx="625430" cy="520300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126681" tIns="63338" rIns="126681" bIns="63338" anchor="ctr"/>
          <a:lstStyle/>
          <a:p>
            <a:pPr algn="ctr" defTabSz="126674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kern="0" dirty="0">
                <a:solidFill>
                  <a:srgbClr val="FFFFFF"/>
                </a:solidFill>
                <a:latin typeface="Calibri"/>
              </a:rPr>
              <a:t>5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752599" y="6637789"/>
            <a:ext cx="13619784" cy="59339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126681" tIns="63338" rIns="126681" bIns="63338" anchor="ctr" anchorCtr="0">
            <a:normAutofit/>
          </a:bodyPr>
          <a:lstStyle/>
          <a:p>
            <a:pPr marL="239716" algn="just"/>
            <a:r>
              <a:rPr lang="en-IN" sz="2245" b="1" dirty="0">
                <a:solidFill>
                  <a:srgbClr val="000000"/>
                </a:solidFill>
                <a:latin typeface="Calibri"/>
              </a:rPr>
              <a:t>Text</a:t>
            </a:r>
          </a:p>
        </p:txBody>
      </p:sp>
      <p:sp>
        <p:nvSpPr>
          <p:cNvPr id="16" name="Oval 263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gray">
          <a:xfrm>
            <a:off x="310423" y="6673492"/>
            <a:ext cx="625430" cy="520300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126681" tIns="63338" rIns="126681" bIns="63338" anchor="ctr"/>
          <a:lstStyle/>
          <a:p>
            <a:pPr algn="ctr" defTabSz="126674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kern="0" dirty="0">
                <a:solidFill>
                  <a:srgbClr val="FFFFFF"/>
                </a:solidFill>
                <a:latin typeface="Calibri"/>
              </a:rPr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842349600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33444" y="201216"/>
            <a:ext cx="5766928" cy="259530"/>
          </a:xfrm>
          <a:prstGeom prst="rect">
            <a:avLst/>
          </a:prstGeom>
        </p:spPr>
        <p:txBody>
          <a:bodyPr lIns="90269" tIns="45133" rIns="90269" bIns="45133"/>
          <a:lstStyle/>
          <a:p>
            <a:pPr>
              <a:defRPr/>
            </a:pPr>
            <a:endParaRPr lang="en-GB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968063" y="1994313"/>
            <a:ext cx="7363176" cy="82912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126681" tIns="63338" rIns="126681" bIns="63338" anchor="ctr" anchorCtr="0">
            <a:normAutofit/>
          </a:bodyPr>
          <a:lstStyle/>
          <a:p>
            <a:pPr marL="371666" algn="just"/>
            <a:r>
              <a:rPr lang="en-IN" sz="1964" b="1" dirty="0">
                <a:solidFill>
                  <a:srgbClr val="000000"/>
                </a:solidFill>
                <a:latin typeface="Calibri"/>
              </a:rPr>
              <a:t>Text</a:t>
            </a:r>
          </a:p>
        </p:txBody>
      </p:sp>
      <p:sp>
        <p:nvSpPr>
          <p:cNvPr id="6" name="Oval 259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617317" y="2130620"/>
            <a:ext cx="656777" cy="561017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126681" tIns="63338" rIns="126681" bIns="63338" anchor="ctr"/>
          <a:lstStyle/>
          <a:p>
            <a:pPr algn="ctr" defTabSz="126674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kern="0" dirty="0">
                <a:solidFill>
                  <a:srgbClr val="FFFFFF"/>
                </a:solidFill>
                <a:latin typeface="Calibri"/>
              </a:rPr>
              <a:t>1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968063" y="3034786"/>
            <a:ext cx="7363176" cy="89937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126681" tIns="63338" rIns="126681" bIns="63338" anchor="ctr" anchorCtr="0">
            <a:normAutofit/>
          </a:bodyPr>
          <a:lstStyle/>
          <a:p>
            <a:pPr marL="371666" algn="just"/>
            <a:r>
              <a:rPr lang="en-IN" sz="1964" b="1" dirty="0">
                <a:solidFill>
                  <a:srgbClr val="000000"/>
                </a:solidFill>
                <a:latin typeface="Calibri"/>
              </a:rPr>
              <a:t>Text</a:t>
            </a:r>
          </a:p>
        </p:txBody>
      </p:sp>
      <p:sp>
        <p:nvSpPr>
          <p:cNvPr id="8" name="Oval 260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618767" y="3213954"/>
            <a:ext cx="656777" cy="561017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126681" tIns="63338" rIns="126681" bIns="63338" anchor="ctr"/>
          <a:lstStyle/>
          <a:p>
            <a:pPr algn="ctr" defTabSz="126674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kern="0" dirty="0">
                <a:solidFill>
                  <a:srgbClr val="FFFFFF"/>
                </a:solidFill>
                <a:latin typeface="Calibri"/>
              </a:rPr>
              <a:t>2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968063" y="4127432"/>
            <a:ext cx="7363176" cy="92443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126681" tIns="63338" rIns="126681" bIns="63338" anchor="ctr" anchorCtr="0">
            <a:normAutofit/>
          </a:bodyPr>
          <a:lstStyle/>
          <a:p>
            <a:pPr marL="371666" algn="just"/>
            <a:r>
              <a:rPr lang="en-IN" sz="1964" b="1" dirty="0">
                <a:solidFill>
                  <a:srgbClr val="000000"/>
                </a:solidFill>
                <a:latin typeface="Calibri"/>
              </a:rPr>
              <a:t>Text</a:t>
            </a:r>
          </a:p>
        </p:txBody>
      </p:sp>
      <p:sp>
        <p:nvSpPr>
          <p:cNvPr id="10" name="Oval 26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607425" y="4312892"/>
            <a:ext cx="656777" cy="561017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126681" tIns="63338" rIns="126681" bIns="63338" anchor="ctr"/>
          <a:lstStyle/>
          <a:p>
            <a:pPr algn="ctr" defTabSz="126674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kern="0" dirty="0">
                <a:solidFill>
                  <a:srgbClr val="FFFFFF"/>
                </a:solidFill>
                <a:latin typeface="Calibri"/>
              </a:rPr>
              <a:t>3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968063" y="5238687"/>
            <a:ext cx="7363176" cy="88054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126681" tIns="63338" rIns="126681" bIns="63338" anchor="ctr" anchorCtr="0">
            <a:normAutofit/>
          </a:bodyPr>
          <a:lstStyle/>
          <a:p>
            <a:pPr marL="371666" algn="just"/>
            <a:r>
              <a:rPr lang="en-IN" sz="1964" b="1" dirty="0">
                <a:solidFill>
                  <a:srgbClr val="000000"/>
                </a:solidFill>
                <a:latin typeface="Calibri"/>
              </a:rPr>
              <a:t>Text</a:t>
            </a:r>
          </a:p>
        </p:txBody>
      </p:sp>
      <p:sp>
        <p:nvSpPr>
          <p:cNvPr id="12" name="Oval 262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628987" y="5399652"/>
            <a:ext cx="656777" cy="561017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126681" tIns="63338" rIns="126681" bIns="63338" anchor="ctr"/>
          <a:lstStyle/>
          <a:p>
            <a:pPr algn="ctr" defTabSz="126674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kern="0" dirty="0">
                <a:solidFill>
                  <a:srgbClr val="FFFFFF"/>
                </a:solidFill>
                <a:latin typeface="Calibri"/>
              </a:rPr>
              <a:t>4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968063" y="6317399"/>
            <a:ext cx="7363176" cy="79913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126681" tIns="63338" rIns="126681" bIns="63338" anchor="ctr" anchorCtr="0">
            <a:normAutofit/>
          </a:bodyPr>
          <a:lstStyle/>
          <a:p>
            <a:pPr marL="371666" algn="just"/>
            <a:r>
              <a:rPr lang="en-IN" sz="1964" b="1" dirty="0">
                <a:solidFill>
                  <a:srgbClr val="000000"/>
                </a:solidFill>
                <a:latin typeface="Calibri"/>
              </a:rPr>
              <a:t>Text</a:t>
            </a:r>
          </a:p>
        </p:txBody>
      </p:sp>
      <p:sp>
        <p:nvSpPr>
          <p:cNvPr id="14" name="Oval 263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gray">
          <a:xfrm>
            <a:off x="583308" y="6420513"/>
            <a:ext cx="656777" cy="561017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126681" tIns="63338" rIns="126681" bIns="63338" anchor="ctr"/>
          <a:lstStyle/>
          <a:p>
            <a:pPr algn="ctr" defTabSz="126674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kern="0" dirty="0">
                <a:solidFill>
                  <a:srgbClr val="FFFFFF"/>
                </a:solidFill>
                <a:latin typeface="Calibri"/>
              </a:rPr>
              <a:t>5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11391967" y="2004857"/>
            <a:ext cx="2684278" cy="829124"/>
          </a:xfrm>
          <a:prstGeom prst="rect">
            <a:avLst/>
          </a:prstGeom>
          <a:solidFill>
            <a:srgbClr val="E2FFC5"/>
          </a:solidFill>
        </p:spPr>
        <p:txBody>
          <a:bodyPr wrap="square" lIns="126681" tIns="63338" rIns="126681" bIns="63338" anchor="ctr" anchorCtr="0">
            <a:normAutofit/>
          </a:bodyPr>
          <a:lstStyle/>
          <a:p>
            <a:pPr marL="371666" algn="just"/>
            <a:r>
              <a:rPr lang="en-IN" sz="1964" b="1" dirty="0">
                <a:solidFill>
                  <a:srgbClr val="000000"/>
                </a:solidFill>
                <a:latin typeface="Calibri"/>
              </a:rPr>
              <a:t>Text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11391967" y="3045332"/>
            <a:ext cx="2684278" cy="899374"/>
          </a:xfrm>
          <a:prstGeom prst="rect">
            <a:avLst/>
          </a:prstGeom>
          <a:solidFill>
            <a:srgbClr val="E2FFC5"/>
          </a:solidFill>
        </p:spPr>
        <p:txBody>
          <a:bodyPr wrap="square" lIns="126681" tIns="63338" rIns="126681" bIns="63338" anchor="ctr" anchorCtr="0">
            <a:normAutofit/>
          </a:bodyPr>
          <a:lstStyle/>
          <a:p>
            <a:pPr marL="371666" algn="just"/>
            <a:r>
              <a:rPr lang="en-IN" sz="1964" b="1" dirty="0">
                <a:solidFill>
                  <a:srgbClr val="000000"/>
                </a:solidFill>
                <a:latin typeface="Calibri"/>
              </a:rPr>
              <a:t>Text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11391967" y="4137977"/>
            <a:ext cx="2684278" cy="924433"/>
          </a:xfrm>
          <a:prstGeom prst="rect">
            <a:avLst/>
          </a:prstGeom>
          <a:solidFill>
            <a:srgbClr val="E2FFC5"/>
          </a:solidFill>
        </p:spPr>
        <p:txBody>
          <a:bodyPr wrap="square" lIns="126681" tIns="63338" rIns="126681" bIns="63338" anchor="ctr" anchorCtr="0">
            <a:normAutofit/>
          </a:bodyPr>
          <a:lstStyle/>
          <a:p>
            <a:pPr marL="371666" algn="just"/>
            <a:r>
              <a:rPr lang="en-IN" sz="1964" b="1" dirty="0">
                <a:solidFill>
                  <a:srgbClr val="000000"/>
                </a:solidFill>
                <a:latin typeface="Calibri"/>
              </a:rPr>
              <a:t>Text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11391967" y="5249237"/>
            <a:ext cx="2684278" cy="880541"/>
          </a:xfrm>
          <a:prstGeom prst="rect">
            <a:avLst/>
          </a:prstGeom>
          <a:solidFill>
            <a:srgbClr val="E2FFC5"/>
          </a:solidFill>
        </p:spPr>
        <p:txBody>
          <a:bodyPr wrap="square" lIns="126681" tIns="63338" rIns="126681" bIns="63338" anchor="ctr" anchorCtr="0">
            <a:normAutofit/>
          </a:bodyPr>
          <a:lstStyle/>
          <a:p>
            <a:pPr marL="371666" algn="just"/>
            <a:r>
              <a:rPr lang="en-IN" sz="1964" b="1" dirty="0">
                <a:solidFill>
                  <a:srgbClr val="000000"/>
                </a:solidFill>
                <a:latin typeface="Calibri"/>
              </a:rPr>
              <a:t>Text</a:t>
            </a:r>
          </a:p>
        </p:txBody>
      </p:sp>
      <p:sp>
        <p:nvSpPr>
          <p:cNvPr id="19" name="Rectangle 18"/>
          <p:cNvSpPr/>
          <p:nvPr userDrawn="1"/>
        </p:nvSpPr>
        <p:spPr>
          <a:xfrm>
            <a:off x="11391967" y="6327947"/>
            <a:ext cx="2684278" cy="799139"/>
          </a:xfrm>
          <a:prstGeom prst="rect">
            <a:avLst/>
          </a:prstGeom>
          <a:solidFill>
            <a:srgbClr val="E2FFC5"/>
          </a:solidFill>
        </p:spPr>
        <p:txBody>
          <a:bodyPr wrap="square" lIns="126681" tIns="63338" rIns="126681" bIns="63338" anchor="ctr" anchorCtr="0">
            <a:normAutofit/>
          </a:bodyPr>
          <a:lstStyle/>
          <a:p>
            <a:pPr marL="239716" algn="just"/>
            <a:r>
              <a:rPr lang="en-IN" sz="1964" b="1" dirty="0">
                <a:solidFill>
                  <a:srgbClr val="000000"/>
                </a:solidFill>
                <a:latin typeface="Calibri"/>
              </a:rPr>
              <a:t>Text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8529327" y="2004857"/>
            <a:ext cx="2684278" cy="829124"/>
          </a:xfrm>
          <a:prstGeom prst="rect">
            <a:avLst/>
          </a:prstGeom>
          <a:solidFill>
            <a:srgbClr val="F8D9FF"/>
          </a:solidFill>
        </p:spPr>
        <p:txBody>
          <a:bodyPr wrap="square" lIns="126681" tIns="63338" rIns="126681" bIns="63338" anchor="ctr" anchorCtr="0">
            <a:normAutofit/>
          </a:bodyPr>
          <a:lstStyle/>
          <a:p>
            <a:pPr marL="371666" algn="just"/>
            <a:r>
              <a:rPr lang="en-IN" sz="1964" b="1" dirty="0">
                <a:solidFill>
                  <a:srgbClr val="000000"/>
                </a:solidFill>
                <a:latin typeface="Calibri"/>
              </a:rPr>
              <a:t>Text</a:t>
            </a:r>
          </a:p>
        </p:txBody>
      </p:sp>
      <p:sp>
        <p:nvSpPr>
          <p:cNvPr id="21" name="Rectangle 20"/>
          <p:cNvSpPr/>
          <p:nvPr userDrawn="1"/>
        </p:nvSpPr>
        <p:spPr>
          <a:xfrm>
            <a:off x="8529327" y="3045332"/>
            <a:ext cx="2684278" cy="899374"/>
          </a:xfrm>
          <a:prstGeom prst="rect">
            <a:avLst/>
          </a:prstGeom>
          <a:solidFill>
            <a:srgbClr val="F8D9FF"/>
          </a:solidFill>
        </p:spPr>
        <p:txBody>
          <a:bodyPr wrap="square" lIns="126681" tIns="63338" rIns="126681" bIns="63338" anchor="ctr" anchorCtr="0">
            <a:normAutofit/>
          </a:bodyPr>
          <a:lstStyle/>
          <a:p>
            <a:pPr marL="371666" algn="just"/>
            <a:r>
              <a:rPr lang="en-IN" sz="1964" b="1" dirty="0">
                <a:solidFill>
                  <a:srgbClr val="000000"/>
                </a:solidFill>
                <a:latin typeface="Calibri"/>
              </a:rPr>
              <a:t>Text</a:t>
            </a:r>
          </a:p>
        </p:txBody>
      </p:sp>
      <p:sp>
        <p:nvSpPr>
          <p:cNvPr id="22" name="Rectangle 21"/>
          <p:cNvSpPr/>
          <p:nvPr userDrawn="1"/>
        </p:nvSpPr>
        <p:spPr>
          <a:xfrm>
            <a:off x="8529327" y="4137977"/>
            <a:ext cx="2684278" cy="924433"/>
          </a:xfrm>
          <a:prstGeom prst="rect">
            <a:avLst/>
          </a:prstGeom>
          <a:solidFill>
            <a:srgbClr val="F8D9FF"/>
          </a:solidFill>
        </p:spPr>
        <p:txBody>
          <a:bodyPr wrap="square" lIns="126681" tIns="63338" rIns="126681" bIns="63338" anchor="ctr" anchorCtr="0">
            <a:normAutofit/>
          </a:bodyPr>
          <a:lstStyle/>
          <a:p>
            <a:pPr marL="371666" algn="just"/>
            <a:r>
              <a:rPr lang="en-IN" sz="1964" b="1" dirty="0">
                <a:solidFill>
                  <a:srgbClr val="000000"/>
                </a:solidFill>
                <a:latin typeface="Calibri"/>
              </a:rPr>
              <a:t>Text</a:t>
            </a:r>
          </a:p>
        </p:txBody>
      </p:sp>
      <p:sp>
        <p:nvSpPr>
          <p:cNvPr id="23" name="Rectangle 22"/>
          <p:cNvSpPr/>
          <p:nvPr userDrawn="1"/>
        </p:nvSpPr>
        <p:spPr>
          <a:xfrm>
            <a:off x="8529327" y="5249237"/>
            <a:ext cx="2684278" cy="880541"/>
          </a:xfrm>
          <a:prstGeom prst="rect">
            <a:avLst/>
          </a:prstGeom>
          <a:solidFill>
            <a:srgbClr val="F8D9FF"/>
          </a:solidFill>
        </p:spPr>
        <p:txBody>
          <a:bodyPr wrap="square" lIns="126681" tIns="63338" rIns="126681" bIns="63338" anchor="ctr" anchorCtr="0">
            <a:normAutofit/>
          </a:bodyPr>
          <a:lstStyle/>
          <a:p>
            <a:pPr marL="371666" algn="just"/>
            <a:r>
              <a:rPr lang="en-IN" sz="1964" b="1" dirty="0">
                <a:solidFill>
                  <a:srgbClr val="000000"/>
                </a:solidFill>
                <a:latin typeface="Calibri"/>
              </a:rPr>
              <a:t>Text</a:t>
            </a:r>
          </a:p>
        </p:txBody>
      </p:sp>
      <p:sp>
        <p:nvSpPr>
          <p:cNvPr id="24" name="Rectangle 23"/>
          <p:cNvSpPr/>
          <p:nvPr userDrawn="1"/>
        </p:nvSpPr>
        <p:spPr>
          <a:xfrm>
            <a:off x="8529327" y="6327947"/>
            <a:ext cx="2684278" cy="799139"/>
          </a:xfrm>
          <a:prstGeom prst="rect">
            <a:avLst/>
          </a:prstGeom>
          <a:solidFill>
            <a:srgbClr val="F8D9FF"/>
          </a:solidFill>
        </p:spPr>
        <p:txBody>
          <a:bodyPr wrap="square" lIns="126681" tIns="63338" rIns="126681" bIns="63338" anchor="ctr" anchorCtr="0">
            <a:normAutofit/>
          </a:bodyPr>
          <a:lstStyle/>
          <a:p>
            <a:pPr marL="371666" algn="just"/>
            <a:r>
              <a:rPr lang="en-IN" sz="1964" b="1" dirty="0">
                <a:solidFill>
                  <a:srgbClr val="000000"/>
                </a:solidFill>
                <a:latin typeface="Calibri"/>
              </a:rPr>
              <a:t>Text</a:t>
            </a:r>
          </a:p>
        </p:txBody>
      </p:sp>
      <p:sp>
        <p:nvSpPr>
          <p:cNvPr id="25" name="TextBox 24"/>
          <p:cNvSpPr txBox="1"/>
          <p:nvPr userDrawn="1"/>
        </p:nvSpPr>
        <p:spPr>
          <a:xfrm>
            <a:off x="8904758" y="1570448"/>
            <a:ext cx="1622044" cy="473392"/>
          </a:xfrm>
          <a:prstGeom prst="rect">
            <a:avLst/>
          </a:prstGeom>
          <a:noFill/>
        </p:spPr>
        <p:txBody>
          <a:bodyPr wrap="none" lIns="126681" tIns="63338" rIns="126681" bIns="63338" rtlCol="0">
            <a:spAutoFit/>
          </a:bodyPr>
          <a:lstStyle/>
          <a:p>
            <a:r>
              <a:rPr lang="en-IN" sz="2245" b="1" dirty="0">
                <a:solidFill>
                  <a:srgbClr val="000000"/>
                </a:solidFill>
                <a:latin typeface="Calibri"/>
              </a:rPr>
              <a:t>Description</a:t>
            </a:r>
            <a:endParaRPr lang="en-US" sz="2245" b="1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26" name="TextBox 25"/>
          <p:cNvSpPr txBox="1"/>
          <p:nvPr userDrawn="1"/>
        </p:nvSpPr>
        <p:spPr>
          <a:xfrm>
            <a:off x="11773512" y="1551550"/>
            <a:ext cx="1622044" cy="473392"/>
          </a:xfrm>
          <a:prstGeom prst="rect">
            <a:avLst/>
          </a:prstGeom>
          <a:noFill/>
        </p:spPr>
        <p:txBody>
          <a:bodyPr wrap="none" lIns="126681" tIns="63338" rIns="126681" bIns="63338" rtlCol="0">
            <a:spAutoFit/>
          </a:bodyPr>
          <a:lstStyle/>
          <a:p>
            <a:r>
              <a:rPr lang="en-IN" sz="2245" b="1" dirty="0">
                <a:solidFill>
                  <a:srgbClr val="000000"/>
                </a:solidFill>
                <a:latin typeface="Calibri"/>
              </a:rPr>
              <a:t>Description</a:t>
            </a:r>
            <a:endParaRPr lang="en-US" sz="2245" b="1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27" name="TextBox 26"/>
          <p:cNvSpPr txBox="1"/>
          <p:nvPr userDrawn="1"/>
        </p:nvSpPr>
        <p:spPr>
          <a:xfrm>
            <a:off x="968087" y="1570488"/>
            <a:ext cx="1622044" cy="473392"/>
          </a:xfrm>
          <a:prstGeom prst="rect">
            <a:avLst/>
          </a:prstGeom>
          <a:noFill/>
        </p:spPr>
        <p:txBody>
          <a:bodyPr wrap="none" lIns="126681" tIns="63338" rIns="126681" bIns="63338" rtlCol="0">
            <a:spAutoFit/>
          </a:bodyPr>
          <a:lstStyle/>
          <a:p>
            <a:r>
              <a:rPr lang="en-IN" sz="2245" b="1" dirty="0">
                <a:solidFill>
                  <a:srgbClr val="000000"/>
                </a:solidFill>
                <a:latin typeface="Calibri"/>
              </a:rPr>
              <a:t>Description</a:t>
            </a:r>
            <a:endParaRPr lang="en-US" sz="2245" b="1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28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276394" y="1163648"/>
            <a:ext cx="14135451" cy="522775"/>
          </a:xfrm>
        </p:spPr>
        <p:txBody>
          <a:bodyPr/>
          <a:lstStyle>
            <a:lvl1pPr marL="0" indent="0">
              <a:buNone/>
              <a:defRPr sz="2245" b="1">
                <a:latin typeface="Arial" pitchFamily="34" charset="0"/>
                <a:cs typeface="Arial" pitchFamily="34" charset="0"/>
              </a:defRPr>
            </a:lvl1pPr>
            <a:lvl2pPr>
              <a:defRPr sz="1964">
                <a:latin typeface="Arial" pitchFamily="34" charset="0"/>
                <a:cs typeface="Arial" pitchFamily="34" charset="0"/>
              </a:defRPr>
            </a:lvl2pPr>
            <a:lvl3pPr marL="809569" indent="-269857">
              <a:buClr>
                <a:schemeClr val="tx2"/>
              </a:buClr>
              <a:buFont typeface="Wingdings" pitchFamily="2" charset="2"/>
              <a:buChar char="§"/>
              <a:defRPr sz="1684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281735457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33444" y="201216"/>
            <a:ext cx="5766928" cy="259530"/>
          </a:xfrm>
          <a:prstGeom prst="rect">
            <a:avLst/>
          </a:prstGeom>
        </p:spPr>
        <p:txBody>
          <a:bodyPr lIns="90269" tIns="45133" rIns="90269" bIns="45133"/>
          <a:lstStyle/>
          <a:p>
            <a:pPr>
              <a:defRPr/>
            </a:pPr>
            <a:endParaRPr lang="en-GB" dirty="0">
              <a:solidFill>
                <a:srgbClr val="000000"/>
              </a:solidFill>
              <a:latin typeface="Calibri"/>
            </a:endParaRPr>
          </a:p>
        </p:txBody>
      </p:sp>
      <p:graphicFrame>
        <p:nvGraphicFramePr>
          <p:cNvPr id="5" name="Content Placeholder 3"/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1550436574"/>
              </p:ext>
            </p:extLst>
          </p:nvPr>
        </p:nvGraphicFramePr>
        <p:xfrm>
          <a:off x="631769" y="1758740"/>
          <a:ext cx="13404987" cy="6032309"/>
        </p:xfrm>
        <a:graphic>
          <a:graphicData uri="http://schemas.openxmlformats.org/drawingml/2006/table">
            <a:tbl>
              <a:tblPr firstRow="1" bandRow="1"/>
              <a:tblGrid>
                <a:gridCol w="63175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5834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11488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7320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700" b="1" dirty="0">
                          <a:latin typeface="+mn-lt"/>
                          <a:cs typeface="Arial" pitchFamily="34" charset="0"/>
                        </a:rPr>
                        <a:t>SN</a:t>
                      </a:r>
                      <a:endParaRPr lang="en-IN" sz="1700" b="1" dirty="0">
                        <a:latin typeface="+mn-lt"/>
                        <a:cs typeface="Arial" pitchFamily="34" charset="0"/>
                      </a:endParaRPr>
                    </a:p>
                  </a:txBody>
                  <a:tcPr marL="137817" marR="137817" marT="53959" marB="53959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700" b="1" dirty="0">
                          <a:latin typeface="+mn-lt"/>
                          <a:cs typeface="Arial" pitchFamily="34" charset="0"/>
                        </a:rPr>
                        <a:t>Particulars</a:t>
                      </a:r>
                      <a:endParaRPr lang="en-IN" sz="1700" b="1" dirty="0">
                        <a:latin typeface="+mn-lt"/>
                        <a:cs typeface="Arial" pitchFamily="34" charset="0"/>
                      </a:endParaRPr>
                    </a:p>
                  </a:txBody>
                  <a:tcPr marL="137817" marR="137817" marT="53959" marB="53959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700" b="1" dirty="0">
                          <a:latin typeface="+mn-lt"/>
                          <a:cs typeface="Arial" pitchFamily="34" charset="0"/>
                        </a:rPr>
                        <a:t>Remarks</a:t>
                      </a:r>
                      <a:endParaRPr lang="en-IN" sz="1700" b="1" dirty="0">
                        <a:latin typeface="+mn-lt"/>
                        <a:cs typeface="Arial" pitchFamily="34" charset="0"/>
                      </a:endParaRPr>
                    </a:p>
                  </a:txBody>
                  <a:tcPr marL="137817" marR="137817" marT="53959" marB="53959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56050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700" b="1" dirty="0">
                          <a:latin typeface="+mn-lt"/>
                          <a:cs typeface="Arial" pitchFamily="34" charset="0"/>
                        </a:rPr>
                        <a:t>1</a:t>
                      </a:r>
                      <a:endParaRPr lang="en-IN" sz="1700" b="1" dirty="0">
                        <a:latin typeface="+mn-lt"/>
                        <a:cs typeface="Arial" pitchFamily="34" charset="0"/>
                      </a:endParaRPr>
                    </a:p>
                  </a:txBody>
                  <a:tcPr marL="137817" marR="137817" marT="53959" marB="53959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IN" sz="1700" b="1" dirty="0">
                        <a:latin typeface="+mn-lt"/>
                        <a:cs typeface="Arial" pitchFamily="34" charset="0"/>
                      </a:endParaRPr>
                    </a:p>
                  </a:txBody>
                  <a:tcPr marL="137817" marR="137817" marT="53959" marB="53959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700" baseline="0" dirty="0">
                          <a:latin typeface="+mn-lt"/>
                          <a:cs typeface="Arial" pitchFamily="34" charset="0"/>
                        </a:rPr>
                        <a:t> Text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700" baseline="0" dirty="0"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700" baseline="0" dirty="0"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endParaRPr lang="en-US" sz="1700" baseline="0" dirty="0">
                        <a:latin typeface="+mn-lt"/>
                        <a:cs typeface="Arial" pitchFamily="34" charset="0"/>
                      </a:endParaRPr>
                    </a:p>
                  </a:txBody>
                  <a:tcPr marL="137817" marR="137817" marT="53959" marB="53959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76928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700" b="1" dirty="0">
                          <a:latin typeface="+mn-lt"/>
                          <a:cs typeface="Arial" pitchFamily="34" charset="0"/>
                        </a:rPr>
                        <a:t>2</a:t>
                      </a:r>
                      <a:endParaRPr lang="en-IN" sz="1700" b="1" dirty="0">
                        <a:latin typeface="+mn-lt"/>
                        <a:cs typeface="Arial" pitchFamily="34" charset="0"/>
                      </a:endParaRPr>
                    </a:p>
                  </a:txBody>
                  <a:tcPr marL="137817" marR="137817" marT="53959" marB="53959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IN" sz="1700" b="1" dirty="0">
                        <a:latin typeface="+mn-lt"/>
                        <a:cs typeface="Arial" pitchFamily="34" charset="0"/>
                      </a:endParaRPr>
                    </a:p>
                  </a:txBody>
                  <a:tcPr marL="137817" marR="137817" marT="53959" marB="53959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700" baseline="0" dirty="0">
                          <a:latin typeface="+mn-lt"/>
                          <a:cs typeface="Arial" pitchFamily="34" charset="0"/>
                        </a:rPr>
                        <a:t> Text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700" baseline="0" dirty="0"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700" baseline="0" dirty="0"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</a:txBody>
                  <a:tcPr marL="137817" marR="137817" marT="53959" marB="53959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522677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700" b="1" dirty="0">
                          <a:latin typeface="+mn-lt"/>
                          <a:cs typeface="Arial" pitchFamily="34" charset="0"/>
                        </a:rPr>
                        <a:t>3</a:t>
                      </a:r>
                      <a:endParaRPr lang="en-IN" sz="1700" b="1" dirty="0">
                        <a:latin typeface="+mn-lt"/>
                        <a:cs typeface="Arial" pitchFamily="34" charset="0"/>
                      </a:endParaRPr>
                    </a:p>
                  </a:txBody>
                  <a:tcPr marL="137817" marR="137817" marT="53959" marB="53959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IN" sz="1700" b="1" dirty="0">
                        <a:latin typeface="+mn-lt"/>
                        <a:cs typeface="Arial" pitchFamily="34" charset="0"/>
                      </a:endParaRPr>
                    </a:p>
                  </a:txBody>
                  <a:tcPr marL="137817" marR="137817" marT="53959" marB="53959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700" baseline="0" dirty="0">
                          <a:latin typeface="+mn-lt"/>
                          <a:cs typeface="Arial" pitchFamily="34" charset="0"/>
                        </a:rPr>
                        <a:t> Text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700" baseline="0" dirty="0"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700" baseline="0" dirty="0"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</a:txBody>
                  <a:tcPr marL="137817" marR="137817" marT="53959" marB="53959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203451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700" b="1" dirty="0">
                          <a:latin typeface="+mn-lt"/>
                          <a:cs typeface="Arial" pitchFamily="34" charset="0"/>
                        </a:rPr>
                        <a:t>4</a:t>
                      </a:r>
                      <a:endParaRPr lang="en-IN" sz="1700" b="1" dirty="0">
                        <a:latin typeface="+mn-lt"/>
                        <a:cs typeface="Arial" pitchFamily="34" charset="0"/>
                      </a:endParaRPr>
                    </a:p>
                  </a:txBody>
                  <a:tcPr marL="137817" marR="137817" marT="53959" marB="53959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IN" sz="1700" b="1" dirty="0">
                        <a:latin typeface="+mn-lt"/>
                        <a:cs typeface="Arial" pitchFamily="34" charset="0"/>
                      </a:endParaRPr>
                    </a:p>
                  </a:txBody>
                  <a:tcPr marL="137817" marR="137817" marT="53959" marB="53959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700" baseline="0" dirty="0">
                          <a:latin typeface="+mn-lt"/>
                          <a:cs typeface="Arial" pitchFamily="34" charset="0"/>
                        </a:rPr>
                        <a:t> Text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700" baseline="0" dirty="0"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700" baseline="0" dirty="0"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</a:txBody>
                  <a:tcPr marL="137817" marR="137817" marT="53959" marB="53959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6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276394" y="1163648"/>
            <a:ext cx="14135451" cy="522775"/>
          </a:xfrm>
        </p:spPr>
        <p:txBody>
          <a:bodyPr/>
          <a:lstStyle>
            <a:lvl1pPr marL="0" indent="0">
              <a:buNone/>
              <a:defRPr sz="2245" b="1">
                <a:latin typeface="Arial" pitchFamily="34" charset="0"/>
                <a:cs typeface="Arial" pitchFamily="34" charset="0"/>
              </a:defRPr>
            </a:lvl1pPr>
            <a:lvl2pPr>
              <a:defRPr sz="1964">
                <a:latin typeface="Arial" pitchFamily="34" charset="0"/>
                <a:cs typeface="Arial" pitchFamily="34" charset="0"/>
              </a:defRPr>
            </a:lvl2pPr>
            <a:lvl3pPr marL="809569" indent="-269857">
              <a:buClr>
                <a:schemeClr val="tx2"/>
              </a:buClr>
              <a:buFont typeface="Wingdings" pitchFamily="2" charset="2"/>
              <a:buChar char="§"/>
              <a:defRPr sz="1684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079947551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73587" y="627356"/>
            <a:ext cx="13980331" cy="433186"/>
          </a:xfrm>
        </p:spPr>
        <p:txBody>
          <a:bodyPr/>
          <a:lstStyle>
            <a:lvl1pPr>
              <a:defRPr sz="2532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4"/>
          </p:nvPr>
        </p:nvSpPr>
        <p:spPr>
          <a:xfrm>
            <a:off x="317539" y="201216"/>
            <a:ext cx="5766927" cy="25953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8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14117433" y="230350"/>
            <a:ext cx="392330" cy="263726"/>
          </a:xfrm>
          <a:prstGeom prst="rect">
            <a:avLst/>
          </a:prstGeom>
        </p:spPr>
        <p:txBody>
          <a:bodyPr vert="horz" lIns="0" tIns="44104" rIns="69455" bIns="44104" rtlCol="0" anchor="ctr"/>
          <a:lstStyle>
            <a:lvl1pPr algn="l">
              <a:defRPr sz="1407" b="1">
                <a:solidFill>
                  <a:schemeClr val="bg1"/>
                </a:solidFill>
                <a:latin typeface="+mn-lt"/>
              </a:defRPr>
            </a:lvl1pPr>
          </a:lstStyle>
          <a:p>
            <a:fld id="{7103653F-4628-4CCA-BBFC-10994C39EA7C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Tijdelijke aanduiding voor inhoud 2"/>
          <p:cNvSpPr>
            <a:spLocks noGrp="1"/>
          </p:cNvSpPr>
          <p:nvPr>
            <p:ph idx="15"/>
          </p:nvPr>
        </p:nvSpPr>
        <p:spPr>
          <a:xfrm>
            <a:off x="335620" y="1315368"/>
            <a:ext cx="13957771" cy="6256431"/>
          </a:xfrm>
        </p:spPr>
        <p:txBody>
          <a:bodyPr/>
          <a:lstStyle>
            <a:lvl1pPr>
              <a:defRPr sz="2111">
                <a:latin typeface="Arial" pitchFamily="34" charset="0"/>
                <a:cs typeface="Arial" pitchFamily="34" charset="0"/>
              </a:defRPr>
            </a:lvl1pPr>
            <a:lvl2pPr>
              <a:defRPr sz="1830">
                <a:latin typeface="Arial" pitchFamily="34" charset="0"/>
                <a:cs typeface="Arial" pitchFamily="34" charset="0"/>
              </a:defRPr>
            </a:lvl2pPr>
            <a:lvl3pPr marL="759881" indent="-253295">
              <a:buClr>
                <a:schemeClr val="tx2"/>
              </a:buClr>
              <a:buFont typeface="Wingdings" pitchFamily="2" charset="2"/>
              <a:buChar char="§"/>
              <a:defRPr sz="1548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105351007"/>
      </p:ext>
    </p:extLst>
  </p:cSld>
  <p:clrMapOvr>
    <a:masterClrMapping/>
  </p:clrMapOvr>
  <p:transition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33444" y="201216"/>
            <a:ext cx="5766928" cy="259530"/>
          </a:xfrm>
          <a:prstGeom prst="rect">
            <a:avLst/>
          </a:prstGeom>
        </p:spPr>
        <p:txBody>
          <a:bodyPr lIns="90269" tIns="45133" rIns="90269" bIns="45133"/>
          <a:lstStyle/>
          <a:p>
            <a:pPr>
              <a:defRPr/>
            </a:pPr>
            <a:endParaRPr lang="en-GB" dirty="0">
              <a:solidFill>
                <a:srgbClr val="000000"/>
              </a:solidFill>
              <a:latin typeface="Calibri"/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078707831"/>
              </p:ext>
            </p:extLst>
          </p:nvPr>
        </p:nvGraphicFramePr>
        <p:xfrm>
          <a:off x="631773" y="1685023"/>
          <a:ext cx="13385248" cy="2767040"/>
        </p:xfrm>
        <a:graphic>
          <a:graphicData uri="http://schemas.openxmlformats.org/drawingml/2006/table">
            <a:tbl>
              <a:tblPr/>
              <a:tblGrid>
                <a:gridCol w="243209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858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8324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0427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12531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65834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638607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3257476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395291">
                <a:tc>
                  <a:txBody>
                    <a:bodyPr/>
                    <a:lstStyle/>
                    <a:p>
                      <a:pPr algn="ctr" fontAlgn="b"/>
                      <a:endParaRPr lang="en-IN" sz="1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UoM</a:t>
                      </a:r>
                    </a:p>
                  </a:txBody>
                  <a:tcPr marL="50521" marR="50521" marT="11418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Q FY</a:t>
                      </a:r>
                    </a:p>
                  </a:txBody>
                  <a:tcPr marL="50521" marR="50521" marT="11418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Q FY</a:t>
                      </a:r>
                    </a:p>
                  </a:txBody>
                  <a:tcPr marL="50521" marR="50521" marT="11418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Q FY</a:t>
                      </a:r>
                    </a:p>
                  </a:txBody>
                  <a:tcPr marL="50521" marR="50521" marT="11418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%Change Q/Q</a:t>
                      </a:r>
                    </a:p>
                  </a:txBody>
                  <a:tcPr marL="50521" marR="50521" marT="11418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%Change Y/Y</a:t>
                      </a:r>
                    </a:p>
                  </a:txBody>
                  <a:tcPr marL="50521" marR="50521" marT="11418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emarks</a:t>
                      </a:r>
                    </a:p>
                  </a:txBody>
                  <a:tcPr marL="50521" marR="50521" marT="11418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5291">
                <a:tc>
                  <a:txBody>
                    <a:bodyPr/>
                    <a:lstStyle/>
                    <a:p>
                      <a:pPr algn="l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C9B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5291">
                <a:tc>
                  <a:txBody>
                    <a:bodyPr/>
                    <a:lstStyle/>
                    <a:p>
                      <a:pPr algn="l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C9B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95291">
                <a:tc>
                  <a:txBody>
                    <a:bodyPr/>
                    <a:lstStyle/>
                    <a:p>
                      <a:pPr algn="l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C9B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95291">
                <a:tc>
                  <a:txBody>
                    <a:bodyPr/>
                    <a:lstStyle/>
                    <a:p>
                      <a:pPr algn="l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rgbClr val="FF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C9B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6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95291">
                <a:tc>
                  <a:txBody>
                    <a:bodyPr/>
                    <a:lstStyle/>
                    <a:p>
                      <a:pPr algn="l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95291">
                <a:tc>
                  <a:txBody>
                    <a:bodyPr/>
                    <a:lstStyle/>
                    <a:p>
                      <a:pPr algn="l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rgbClr val="FF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4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50521" marR="50521" marT="11418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grpSp>
        <p:nvGrpSpPr>
          <p:cNvPr id="6" name="Group 5"/>
          <p:cNvGrpSpPr/>
          <p:nvPr userDrawn="1"/>
        </p:nvGrpSpPr>
        <p:grpSpPr>
          <a:xfrm>
            <a:off x="638149" y="5040419"/>
            <a:ext cx="13398600" cy="2683153"/>
            <a:chOff x="123367" y="5147491"/>
            <a:chExt cx="8864071" cy="1583827"/>
          </a:xfrm>
        </p:grpSpPr>
        <p:sp>
          <p:nvSpPr>
            <p:cNvPr id="7" name="Tijdelijke aanduiding voor verticale tekst 24"/>
            <p:cNvSpPr txBox="1">
              <a:spLocks/>
            </p:cNvSpPr>
            <p:nvPr/>
          </p:nvSpPr>
          <p:spPr>
            <a:xfrm>
              <a:off x="123367" y="5405493"/>
              <a:ext cx="8864069" cy="1325825"/>
            </a:xfrm>
            <a:prstGeom prst="rect">
              <a:avLst/>
            </a:prstGeom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txBody>
            <a:bodyPr vert="horz" lIns="91440" tIns="45720" rIns="91440" bIns="45720" rtlCol="0">
              <a:normAutofit/>
            </a:bodyPr>
            <a:lstStyle>
              <a:lvl1pPr marL="342900" indent="-3429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3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»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13276" lvl="1">
                <a:buFont typeface="Wingdings" pitchFamily="2" charset="2"/>
                <a:buChar char="§"/>
              </a:pPr>
              <a:r>
                <a:rPr lang="en-GB" sz="1964" dirty="0">
                  <a:solidFill>
                    <a:srgbClr val="000000"/>
                  </a:solidFill>
                </a:rPr>
                <a:t>Text</a:t>
              </a:r>
              <a:endParaRPr lang="en-GB" sz="1684" dirty="0">
                <a:solidFill>
                  <a:srgbClr val="000000"/>
                </a:solidFill>
              </a:endParaRPr>
            </a:p>
          </p:txBody>
        </p:sp>
        <p:sp>
          <p:nvSpPr>
            <p:cNvPr id="8" name="Tijdelijke aanduiding voor verticale tekst 25"/>
            <p:cNvSpPr txBox="1">
              <a:spLocks/>
            </p:cNvSpPr>
            <p:nvPr/>
          </p:nvSpPr>
          <p:spPr>
            <a:xfrm>
              <a:off x="123368" y="5147491"/>
              <a:ext cx="8864070" cy="258002"/>
            </a:xfrm>
            <a:prstGeom prst="rect">
              <a:avLst/>
            </a:prstGeom>
            <a:solidFill>
              <a:schemeClr val="accent6">
                <a:lumMod val="10000"/>
                <a:lumOff val="90000"/>
              </a:schemeClr>
            </a:solidFill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txBody>
            <a:bodyPr vert="horz" wrap="none" lIns="180000" tIns="72000" rIns="216000" bIns="4572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3"/>
                </a:buClr>
                <a:buFont typeface="Wingdings" panose="05000000000000000000" pitchFamily="2" charset="2"/>
                <a:buNone/>
                <a:defRPr sz="1800" b="1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177800" indent="-177800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5600" indent="-177800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33400" indent="-174625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20725" indent="-182563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 i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563" indent="-182563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5600" indent="-173038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tabLst/>
                <a:defRPr sz="16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38163" indent="-182563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322481">
                <a:lnSpc>
                  <a:spcPts val="2603"/>
                </a:lnSpc>
                <a:spcBef>
                  <a:spcPts val="868"/>
                </a:spcBef>
                <a:spcAft>
                  <a:spcPts val="868"/>
                </a:spcAft>
                <a:buClr>
                  <a:srgbClr val="FFA100"/>
                </a:buClr>
                <a:defRPr/>
              </a:pPr>
              <a:r>
                <a:rPr lang="en-US" sz="2245" dirty="0">
                  <a:solidFill>
                    <a:srgbClr val="000000"/>
                  </a:solidFill>
                </a:rPr>
                <a:t>Highlights</a:t>
              </a:r>
            </a:p>
          </p:txBody>
        </p:sp>
      </p:grpSp>
      <p:graphicFrame>
        <p:nvGraphicFramePr>
          <p:cNvPr id="9" name="Table 8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4255090937"/>
              </p:ext>
            </p:extLst>
          </p:nvPr>
        </p:nvGraphicFramePr>
        <p:xfrm>
          <a:off x="605444" y="4638579"/>
          <a:ext cx="13431314" cy="263755"/>
        </p:xfrm>
        <a:graphic>
          <a:graphicData uri="http://schemas.openxmlformats.org/drawingml/2006/table">
            <a:tbl>
              <a:tblPr/>
              <a:tblGrid>
                <a:gridCol w="335783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35783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57586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13978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63755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Key</a:t>
                      </a:r>
                    </a:p>
                  </a:txBody>
                  <a:tcPr marL="14212" marR="14212" marT="11629" marB="0" anchor="ctr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ext</a:t>
                      </a:r>
                    </a:p>
                  </a:txBody>
                  <a:tcPr marL="14212" marR="14212" marT="1162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ext</a:t>
                      </a:r>
                    </a:p>
                  </a:txBody>
                  <a:tcPr marL="14212" marR="14212" marT="1162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6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ext</a:t>
                      </a:r>
                    </a:p>
                  </a:txBody>
                  <a:tcPr marL="14212" marR="14212" marT="11629" marB="0" anchor="ctr">
                    <a:lnL>
                      <a:noFill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C9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0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276394" y="1163648"/>
            <a:ext cx="14135451" cy="522775"/>
          </a:xfrm>
        </p:spPr>
        <p:txBody>
          <a:bodyPr/>
          <a:lstStyle>
            <a:lvl1pPr marL="0" indent="0">
              <a:buNone/>
              <a:defRPr sz="2245" b="1">
                <a:latin typeface="Arial" pitchFamily="34" charset="0"/>
                <a:cs typeface="Arial" pitchFamily="34" charset="0"/>
              </a:defRPr>
            </a:lvl1pPr>
            <a:lvl2pPr>
              <a:defRPr sz="1964">
                <a:latin typeface="Arial" pitchFamily="34" charset="0"/>
                <a:cs typeface="Arial" pitchFamily="34" charset="0"/>
              </a:defRPr>
            </a:lvl2pPr>
            <a:lvl3pPr marL="809569" indent="-269857">
              <a:buClr>
                <a:schemeClr val="tx2"/>
              </a:buClr>
              <a:buFont typeface="Wingdings" pitchFamily="2" charset="2"/>
              <a:buChar char="§"/>
              <a:defRPr sz="1684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786709783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33444" y="201216"/>
            <a:ext cx="5766928" cy="259530"/>
          </a:xfrm>
          <a:prstGeom prst="rect">
            <a:avLst/>
          </a:prstGeom>
        </p:spPr>
        <p:txBody>
          <a:bodyPr lIns="90269" tIns="45133" rIns="90269" bIns="45133"/>
          <a:lstStyle/>
          <a:p>
            <a:pPr>
              <a:defRPr/>
            </a:pPr>
            <a:endParaRPr lang="en-GB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5" name="Pentagon 4"/>
          <p:cNvSpPr/>
          <p:nvPr userDrawn="1"/>
        </p:nvSpPr>
        <p:spPr bwMode="auto">
          <a:xfrm>
            <a:off x="7225667" y="1922461"/>
            <a:ext cx="7107217" cy="5969751"/>
          </a:xfrm>
          <a:prstGeom prst="homePlate">
            <a:avLst>
              <a:gd name="adj" fmla="val 507"/>
            </a:avLst>
          </a:prstGeom>
          <a:solidFill>
            <a:schemeClr val="bg1"/>
          </a:solidFill>
          <a:ln w="38100" cap="flat" cmpd="sng" algn="ctr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249368" tIns="249368" rIns="249368" bIns="249368" numCol="1" rtlCol="0" anchor="t" anchorCtr="0" compatLnSpc="1">
            <a:prstTxWarp prst="textNoShape">
              <a:avLst/>
            </a:prstTxWarp>
          </a:bodyPr>
          <a:lstStyle/>
          <a:p>
            <a:pPr defTabSz="1266745"/>
            <a:r>
              <a:rPr lang="en-IN" sz="2245" b="1" dirty="0">
                <a:solidFill>
                  <a:srgbClr val="000000"/>
                </a:solidFill>
                <a:latin typeface="Calibri"/>
              </a:rPr>
              <a:t>Text</a:t>
            </a:r>
            <a:endParaRPr lang="en-IN" b="1" dirty="0">
              <a:solidFill>
                <a:srgbClr val="000000"/>
              </a:solidFill>
              <a:latin typeface="Calibri"/>
            </a:endParaRPr>
          </a:p>
          <a:p>
            <a:pPr marL="631173" indent="-395856" defTabSz="1266745">
              <a:buFont typeface="Arial" pitchFamily="34" charset="0"/>
              <a:buChar char="•"/>
            </a:pPr>
            <a:r>
              <a:rPr lang="en-IN" sz="2245" dirty="0">
                <a:solidFill>
                  <a:srgbClr val="000000"/>
                </a:solidFill>
                <a:latin typeface="Calibri"/>
              </a:rPr>
              <a:t>Text</a:t>
            </a:r>
          </a:p>
          <a:p>
            <a:pPr marL="631173" indent="-395856" defTabSz="1266745">
              <a:buFont typeface="Arial" pitchFamily="34" charset="0"/>
              <a:buChar char="•"/>
            </a:pPr>
            <a:r>
              <a:rPr lang="en-IN" sz="2245" dirty="0">
                <a:solidFill>
                  <a:srgbClr val="000000"/>
                </a:solidFill>
                <a:latin typeface="Calibri"/>
              </a:rPr>
              <a:t>Text</a:t>
            </a:r>
            <a:endParaRPr lang="en-IN" sz="2245" b="1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6" name="Pentagon 5"/>
          <p:cNvSpPr/>
          <p:nvPr userDrawn="1"/>
        </p:nvSpPr>
        <p:spPr bwMode="auto">
          <a:xfrm>
            <a:off x="375128" y="1922461"/>
            <a:ext cx="7146695" cy="5969751"/>
          </a:xfrm>
          <a:prstGeom prst="homePlate">
            <a:avLst>
              <a:gd name="adj" fmla="val 8913"/>
            </a:avLst>
          </a:prstGeom>
          <a:solidFill>
            <a:schemeClr val="tx2">
              <a:lumMod val="20000"/>
              <a:lumOff val="80000"/>
            </a:schemeClr>
          </a:solidFill>
          <a:ln w="28575" cap="flat" cmpd="sng" algn="ctr">
            <a:solidFill>
              <a:schemeClr val="tx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249368" tIns="249368" rIns="249368" bIns="249368" numCol="1" rtlCol="0" anchor="t" anchorCtr="0" compatLnSpc="1">
            <a:prstTxWarp prst="textNoShape">
              <a:avLst/>
            </a:prstTxWarp>
          </a:bodyPr>
          <a:lstStyle/>
          <a:p>
            <a:pPr defTabSz="1266745"/>
            <a:r>
              <a:rPr lang="en-IN" sz="2245" b="1" dirty="0">
                <a:solidFill>
                  <a:srgbClr val="000000"/>
                </a:solidFill>
                <a:latin typeface="Calibri"/>
              </a:rPr>
              <a:t>Text</a:t>
            </a:r>
            <a:endParaRPr lang="en-IN" b="1" dirty="0">
              <a:solidFill>
                <a:srgbClr val="000000"/>
              </a:solidFill>
              <a:latin typeface="Calibri"/>
            </a:endParaRPr>
          </a:p>
          <a:p>
            <a:pPr marL="631173" indent="-395856" defTabSz="1266745">
              <a:buFont typeface="Arial" pitchFamily="34" charset="0"/>
              <a:buChar char="•"/>
            </a:pPr>
            <a:r>
              <a:rPr lang="en-IN" sz="2245" dirty="0">
                <a:solidFill>
                  <a:srgbClr val="000000"/>
                </a:solidFill>
                <a:latin typeface="Calibri"/>
              </a:rPr>
              <a:t>Text</a:t>
            </a:r>
          </a:p>
          <a:p>
            <a:pPr marL="631173" indent="-395856" defTabSz="1266745">
              <a:buFont typeface="Arial" pitchFamily="34" charset="0"/>
              <a:buChar char="•"/>
            </a:pPr>
            <a:r>
              <a:rPr lang="en-IN" sz="2245" dirty="0">
                <a:solidFill>
                  <a:srgbClr val="000000"/>
                </a:solidFill>
                <a:latin typeface="Calibri"/>
              </a:rPr>
              <a:t>Text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350013" y="1330707"/>
            <a:ext cx="13982877" cy="444634"/>
          </a:xfrm>
        </p:spPr>
        <p:txBody>
          <a:bodyPr/>
          <a:lstStyle>
            <a:lvl1pPr>
              <a:buNone/>
              <a:defRPr sz="2245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18780720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33444" y="201216"/>
            <a:ext cx="5766928" cy="259530"/>
          </a:xfrm>
          <a:prstGeom prst="rect">
            <a:avLst/>
          </a:prstGeom>
        </p:spPr>
        <p:txBody>
          <a:bodyPr lIns="90269" tIns="45133" rIns="90269" bIns="45133"/>
          <a:lstStyle/>
          <a:p>
            <a:pPr>
              <a:defRPr/>
            </a:pPr>
            <a:endParaRPr lang="en-GB" dirty="0">
              <a:solidFill>
                <a:srgbClr val="000000"/>
              </a:solidFill>
              <a:latin typeface="Calibri"/>
            </a:endParaRPr>
          </a:p>
        </p:txBody>
      </p:sp>
      <p:graphicFrame>
        <p:nvGraphicFramePr>
          <p:cNvPr id="5" name="Diagram 4"/>
          <p:cNvGraphicFramePr/>
          <p:nvPr userDrawn="1">
            <p:extLst>
              <p:ext uri="{D42A27DB-BD31-4B8C-83A1-F6EECF244321}">
                <p14:modId xmlns:p14="http://schemas.microsoft.com/office/powerpoint/2010/main" val="2456178580"/>
              </p:ext>
            </p:extLst>
          </p:nvPr>
        </p:nvGraphicFramePr>
        <p:xfrm>
          <a:off x="645586" y="1905607"/>
          <a:ext cx="7744896" cy="561561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8390485" y="3840024"/>
            <a:ext cx="5666027" cy="1509818"/>
          </a:xfrm>
          <a:prstGeom prst="rect">
            <a:avLst/>
          </a:prstGeom>
          <a:noFill/>
          <a:ln>
            <a:noFill/>
          </a:ln>
        </p:spPr>
        <p:txBody>
          <a:bodyPr wrap="square" lIns="126665" tIns="63332" rIns="126665" bIns="63332" rtlCol="0">
            <a:spAutoFit/>
          </a:bodyPr>
          <a:lstStyle/>
          <a:p>
            <a:pPr marL="395818" indent="-395818" defTabSz="1266610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en-US" sz="2245" dirty="0">
                <a:solidFill>
                  <a:prstClr val="black"/>
                </a:solidFill>
                <a:latin typeface="Calibri"/>
              </a:rPr>
              <a:t>TEXT</a:t>
            </a:r>
          </a:p>
          <a:p>
            <a:pPr marL="395818" indent="-395818" defTabSz="1266610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en-US" sz="2245" dirty="0">
                <a:solidFill>
                  <a:prstClr val="black"/>
                </a:solidFill>
                <a:latin typeface="Calibri"/>
              </a:rPr>
              <a:t> </a:t>
            </a:r>
          </a:p>
          <a:p>
            <a:pPr marL="395818" indent="-395818" defTabSz="1266610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en-US" sz="2245" dirty="0">
                <a:solidFill>
                  <a:prstClr val="black"/>
                </a:solidFill>
                <a:latin typeface="Calibri"/>
              </a:rPr>
              <a:t> </a:t>
            </a:r>
          </a:p>
          <a:p>
            <a:pPr marL="395818" indent="-395818" defTabSz="1266610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en-US" sz="2245" dirty="0">
                <a:solidFill>
                  <a:prstClr val="black"/>
                </a:solidFill>
                <a:latin typeface="Calibri"/>
              </a:rPr>
              <a:t> 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8390485" y="1883834"/>
            <a:ext cx="5666027" cy="1509818"/>
          </a:xfrm>
          <a:prstGeom prst="rect">
            <a:avLst/>
          </a:prstGeom>
          <a:noFill/>
          <a:ln>
            <a:noFill/>
          </a:ln>
        </p:spPr>
        <p:txBody>
          <a:bodyPr wrap="square" lIns="126665" tIns="63332" rIns="126665" bIns="63332" rtlCol="0">
            <a:spAutoFit/>
          </a:bodyPr>
          <a:lstStyle/>
          <a:p>
            <a:pPr marL="395818" indent="-395818" defTabSz="1266610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en-US" sz="2245" dirty="0">
                <a:solidFill>
                  <a:prstClr val="black"/>
                </a:solidFill>
                <a:latin typeface="Calibri"/>
              </a:rPr>
              <a:t>TEXT</a:t>
            </a:r>
          </a:p>
          <a:p>
            <a:pPr marL="395818" indent="-395818" defTabSz="1266610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en-US" sz="2245" dirty="0">
                <a:solidFill>
                  <a:prstClr val="black"/>
                </a:solidFill>
                <a:latin typeface="Calibri"/>
              </a:rPr>
              <a:t> </a:t>
            </a:r>
          </a:p>
          <a:p>
            <a:pPr marL="395818" indent="-395818" defTabSz="1266610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en-US" sz="2245" dirty="0">
                <a:solidFill>
                  <a:prstClr val="black"/>
                </a:solidFill>
                <a:latin typeface="Calibri"/>
              </a:rPr>
              <a:t> </a:t>
            </a:r>
          </a:p>
          <a:p>
            <a:pPr marL="395818" indent="-395818" defTabSz="1266610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en-US" sz="2245" dirty="0">
                <a:solidFill>
                  <a:prstClr val="black"/>
                </a:solidFill>
                <a:latin typeface="Calibri"/>
              </a:rPr>
              <a:t> 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8390485" y="5796212"/>
            <a:ext cx="5666027" cy="1509818"/>
          </a:xfrm>
          <a:prstGeom prst="rect">
            <a:avLst/>
          </a:prstGeom>
          <a:noFill/>
          <a:ln>
            <a:noFill/>
          </a:ln>
        </p:spPr>
        <p:txBody>
          <a:bodyPr wrap="square" lIns="126665" tIns="63332" rIns="126665" bIns="63332" rtlCol="0">
            <a:spAutoFit/>
          </a:bodyPr>
          <a:lstStyle/>
          <a:p>
            <a:pPr marL="395818" indent="-395818" defTabSz="1266610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en-US" sz="2245" dirty="0">
                <a:solidFill>
                  <a:prstClr val="black"/>
                </a:solidFill>
                <a:latin typeface="Calibri"/>
              </a:rPr>
              <a:t>TEXT</a:t>
            </a:r>
          </a:p>
          <a:p>
            <a:pPr marL="395818" indent="-395818" defTabSz="1266610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en-US" sz="2245" dirty="0">
                <a:solidFill>
                  <a:prstClr val="black"/>
                </a:solidFill>
                <a:latin typeface="Calibri"/>
              </a:rPr>
              <a:t> </a:t>
            </a:r>
          </a:p>
          <a:p>
            <a:pPr marL="395818" indent="-395818" defTabSz="1266610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en-US" sz="2245" dirty="0">
                <a:solidFill>
                  <a:prstClr val="black"/>
                </a:solidFill>
                <a:latin typeface="Calibri"/>
              </a:rPr>
              <a:t> </a:t>
            </a:r>
          </a:p>
          <a:p>
            <a:pPr marL="395818" indent="-395818" defTabSz="1266610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en-US" sz="2245" dirty="0">
                <a:solidFill>
                  <a:prstClr val="black"/>
                </a:solidFill>
                <a:latin typeface="Calibri"/>
              </a:rPr>
              <a:t> </a:t>
            </a:r>
          </a:p>
        </p:txBody>
      </p:sp>
      <p:sp>
        <p:nvSpPr>
          <p:cNvPr id="9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276394" y="1163648"/>
            <a:ext cx="14135451" cy="522775"/>
          </a:xfrm>
        </p:spPr>
        <p:txBody>
          <a:bodyPr/>
          <a:lstStyle>
            <a:lvl1pPr marL="0" indent="0">
              <a:buNone/>
              <a:defRPr sz="2245" b="1">
                <a:latin typeface="Arial" pitchFamily="34" charset="0"/>
                <a:cs typeface="Arial" pitchFamily="34" charset="0"/>
              </a:defRPr>
            </a:lvl1pPr>
            <a:lvl2pPr>
              <a:defRPr sz="1964">
                <a:latin typeface="Arial" pitchFamily="34" charset="0"/>
                <a:cs typeface="Arial" pitchFamily="34" charset="0"/>
              </a:defRPr>
            </a:lvl2pPr>
            <a:lvl3pPr marL="809569" indent="-269857">
              <a:buClr>
                <a:schemeClr val="tx2"/>
              </a:buClr>
              <a:buFont typeface="Wingdings" pitchFamily="2" charset="2"/>
              <a:buChar char="§"/>
              <a:defRPr sz="1684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228922997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33444" y="201216"/>
            <a:ext cx="5766928" cy="259530"/>
          </a:xfrm>
          <a:prstGeom prst="rect">
            <a:avLst/>
          </a:prstGeom>
        </p:spPr>
        <p:txBody>
          <a:bodyPr lIns="90269" tIns="45133" rIns="90269" bIns="45133"/>
          <a:lstStyle/>
          <a:p>
            <a:pPr>
              <a:defRPr/>
            </a:pPr>
            <a:endParaRPr lang="en-GB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61716" y="1796361"/>
            <a:ext cx="3536505" cy="3020859"/>
          </a:xfrm>
          <a:prstGeom prst="rect">
            <a:avLst/>
          </a:prstGeom>
          <a:solidFill>
            <a:srgbClr val="E2FFC5"/>
          </a:solidFill>
        </p:spPr>
        <p:txBody>
          <a:bodyPr wrap="square" lIns="126681" tIns="63338" rIns="126681" bIns="63338" anchor="ctr" anchorCtr="0">
            <a:normAutofit/>
          </a:bodyPr>
          <a:lstStyle/>
          <a:p>
            <a:pPr marL="371666" algn="just"/>
            <a:r>
              <a:rPr lang="en-IN" sz="2245" b="1" dirty="0">
                <a:solidFill>
                  <a:srgbClr val="000000"/>
                </a:solidFill>
                <a:latin typeface="Calibri"/>
              </a:rPr>
              <a:t>Text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4365982" y="1807013"/>
            <a:ext cx="3536505" cy="3020859"/>
          </a:xfrm>
          <a:prstGeom prst="rect">
            <a:avLst/>
          </a:prstGeom>
          <a:solidFill>
            <a:srgbClr val="E2FFC5"/>
          </a:solidFill>
        </p:spPr>
        <p:txBody>
          <a:bodyPr wrap="square" lIns="126681" tIns="63338" rIns="126681" bIns="63338" anchor="ctr" anchorCtr="0">
            <a:normAutofit/>
          </a:bodyPr>
          <a:lstStyle/>
          <a:p>
            <a:pPr marL="371666" algn="just"/>
            <a:r>
              <a:rPr lang="en-IN" sz="2245" b="1" dirty="0">
                <a:solidFill>
                  <a:srgbClr val="000000"/>
                </a:solidFill>
                <a:latin typeface="Calibri"/>
              </a:rPr>
              <a:t>Text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661716" y="4952137"/>
            <a:ext cx="3536505" cy="3020859"/>
          </a:xfrm>
          <a:prstGeom prst="rect">
            <a:avLst/>
          </a:prstGeom>
          <a:solidFill>
            <a:srgbClr val="E2FFC5"/>
          </a:solidFill>
        </p:spPr>
        <p:txBody>
          <a:bodyPr wrap="square" lIns="126681" tIns="63338" rIns="126681" bIns="63338" anchor="ctr" anchorCtr="0">
            <a:normAutofit/>
          </a:bodyPr>
          <a:lstStyle/>
          <a:p>
            <a:pPr marL="371666" algn="just"/>
            <a:r>
              <a:rPr lang="en-IN" sz="2245" b="1" dirty="0">
                <a:solidFill>
                  <a:srgbClr val="000000"/>
                </a:solidFill>
                <a:latin typeface="Calibri"/>
              </a:rPr>
              <a:t>Text</a:t>
            </a:r>
          </a:p>
        </p:txBody>
      </p:sp>
      <p:sp>
        <p:nvSpPr>
          <p:cNvPr id="8" name="Rectangle 7"/>
          <p:cNvSpPr/>
          <p:nvPr userDrawn="1"/>
        </p:nvSpPr>
        <p:spPr>
          <a:xfrm rot="425343">
            <a:off x="4537820" y="5048326"/>
            <a:ext cx="3435462" cy="293454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126681" tIns="63338" rIns="126681" bIns="63338" anchor="ctr" anchorCtr="0">
            <a:normAutofit/>
          </a:bodyPr>
          <a:lstStyle/>
          <a:p>
            <a:pPr marL="371666" algn="just"/>
            <a:r>
              <a:rPr lang="en-IN" sz="2245" b="1" dirty="0">
                <a:solidFill>
                  <a:srgbClr val="000000"/>
                </a:solidFill>
                <a:latin typeface="Calibri"/>
              </a:rPr>
              <a:t>Text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8390485" y="1782652"/>
            <a:ext cx="5666027" cy="1509818"/>
          </a:xfrm>
          <a:prstGeom prst="rect">
            <a:avLst/>
          </a:prstGeom>
          <a:noFill/>
          <a:ln>
            <a:noFill/>
          </a:ln>
        </p:spPr>
        <p:txBody>
          <a:bodyPr wrap="square" lIns="126665" tIns="63332" rIns="126665" bIns="63332" rtlCol="0">
            <a:spAutoFit/>
          </a:bodyPr>
          <a:lstStyle/>
          <a:p>
            <a:pPr marL="395818" indent="-395818" defTabSz="1266610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en-US" sz="2245" dirty="0">
                <a:solidFill>
                  <a:prstClr val="black"/>
                </a:solidFill>
                <a:latin typeface="Calibri"/>
              </a:rPr>
              <a:t>TEXT</a:t>
            </a:r>
          </a:p>
          <a:p>
            <a:pPr marL="395818" indent="-395818" defTabSz="1266610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en-US" sz="2245" dirty="0">
                <a:solidFill>
                  <a:prstClr val="black"/>
                </a:solidFill>
                <a:latin typeface="Calibri"/>
              </a:rPr>
              <a:t> </a:t>
            </a:r>
          </a:p>
          <a:p>
            <a:pPr marL="395818" indent="-395818" defTabSz="1266610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en-US" sz="2245" dirty="0">
                <a:solidFill>
                  <a:prstClr val="black"/>
                </a:solidFill>
                <a:latin typeface="Calibri"/>
              </a:rPr>
              <a:t> </a:t>
            </a:r>
          </a:p>
          <a:p>
            <a:pPr marL="395818" indent="-395818" defTabSz="1266610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en-US" sz="2245" dirty="0">
                <a:solidFill>
                  <a:prstClr val="black"/>
                </a:solidFill>
                <a:latin typeface="Calibri"/>
              </a:rPr>
              <a:t> </a:t>
            </a:r>
          </a:p>
        </p:txBody>
      </p:sp>
      <p:sp>
        <p:nvSpPr>
          <p:cNvPr id="10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276394" y="1163648"/>
            <a:ext cx="14135451" cy="522775"/>
          </a:xfrm>
        </p:spPr>
        <p:txBody>
          <a:bodyPr/>
          <a:lstStyle>
            <a:lvl1pPr marL="0" indent="0">
              <a:buNone/>
              <a:defRPr sz="2245" b="1">
                <a:latin typeface="Arial" pitchFamily="34" charset="0"/>
                <a:cs typeface="Arial" pitchFamily="34" charset="0"/>
              </a:defRPr>
            </a:lvl1pPr>
            <a:lvl2pPr>
              <a:defRPr sz="1964">
                <a:latin typeface="Arial" pitchFamily="34" charset="0"/>
                <a:cs typeface="Arial" pitchFamily="34" charset="0"/>
              </a:defRPr>
            </a:lvl2pPr>
            <a:lvl3pPr marL="809569" indent="-269857">
              <a:buClr>
                <a:schemeClr val="tx2"/>
              </a:buClr>
              <a:buFont typeface="Wingdings" pitchFamily="2" charset="2"/>
              <a:buChar char="§"/>
              <a:defRPr sz="1684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434754680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33444" y="201216"/>
            <a:ext cx="5766928" cy="259530"/>
          </a:xfrm>
          <a:prstGeom prst="rect">
            <a:avLst/>
          </a:prstGeom>
        </p:spPr>
        <p:txBody>
          <a:bodyPr lIns="90269" tIns="45133" rIns="90269" bIns="45133"/>
          <a:lstStyle/>
          <a:p>
            <a:pPr>
              <a:defRPr/>
            </a:pPr>
            <a:endParaRPr lang="en-GB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217168" y="1979686"/>
            <a:ext cx="4554387" cy="43155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2252" tIns="66127" rIns="132252" bIns="66127" rtlCol="0" anchor="ctr"/>
          <a:lstStyle/>
          <a:p>
            <a:pPr algn="ctr"/>
            <a:r>
              <a:rPr lang="en-IN" sz="1964" b="1" dirty="0">
                <a:solidFill>
                  <a:srgbClr val="000000"/>
                </a:solidFill>
              </a:rPr>
              <a:t>Description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828855" y="1962827"/>
            <a:ext cx="0" cy="6041718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>
            <a:off x="9711127" y="1979693"/>
            <a:ext cx="0" cy="6041718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 userDrawn="1"/>
        </p:nvSpPr>
        <p:spPr>
          <a:xfrm>
            <a:off x="183219" y="4672394"/>
            <a:ext cx="4554383" cy="125962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132252" tIns="66127" rIns="132252" bIns="66127">
            <a:spAutoFit/>
          </a:bodyPr>
          <a:lstStyle/>
          <a:p>
            <a:pPr marL="137759" indent="-137759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</a:pPr>
            <a:r>
              <a:rPr lang="en-GB" sz="1684" dirty="0">
                <a:solidFill>
                  <a:srgbClr val="000000"/>
                </a:solidFill>
                <a:latin typeface="Calibri"/>
              </a:rPr>
              <a:t>Text</a:t>
            </a:r>
          </a:p>
          <a:p>
            <a:pPr marL="137759" indent="-137759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</a:pPr>
            <a:endParaRPr lang="en-GB" sz="1684" dirty="0">
              <a:solidFill>
                <a:srgbClr val="000000"/>
              </a:solidFill>
              <a:latin typeface="Calibri"/>
            </a:endParaRPr>
          </a:p>
          <a:p>
            <a:pPr marL="137759" indent="-137759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</a:pPr>
            <a:endParaRPr lang="en-GB" sz="1684" dirty="0">
              <a:solidFill>
                <a:srgbClr val="000000"/>
              </a:solidFill>
              <a:latin typeface="Calibri"/>
            </a:endParaRPr>
          </a:p>
          <a:p>
            <a:pPr marL="137759" indent="-137759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</a:pPr>
            <a:endParaRPr lang="en-GB" sz="1684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217186" y="4069338"/>
            <a:ext cx="14138785" cy="43155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2252" tIns="66127" rIns="132252" bIns="66127" rtlCol="0" anchor="ctr"/>
          <a:lstStyle/>
          <a:p>
            <a:pPr algn="ctr">
              <a:buClr>
                <a:srgbClr val="3D7EDB"/>
              </a:buClr>
            </a:pPr>
            <a:r>
              <a:rPr lang="en-GB" sz="2245" b="1" dirty="0">
                <a:solidFill>
                  <a:srgbClr val="000000"/>
                </a:solidFill>
              </a:rPr>
              <a:t>Description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197431" y="2492234"/>
            <a:ext cx="4554383" cy="125962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132252" tIns="66127" rIns="132252" bIns="66127">
            <a:spAutoFit/>
          </a:bodyPr>
          <a:lstStyle/>
          <a:p>
            <a:pPr marL="137759" indent="-137759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</a:pPr>
            <a:r>
              <a:rPr lang="en-GB" sz="1684" dirty="0">
                <a:solidFill>
                  <a:srgbClr val="000000"/>
                </a:solidFill>
                <a:latin typeface="Calibri"/>
              </a:rPr>
              <a:t>Text</a:t>
            </a:r>
          </a:p>
          <a:p>
            <a:pPr marL="137759" indent="-137759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</a:pPr>
            <a:endParaRPr lang="en-GB" sz="1684" dirty="0">
              <a:solidFill>
                <a:srgbClr val="000000"/>
              </a:solidFill>
              <a:latin typeface="Calibri"/>
            </a:endParaRPr>
          </a:p>
          <a:p>
            <a:pPr marL="137759" indent="-137759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</a:pPr>
            <a:endParaRPr lang="en-GB" sz="1684" dirty="0">
              <a:solidFill>
                <a:srgbClr val="000000"/>
              </a:solidFill>
              <a:latin typeface="Calibri"/>
            </a:endParaRPr>
          </a:p>
          <a:p>
            <a:pPr marL="137759" indent="-137759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</a:pPr>
            <a:endParaRPr lang="en-GB" sz="1684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4927585" y="1979686"/>
            <a:ext cx="4733295" cy="43155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2252" tIns="66127" rIns="132252" bIns="66127" rtlCol="0" anchor="ctr"/>
          <a:lstStyle/>
          <a:p>
            <a:pPr algn="ctr"/>
            <a:r>
              <a:rPr lang="en-IN" sz="1964" b="1" dirty="0">
                <a:solidFill>
                  <a:srgbClr val="000000"/>
                </a:solidFill>
              </a:rPr>
              <a:t>Description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4893622" y="4672394"/>
            <a:ext cx="4733291" cy="125962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132252" tIns="66127" rIns="132252" bIns="66127">
            <a:spAutoFit/>
          </a:bodyPr>
          <a:lstStyle/>
          <a:p>
            <a:pPr marL="137759" indent="-137759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</a:pPr>
            <a:r>
              <a:rPr lang="en-GB" sz="1684" dirty="0">
                <a:solidFill>
                  <a:srgbClr val="000000"/>
                </a:solidFill>
                <a:latin typeface="Calibri"/>
              </a:rPr>
              <a:t>Text</a:t>
            </a:r>
          </a:p>
          <a:p>
            <a:pPr marL="137759" indent="-137759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</a:pPr>
            <a:endParaRPr lang="en-GB" sz="1684" dirty="0">
              <a:solidFill>
                <a:srgbClr val="000000"/>
              </a:solidFill>
              <a:latin typeface="Calibri"/>
            </a:endParaRPr>
          </a:p>
          <a:p>
            <a:pPr marL="137759" indent="-137759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</a:pPr>
            <a:endParaRPr lang="en-GB" sz="1684" dirty="0">
              <a:solidFill>
                <a:srgbClr val="000000"/>
              </a:solidFill>
              <a:latin typeface="Calibri"/>
            </a:endParaRPr>
          </a:p>
          <a:p>
            <a:pPr marL="137759" indent="-137759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</a:pPr>
            <a:endParaRPr lang="en-GB" sz="1684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9" name="Rectangle 18"/>
          <p:cNvSpPr/>
          <p:nvPr userDrawn="1"/>
        </p:nvSpPr>
        <p:spPr>
          <a:xfrm>
            <a:off x="4907844" y="2492234"/>
            <a:ext cx="4733291" cy="125962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132252" tIns="66127" rIns="132252" bIns="66127">
            <a:spAutoFit/>
          </a:bodyPr>
          <a:lstStyle/>
          <a:p>
            <a:pPr marL="137759" indent="-137759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</a:pPr>
            <a:r>
              <a:rPr lang="en-GB" sz="1684" dirty="0">
                <a:solidFill>
                  <a:srgbClr val="000000"/>
                </a:solidFill>
                <a:latin typeface="Calibri"/>
              </a:rPr>
              <a:t>Text</a:t>
            </a:r>
          </a:p>
          <a:p>
            <a:pPr marL="137759" indent="-137759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</a:pPr>
            <a:endParaRPr lang="en-GB" sz="1684" dirty="0">
              <a:solidFill>
                <a:srgbClr val="000000"/>
              </a:solidFill>
              <a:latin typeface="Calibri"/>
            </a:endParaRPr>
          </a:p>
          <a:p>
            <a:pPr marL="137759" indent="-137759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</a:pPr>
            <a:endParaRPr lang="en-GB" sz="1684" dirty="0">
              <a:solidFill>
                <a:srgbClr val="000000"/>
              </a:solidFill>
              <a:latin typeface="Calibri"/>
            </a:endParaRPr>
          </a:p>
          <a:p>
            <a:pPr marL="137759" indent="-137759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</a:pPr>
            <a:endParaRPr lang="en-GB" sz="1684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20" name="Rectangle 19"/>
          <p:cNvSpPr/>
          <p:nvPr userDrawn="1"/>
        </p:nvSpPr>
        <p:spPr>
          <a:xfrm>
            <a:off x="9835518" y="1979686"/>
            <a:ext cx="4554387" cy="43155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2252" tIns="66127" rIns="132252" bIns="66127" rtlCol="0" anchor="ctr"/>
          <a:lstStyle/>
          <a:p>
            <a:pPr algn="ctr"/>
            <a:r>
              <a:rPr lang="en-IN" sz="1964" b="1" dirty="0">
                <a:solidFill>
                  <a:srgbClr val="000000"/>
                </a:solidFill>
              </a:rPr>
              <a:t>Description</a:t>
            </a:r>
          </a:p>
        </p:txBody>
      </p:sp>
      <p:sp>
        <p:nvSpPr>
          <p:cNvPr id="21" name="Rectangle 20"/>
          <p:cNvSpPr/>
          <p:nvPr userDrawn="1"/>
        </p:nvSpPr>
        <p:spPr>
          <a:xfrm>
            <a:off x="9801568" y="4672394"/>
            <a:ext cx="4554383" cy="125962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132252" tIns="66127" rIns="132252" bIns="66127">
            <a:spAutoFit/>
          </a:bodyPr>
          <a:lstStyle/>
          <a:p>
            <a:pPr marL="137759" indent="-137759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</a:pPr>
            <a:r>
              <a:rPr lang="en-GB" sz="1684" dirty="0">
                <a:solidFill>
                  <a:srgbClr val="000000"/>
                </a:solidFill>
                <a:latin typeface="Calibri"/>
              </a:rPr>
              <a:t>Text</a:t>
            </a:r>
          </a:p>
          <a:p>
            <a:pPr marL="137759" indent="-137759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</a:pPr>
            <a:endParaRPr lang="en-GB" sz="1684" dirty="0">
              <a:solidFill>
                <a:srgbClr val="000000"/>
              </a:solidFill>
              <a:latin typeface="Calibri"/>
            </a:endParaRPr>
          </a:p>
          <a:p>
            <a:pPr marL="137759" indent="-137759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</a:pPr>
            <a:endParaRPr lang="en-GB" sz="1684" dirty="0">
              <a:solidFill>
                <a:srgbClr val="000000"/>
              </a:solidFill>
              <a:latin typeface="Calibri"/>
            </a:endParaRPr>
          </a:p>
          <a:p>
            <a:pPr marL="137759" indent="-137759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</a:pPr>
            <a:endParaRPr lang="en-GB" sz="1684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22" name="Rectangle 21"/>
          <p:cNvSpPr/>
          <p:nvPr userDrawn="1"/>
        </p:nvSpPr>
        <p:spPr>
          <a:xfrm>
            <a:off x="9815780" y="2492234"/>
            <a:ext cx="4554383" cy="125962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132252" tIns="66127" rIns="132252" bIns="66127">
            <a:spAutoFit/>
          </a:bodyPr>
          <a:lstStyle/>
          <a:p>
            <a:pPr marL="137759" indent="-137759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</a:pPr>
            <a:r>
              <a:rPr lang="en-GB" sz="1684" dirty="0">
                <a:solidFill>
                  <a:srgbClr val="000000"/>
                </a:solidFill>
                <a:latin typeface="Calibri"/>
              </a:rPr>
              <a:t>Text</a:t>
            </a:r>
          </a:p>
          <a:p>
            <a:pPr marL="137759" indent="-137759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</a:pPr>
            <a:endParaRPr lang="en-GB" sz="1684" dirty="0">
              <a:solidFill>
                <a:srgbClr val="000000"/>
              </a:solidFill>
              <a:latin typeface="Calibri"/>
            </a:endParaRPr>
          </a:p>
          <a:p>
            <a:pPr marL="137759" indent="-137759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</a:pPr>
            <a:endParaRPr lang="en-GB" sz="1684" dirty="0">
              <a:solidFill>
                <a:srgbClr val="000000"/>
              </a:solidFill>
              <a:latin typeface="Calibri"/>
            </a:endParaRPr>
          </a:p>
          <a:p>
            <a:pPr marL="137759" indent="-137759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</a:pPr>
            <a:endParaRPr lang="en-GB" sz="1684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24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276394" y="1163648"/>
            <a:ext cx="14135451" cy="522775"/>
          </a:xfrm>
        </p:spPr>
        <p:txBody>
          <a:bodyPr/>
          <a:lstStyle>
            <a:lvl1pPr marL="0" indent="0">
              <a:buNone/>
              <a:defRPr sz="2245" b="1">
                <a:latin typeface="Arial" pitchFamily="34" charset="0"/>
                <a:cs typeface="Arial" pitchFamily="34" charset="0"/>
              </a:defRPr>
            </a:lvl1pPr>
            <a:lvl2pPr>
              <a:defRPr sz="1964">
                <a:latin typeface="Arial" pitchFamily="34" charset="0"/>
                <a:cs typeface="Arial" pitchFamily="34" charset="0"/>
              </a:defRPr>
            </a:lvl2pPr>
            <a:lvl3pPr marL="809569" indent="-269857">
              <a:buClr>
                <a:schemeClr val="tx2"/>
              </a:buClr>
              <a:buFont typeface="Wingdings" pitchFamily="2" charset="2"/>
              <a:buChar char="§"/>
              <a:defRPr sz="1684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602095893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33444" y="201216"/>
            <a:ext cx="5766928" cy="259530"/>
          </a:xfrm>
          <a:prstGeom prst="rect">
            <a:avLst/>
          </a:prstGeom>
        </p:spPr>
        <p:txBody>
          <a:bodyPr lIns="90269" tIns="45133" rIns="90269" bIns="45133"/>
          <a:lstStyle/>
          <a:p>
            <a:pPr>
              <a:defRPr/>
            </a:pPr>
            <a:endParaRPr lang="en-GB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5" name="Rectangle 4"/>
          <p:cNvSpPr>
            <a:spLocks noChangeArrowheads="1"/>
          </p:cNvSpPr>
          <p:nvPr userDrawn="1"/>
        </p:nvSpPr>
        <p:spPr bwMode="gray">
          <a:xfrm>
            <a:off x="473434" y="1545530"/>
            <a:ext cx="13621930" cy="561017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352410" tIns="100685" rIns="100685" bIns="100685" anchor="ctr"/>
          <a:lstStyle/>
          <a:p>
            <a:pPr marL="475028" indent="-475028" eaLnBrk="0" hangingPunct="0">
              <a:spcBef>
                <a:spcPct val="25000"/>
              </a:spcBef>
              <a:buFont typeface="+mj-lt"/>
              <a:buAutoNum type="arabicPeriod"/>
              <a:defRPr/>
            </a:pPr>
            <a:r>
              <a:rPr lang="en-US" sz="2245" dirty="0">
                <a:solidFill>
                  <a:srgbClr val="000000"/>
                </a:solidFill>
                <a:latin typeface="Calibri"/>
              </a:rPr>
              <a:t>Text</a:t>
            </a:r>
            <a:endParaRPr lang="en-IN" sz="2245" noProof="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gray">
          <a:xfrm>
            <a:off x="473434" y="2310210"/>
            <a:ext cx="13621930" cy="561017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352410" tIns="100685" rIns="100685" bIns="100685" anchor="ctr"/>
          <a:lstStyle/>
          <a:p>
            <a:pPr eaLnBrk="0" hangingPunct="0">
              <a:spcBef>
                <a:spcPct val="25000"/>
              </a:spcBef>
              <a:defRPr/>
            </a:pPr>
            <a:endParaRPr lang="en-US" sz="2245" dirty="0">
              <a:solidFill>
                <a:srgbClr val="000000"/>
              </a:solidFill>
              <a:latin typeface="Calibri"/>
            </a:endParaRPr>
          </a:p>
          <a:p>
            <a:pPr marL="475028" indent="-475028" eaLnBrk="0" hangingPunct="0">
              <a:spcBef>
                <a:spcPct val="25000"/>
              </a:spcBef>
              <a:buFont typeface="+mj-lt"/>
              <a:buAutoNum type="arabicPeriod" startAt="2"/>
              <a:defRPr/>
            </a:pPr>
            <a:r>
              <a:rPr lang="en-US" sz="2245" dirty="0">
                <a:solidFill>
                  <a:srgbClr val="000000"/>
                </a:solidFill>
                <a:latin typeface="Calibri"/>
              </a:rPr>
              <a:t>Text</a:t>
            </a:r>
          </a:p>
          <a:p>
            <a:pPr eaLnBrk="0" hangingPunct="0">
              <a:spcBef>
                <a:spcPct val="25000"/>
              </a:spcBef>
              <a:defRPr/>
            </a:pPr>
            <a:endParaRPr lang="en-US" sz="2245" noProof="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gray">
          <a:xfrm>
            <a:off x="473434" y="3074889"/>
            <a:ext cx="13621930" cy="561017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352410" tIns="100685" rIns="100685" bIns="100685" anchor="ctr"/>
          <a:lstStyle/>
          <a:p>
            <a:pPr eaLnBrk="0" hangingPunct="0">
              <a:spcBef>
                <a:spcPct val="25000"/>
              </a:spcBef>
              <a:defRPr/>
            </a:pPr>
            <a:endParaRPr lang="en-US" sz="2245" dirty="0">
              <a:solidFill>
                <a:srgbClr val="000000"/>
              </a:solidFill>
              <a:latin typeface="Calibri"/>
            </a:endParaRPr>
          </a:p>
          <a:p>
            <a:pPr marL="475028" indent="-475028" eaLnBrk="0" hangingPunct="0">
              <a:spcBef>
                <a:spcPct val="25000"/>
              </a:spcBef>
              <a:buFont typeface="+mj-lt"/>
              <a:buAutoNum type="arabicPeriod" startAt="3"/>
              <a:defRPr/>
            </a:pPr>
            <a:r>
              <a:rPr lang="en-US" sz="2245" dirty="0">
                <a:solidFill>
                  <a:srgbClr val="000000"/>
                </a:solidFill>
                <a:latin typeface="Calibri"/>
              </a:rPr>
              <a:t>Text</a:t>
            </a:r>
          </a:p>
          <a:p>
            <a:pPr eaLnBrk="0" hangingPunct="0">
              <a:spcBef>
                <a:spcPct val="25000"/>
              </a:spcBef>
              <a:defRPr/>
            </a:pPr>
            <a:endParaRPr lang="en-US" sz="2245" noProof="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gray">
          <a:xfrm>
            <a:off x="473434" y="4604249"/>
            <a:ext cx="13621930" cy="561017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352410" tIns="100685" rIns="100685" bIns="100685" anchor="ctr"/>
          <a:lstStyle/>
          <a:p>
            <a:pPr eaLnBrk="0" hangingPunct="0">
              <a:spcBef>
                <a:spcPct val="25000"/>
              </a:spcBef>
              <a:defRPr/>
            </a:pPr>
            <a:endParaRPr lang="en-US" sz="2245" dirty="0">
              <a:solidFill>
                <a:srgbClr val="000000"/>
              </a:solidFill>
              <a:latin typeface="Calibri"/>
            </a:endParaRPr>
          </a:p>
          <a:p>
            <a:pPr marL="475028" indent="-475028" eaLnBrk="0" hangingPunct="0">
              <a:spcBef>
                <a:spcPct val="25000"/>
              </a:spcBef>
              <a:buFont typeface="+mj-lt"/>
              <a:buAutoNum type="arabicPeriod" startAt="5"/>
              <a:defRPr/>
            </a:pPr>
            <a:r>
              <a:rPr lang="en-US" sz="2245" dirty="0">
                <a:solidFill>
                  <a:srgbClr val="000000"/>
                </a:solidFill>
                <a:latin typeface="Calibri"/>
              </a:rPr>
              <a:t>Text</a:t>
            </a:r>
          </a:p>
          <a:p>
            <a:pPr eaLnBrk="0" hangingPunct="0">
              <a:spcBef>
                <a:spcPct val="25000"/>
              </a:spcBef>
              <a:defRPr/>
            </a:pPr>
            <a:endParaRPr lang="en-US" sz="2245" noProof="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gray">
          <a:xfrm>
            <a:off x="473434" y="3839569"/>
            <a:ext cx="13621930" cy="561017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352410" tIns="100685" rIns="100685" bIns="100685" anchor="ctr"/>
          <a:lstStyle/>
          <a:p>
            <a:pPr marL="475028" indent="-475028" eaLnBrk="0" hangingPunct="0">
              <a:spcBef>
                <a:spcPct val="25000"/>
              </a:spcBef>
              <a:buFont typeface="+mj-lt"/>
              <a:buAutoNum type="arabicPeriod" startAt="4"/>
              <a:defRPr/>
            </a:pPr>
            <a:r>
              <a:rPr lang="en-US" sz="2245" dirty="0">
                <a:solidFill>
                  <a:srgbClr val="000000"/>
                </a:solidFill>
                <a:latin typeface="Calibri"/>
              </a:rPr>
              <a:t>Text</a:t>
            </a:r>
            <a:endParaRPr lang="en-US" sz="2245" noProof="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gray">
          <a:xfrm>
            <a:off x="473434" y="5368929"/>
            <a:ext cx="13621930" cy="561017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352410" tIns="100685" rIns="100685" bIns="100685" anchor="ctr"/>
          <a:lstStyle/>
          <a:p>
            <a:pPr marL="475028" indent="-475028" eaLnBrk="0" hangingPunct="0">
              <a:spcBef>
                <a:spcPct val="25000"/>
              </a:spcBef>
              <a:buFont typeface="+mj-lt"/>
              <a:buAutoNum type="arabicPeriod" startAt="6"/>
              <a:defRPr/>
            </a:pPr>
            <a:r>
              <a:rPr lang="en-US" sz="2245" dirty="0">
                <a:solidFill>
                  <a:srgbClr val="000000"/>
                </a:solidFill>
                <a:latin typeface="Calibri"/>
              </a:rPr>
              <a:t>Text</a:t>
            </a:r>
            <a:endParaRPr lang="en-US" sz="2245" noProof="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1" name="Rectangle 4"/>
          <p:cNvSpPr>
            <a:spLocks noChangeArrowheads="1"/>
          </p:cNvSpPr>
          <p:nvPr userDrawn="1"/>
        </p:nvSpPr>
        <p:spPr bwMode="gray">
          <a:xfrm>
            <a:off x="473434" y="6133608"/>
            <a:ext cx="13621930" cy="561017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352410" tIns="100685" rIns="100685" bIns="100685" anchor="ctr"/>
          <a:lstStyle/>
          <a:p>
            <a:pPr eaLnBrk="0" hangingPunct="0">
              <a:spcBef>
                <a:spcPct val="25000"/>
              </a:spcBef>
              <a:defRPr/>
            </a:pPr>
            <a:endParaRPr lang="en-US" sz="2245" dirty="0">
              <a:solidFill>
                <a:srgbClr val="000000"/>
              </a:solidFill>
              <a:latin typeface="Calibri"/>
            </a:endParaRPr>
          </a:p>
          <a:p>
            <a:pPr marL="475028" indent="-475028" eaLnBrk="0" hangingPunct="0">
              <a:spcBef>
                <a:spcPct val="25000"/>
              </a:spcBef>
              <a:buFont typeface="+mj-lt"/>
              <a:buAutoNum type="arabicPeriod" startAt="7"/>
              <a:defRPr/>
            </a:pPr>
            <a:r>
              <a:rPr lang="en-US" sz="2245" dirty="0">
                <a:solidFill>
                  <a:srgbClr val="000000"/>
                </a:solidFill>
                <a:latin typeface="Calibri"/>
              </a:rPr>
              <a:t>Text</a:t>
            </a:r>
          </a:p>
          <a:p>
            <a:pPr eaLnBrk="0" hangingPunct="0">
              <a:spcBef>
                <a:spcPct val="25000"/>
              </a:spcBef>
              <a:defRPr/>
            </a:pPr>
            <a:endParaRPr lang="en-US" sz="2245" noProof="1">
              <a:solidFill>
                <a:srgbClr val="00000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323967118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33444" y="201216"/>
            <a:ext cx="5766928" cy="259530"/>
          </a:xfrm>
          <a:prstGeom prst="rect">
            <a:avLst/>
          </a:prstGeom>
        </p:spPr>
        <p:txBody>
          <a:bodyPr lIns="90269" tIns="45133" rIns="90269" bIns="45133"/>
          <a:lstStyle/>
          <a:p>
            <a:pPr>
              <a:defRPr/>
            </a:pPr>
            <a:endParaRPr lang="en-GB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2" name="Content Placeholder 22"/>
          <p:cNvSpPr>
            <a:spLocks noGrp="1"/>
          </p:cNvSpPr>
          <p:nvPr userDrawn="1"/>
        </p:nvSpPr>
        <p:spPr bwMode="auto">
          <a:xfrm>
            <a:off x="2297700" y="1724863"/>
            <a:ext cx="11590737" cy="1206010"/>
          </a:xfrm>
          <a:prstGeom prst="rect">
            <a:avLst/>
          </a:prstGeom>
          <a:solidFill>
            <a:srgbClr val="00B0F0">
              <a:lumMod val="20000"/>
              <a:lumOff val="80000"/>
            </a:srgbClr>
          </a:solidFill>
          <a:ln w="12700">
            <a:solidFill>
              <a:srgbClr val="00B0F0"/>
            </a:solidFill>
            <a:miter lim="800000"/>
            <a:headEnd/>
            <a:tailEnd/>
          </a:ln>
          <a:effectLst/>
        </p:spPr>
        <p:txBody>
          <a:bodyPr vert="horz" wrap="square" lIns="506715" tIns="63338" rIns="63338" bIns="63338" numCol="1" anchor="ctr" anchorCtr="0" compatLnSpc="1">
            <a:prstTxWarp prst="textNoShape">
              <a:avLst/>
            </a:prstTxWarp>
          </a:bodyPr>
          <a:lstStyle>
            <a:lvl1pPr marL="228600" indent="-228600" algn="l" defTabSz="1019175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4080"/>
              </a:buClr>
              <a:buSzPct val="90000"/>
              <a:buFont typeface="Wingdings" pitchFamily="2" charset="2"/>
              <a:buChar char="n"/>
              <a:defRPr sz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390525" indent="-142875" algn="l" defTabSz="1019175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4080"/>
              </a:buClr>
              <a:buSzPct val="100000"/>
              <a:buFont typeface="Arial" pitchFamily="34" charset="0"/>
              <a:buChar char="–"/>
              <a:defRPr sz="1100">
                <a:solidFill>
                  <a:srgbClr val="000000"/>
                </a:solidFill>
                <a:latin typeface="+mn-lt"/>
              </a:defRPr>
            </a:lvl2pPr>
            <a:lvl3pPr marL="504825" indent="-104775" algn="l" defTabSz="1019175" rtl="0" eaLnBrk="1" fontAlgn="base" hangingPunct="1">
              <a:spcBef>
                <a:spcPts val="200"/>
              </a:spcBef>
              <a:spcAft>
                <a:spcPct val="0"/>
              </a:spcAft>
              <a:buClr>
                <a:srgbClr val="004080"/>
              </a:buClr>
              <a:buSzPct val="100000"/>
              <a:buFont typeface="Wingdings" pitchFamily="2" charset="2"/>
              <a:buChar char="w"/>
              <a:defRPr sz="1000">
                <a:solidFill>
                  <a:srgbClr val="000000"/>
                </a:solidFill>
                <a:latin typeface="+mn-lt"/>
              </a:defRPr>
            </a:lvl3pPr>
            <a:lvl4pPr marL="904875" indent="-212725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4pPr>
            <a:lvl5pPr marL="11477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5pPr>
            <a:lvl6pPr marL="16049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6pPr>
            <a:lvl7pPr marL="20621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7pPr>
            <a:lvl8pPr marL="25193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8pPr>
            <a:lvl9pPr marL="29765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316687" indent="-316687" defTabSz="1411891">
              <a:spcBef>
                <a:spcPts val="831"/>
              </a:spcBef>
              <a:defRPr/>
            </a:pPr>
            <a:r>
              <a:rPr lang="en-US" sz="1964" kern="0" dirty="0"/>
              <a:t>Sample 1</a:t>
            </a:r>
          </a:p>
          <a:p>
            <a:pPr marL="541005" lvl="1" indent="-197929" defTabSz="1411891">
              <a:spcBef>
                <a:spcPts val="555"/>
              </a:spcBef>
              <a:defRPr/>
            </a:pPr>
            <a:r>
              <a:rPr lang="en-US" sz="1964" kern="0" dirty="0"/>
              <a:t>Sample 2</a:t>
            </a:r>
          </a:p>
          <a:p>
            <a:pPr marL="699349" lvl="2" indent="-145147" defTabSz="1411891">
              <a:spcBef>
                <a:spcPts val="277"/>
              </a:spcBef>
              <a:defRPr/>
            </a:pPr>
            <a:r>
              <a:rPr lang="en-US" sz="1964" kern="0" dirty="0"/>
              <a:t>Sample 3</a:t>
            </a:r>
          </a:p>
        </p:txBody>
      </p:sp>
      <p:sp>
        <p:nvSpPr>
          <p:cNvPr id="14" name="Oval 13"/>
          <p:cNvSpPr/>
          <p:nvPr userDrawn="1"/>
        </p:nvSpPr>
        <p:spPr>
          <a:xfrm>
            <a:off x="1140672" y="1650044"/>
            <a:ext cx="1594165" cy="1364560"/>
          </a:xfrm>
          <a:prstGeom prst="ellipse">
            <a:avLst/>
          </a:prstGeom>
          <a:solidFill>
            <a:srgbClr val="00B0F0"/>
          </a:solidFill>
          <a:ln w="6350" cap="flat" cmpd="sng" algn="ctr">
            <a:solidFill>
              <a:srgbClr val="00B0F0"/>
            </a:solidFill>
            <a:prstDash val="solid"/>
          </a:ln>
          <a:effectLst/>
        </p:spPr>
        <p:txBody>
          <a:bodyPr lIns="126681" tIns="63338" rIns="126681" bIns="63338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266745">
              <a:defRPr/>
            </a:pPr>
            <a:r>
              <a:rPr lang="en-US" sz="1964" b="1" dirty="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17" name="Content Placeholder 22"/>
          <p:cNvSpPr>
            <a:spLocks noGrp="1"/>
          </p:cNvSpPr>
          <p:nvPr userDrawn="1"/>
        </p:nvSpPr>
        <p:spPr bwMode="auto">
          <a:xfrm>
            <a:off x="2907992" y="3508266"/>
            <a:ext cx="10919344" cy="1206010"/>
          </a:xfrm>
          <a:prstGeom prst="rect">
            <a:avLst/>
          </a:prstGeom>
          <a:solidFill>
            <a:srgbClr val="00B0F0">
              <a:lumMod val="20000"/>
              <a:lumOff val="80000"/>
            </a:srgbClr>
          </a:solidFill>
          <a:ln w="12700">
            <a:solidFill>
              <a:srgbClr val="00B0F0"/>
            </a:solidFill>
            <a:miter lim="800000"/>
            <a:headEnd/>
            <a:tailEnd/>
          </a:ln>
          <a:effectLst/>
        </p:spPr>
        <p:txBody>
          <a:bodyPr vert="horz" wrap="square" lIns="506715" tIns="63338" rIns="63338" bIns="63338" numCol="1" anchor="ctr" anchorCtr="0" compatLnSpc="1">
            <a:prstTxWarp prst="textNoShape">
              <a:avLst/>
            </a:prstTxWarp>
          </a:bodyPr>
          <a:lstStyle>
            <a:lvl1pPr marL="228600" indent="-228600" algn="l" defTabSz="1019175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4080"/>
              </a:buClr>
              <a:buSzPct val="90000"/>
              <a:buFont typeface="Wingdings" pitchFamily="2" charset="2"/>
              <a:buChar char="n"/>
              <a:defRPr sz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390525" indent="-142875" algn="l" defTabSz="1019175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4080"/>
              </a:buClr>
              <a:buSzPct val="100000"/>
              <a:buFont typeface="Arial" pitchFamily="34" charset="0"/>
              <a:buChar char="–"/>
              <a:defRPr sz="1100">
                <a:solidFill>
                  <a:srgbClr val="000000"/>
                </a:solidFill>
                <a:latin typeface="+mn-lt"/>
              </a:defRPr>
            </a:lvl2pPr>
            <a:lvl3pPr marL="504825" indent="-104775" algn="l" defTabSz="1019175" rtl="0" eaLnBrk="1" fontAlgn="base" hangingPunct="1">
              <a:spcBef>
                <a:spcPts val="200"/>
              </a:spcBef>
              <a:spcAft>
                <a:spcPct val="0"/>
              </a:spcAft>
              <a:buClr>
                <a:srgbClr val="004080"/>
              </a:buClr>
              <a:buSzPct val="100000"/>
              <a:buFont typeface="Wingdings" pitchFamily="2" charset="2"/>
              <a:buChar char="w"/>
              <a:defRPr sz="1000">
                <a:solidFill>
                  <a:srgbClr val="000000"/>
                </a:solidFill>
                <a:latin typeface="+mn-lt"/>
              </a:defRPr>
            </a:lvl3pPr>
            <a:lvl4pPr marL="904875" indent="-212725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4pPr>
            <a:lvl5pPr marL="11477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5pPr>
            <a:lvl6pPr marL="16049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6pPr>
            <a:lvl7pPr marL="20621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7pPr>
            <a:lvl8pPr marL="25193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8pPr>
            <a:lvl9pPr marL="29765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316687" indent="-316687" defTabSz="1411891">
              <a:spcBef>
                <a:spcPts val="831"/>
              </a:spcBef>
              <a:defRPr/>
            </a:pPr>
            <a:r>
              <a:rPr lang="en-US" sz="1964" kern="0" dirty="0"/>
              <a:t>Sample 1</a:t>
            </a:r>
          </a:p>
          <a:p>
            <a:pPr marL="541005" lvl="1" indent="-197929" defTabSz="1411891">
              <a:spcBef>
                <a:spcPts val="555"/>
              </a:spcBef>
              <a:defRPr/>
            </a:pPr>
            <a:r>
              <a:rPr lang="en-US" sz="1964" kern="0" dirty="0"/>
              <a:t>Sample 2</a:t>
            </a:r>
          </a:p>
          <a:p>
            <a:pPr marL="699349" lvl="2" indent="-145147" defTabSz="1411891">
              <a:spcBef>
                <a:spcPts val="277"/>
              </a:spcBef>
              <a:defRPr/>
            </a:pPr>
            <a:r>
              <a:rPr lang="en-US" sz="1964" kern="0" dirty="0"/>
              <a:t>Sample 3</a:t>
            </a:r>
          </a:p>
        </p:txBody>
      </p:sp>
      <p:sp>
        <p:nvSpPr>
          <p:cNvPr id="18" name="Oval 17"/>
          <p:cNvSpPr/>
          <p:nvPr userDrawn="1"/>
        </p:nvSpPr>
        <p:spPr>
          <a:xfrm>
            <a:off x="1750955" y="3433498"/>
            <a:ext cx="1594165" cy="1364560"/>
          </a:xfrm>
          <a:prstGeom prst="ellipse">
            <a:avLst/>
          </a:prstGeom>
          <a:solidFill>
            <a:srgbClr val="00B0F0"/>
          </a:solidFill>
          <a:ln w="6350" cap="flat" cmpd="sng" algn="ctr">
            <a:solidFill>
              <a:srgbClr val="00B0F0"/>
            </a:solidFill>
            <a:prstDash val="solid"/>
          </a:ln>
          <a:effectLst/>
        </p:spPr>
        <p:txBody>
          <a:bodyPr lIns="126681" tIns="63338" rIns="126681" bIns="63338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266745">
              <a:defRPr/>
            </a:pPr>
            <a:r>
              <a:rPr lang="en-US" sz="1964" b="1" dirty="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19" name="Content Placeholder 22"/>
          <p:cNvSpPr>
            <a:spLocks noGrp="1"/>
          </p:cNvSpPr>
          <p:nvPr userDrawn="1"/>
        </p:nvSpPr>
        <p:spPr bwMode="auto">
          <a:xfrm>
            <a:off x="2408958" y="5378668"/>
            <a:ext cx="11438760" cy="1206010"/>
          </a:xfrm>
          <a:prstGeom prst="rect">
            <a:avLst/>
          </a:prstGeom>
          <a:solidFill>
            <a:srgbClr val="00B0F0">
              <a:lumMod val="20000"/>
              <a:lumOff val="80000"/>
            </a:srgbClr>
          </a:solidFill>
          <a:ln w="12700">
            <a:solidFill>
              <a:srgbClr val="00B0F0"/>
            </a:solidFill>
            <a:miter lim="800000"/>
            <a:headEnd/>
            <a:tailEnd/>
          </a:ln>
          <a:effectLst/>
        </p:spPr>
        <p:txBody>
          <a:bodyPr vert="horz" wrap="square" lIns="506715" tIns="63338" rIns="63338" bIns="63338" numCol="1" anchor="ctr" anchorCtr="0" compatLnSpc="1">
            <a:prstTxWarp prst="textNoShape">
              <a:avLst/>
            </a:prstTxWarp>
          </a:bodyPr>
          <a:lstStyle>
            <a:lvl1pPr marL="228600" indent="-228600" algn="l" defTabSz="1019175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4080"/>
              </a:buClr>
              <a:buSzPct val="90000"/>
              <a:buFont typeface="Wingdings" pitchFamily="2" charset="2"/>
              <a:buChar char="n"/>
              <a:defRPr sz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390525" indent="-142875" algn="l" defTabSz="1019175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4080"/>
              </a:buClr>
              <a:buSzPct val="100000"/>
              <a:buFont typeface="Arial" pitchFamily="34" charset="0"/>
              <a:buChar char="–"/>
              <a:defRPr sz="1100">
                <a:solidFill>
                  <a:srgbClr val="000000"/>
                </a:solidFill>
                <a:latin typeface="+mn-lt"/>
              </a:defRPr>
            </a:lvl2pPr>
            <a:lvl3pPr marL="504825" indent="-104775" algn="l" defTabSz="1019175" rtl="0" eaLnBrk="1" fontAlgn="base" hangingPunct="1">
              <a:spcBef>
                <a:spcPts val="200"/>
              </a:spcBef>
              <a:spcAft>
                <a:spcPct val="0"/>
              </a:spcAft>
              <a:buClr>
                <a:srgbClr val="004080"/>
              </a:buClr>
              <a:buSzPct val="100000"/>
              <a:buFont typeface="Wingdings" pitchFamily="2" charset="2"/>
              <a:buChar char="w"/>
              <a:defRPr sz="1000">
                <a:solidFill>
                  <a:srgbClr val="000000"/>
                </a:solidFill>
                <a:latin typeface="+mn-lt"/>
              </a:defRPr>
            </a:lvl3pPr>
            <a:lvl4pPr marL="904875" indent="-212725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4pPr>
            <a:lvl5pPr marL="11477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5pPr>
            <a:lvl6pPr marL="16049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6pPr>
            <a:lvl7pPr marL="20621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7pPr>
            <a:lvl8pPr marL="25193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8pPr>
            <a:lvl9pPr marL="2976563" indent="-241300" algn="l" defTabSz="1019175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66666"/>
              </a:buClr>
              <a:buSzPct val="70000"/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316687" indent="-316687" defTabSz="1411891">
              <a:spcBef>
                <a:spcPts val="831"/>
              </a:spcBef>
              <a:defRPr/>
            </a:pPr>
            <a:r>
              <a:rPr lang="en-US" sz="1964" kern="0" dirty="0"/>
              <a:t>Sample 1</a:t>
            </a:r>
          </a:p>
          <a:p>
            <a:pPr marL="541005" lvl="1" indent="-197929" defTabSz="1411891">
              <a:spcBef>
                <a:spcPts val="555"/>
              </a:spcBef>
              <a:defRPr/>
            </a:pPr>
            <a:r>
              <a:rPr lang="en-US" sz="1964" kern="0" dirty="0"/>
              <a:t>Sample 2</a:t>
            </a:r>
          </a:p>
          <a:p>
            <a:pPr marL="699349" lvl="2" indent="-145147" defTabSz="1411891">
              <a:spcBef>
                <a:spcPts val="277"/>
              </a:spcBef>
              <a:defRPr/>
            </a:pPr>
            <a:r>
              <a:rPr lang="en-US" sz="1964" kern="0" dirty="0"/>
              <a:t>Sample 3</a:t>
            </a:r>
          </a:p>
        </p:txBody>
      </p:sp>
      <p:sp>
        <p:nvSpPr>
          <p:cNvPr id="20" name="Oval 19"/>
          <p:cNvSpPr/>
          <p:nvPr userDrawn="1"/>
        </p:nvSpPr>
        <p:spPr>
          <a:xfrm>
            <a:off x="1251915" y="5303900"/>
            <a:ext cx="1594165" cy="1364560"/>
          </a:xfrm>
          <a:prstGeom prst="ellipse">
            <a:avLst/>
          </a:prstGeom>
          <a:solidFill>
            <a:srgbClr val="00B0F0"/>
          </a:solidFill>
          <a:ln w="6350" cap="flat" cmpd="sng" algn="ctr">
            <a:solidFill>
              <a:srgbClr val="00B0F0"/>
            </a:solidFill>
            <a:prstDash val="solid"/>
          </a:ln>
          <a:effectLst/>
        </p:spPr>
        <p:txBody>
          <a:bodyPr lIns="126681" tIns="63338" rIns="126681" bIns="63338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266745">
              <a:defRPr/>
            </a:pPr>
            <a:r>
              <a:rPr lang="en-US" sz="1964" b="1" dirty="0">
                <a:solidFill>
                  <a:srgbClr val="FFFFFF"/>
                </a:solidFill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471927677"/>
      </p:ext>
    </p:extLst>
  </p:cSld>
  <p:clrMapOvr>
    <a:masterClrMapping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3" descr="TG_BM_RGB"/>
          <p:cNvPicPr>
            <a:picLocks noChangeAspect="1" noChangeArrowheads="1"/>
          </p:cNvPicPr>
          <p:nvPr userDrawn="1"/>
        </p:nvPicPr>
        <p:blipFill>
          <a:blip r:embed="rId2" cstate="print"/>
          <a:srcRect l="9850" t="10782" r="9810" b="10782"/>
          <a:stretch>
            <a:fillRect/>
          </a:stretch>
        </p:blipFill>
        <p:spPr bwMode="auto">
          <a:xfrm>
            <a:off x="13691855" y="90151"/>
            <a:ext cx="786134" cy="5168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23" descr="TS_BM_RGB"/>
          <p:cNvPicPr>
            <a:picLocks noChangeAspect="1" noChangeArrowheads="1"/>
          </p:cNvPicPr>
          <p:nvPr userDrawn="1"/>
        </p:nvPicPr>
        <p:blipFill>
          <a:blip r:embed="rId3" cstate="print"/>
          <a:srcRect l="9319" t="32796" r="9198" b="31863"/>
          <a:stretch>
            <a:fillRect/>
          </a:stretch>
        </p:blipFill>
        <p:spPr bwMode="auto">
          <a:xfrm>
            <a:off x="226520" y="7945096"/>
            <a:ext cx="1755263" cy="169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648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3674" y="2352943"/>
            <a:ext cx="13337449" cy="5037932"/>
          </a:xfrm>
          <a:prstGeom prst="rect">
            <a:avLst/>
          </a:prstGeom>
        </p:spPr>
        <p:txBody>
          <a:bodyPr/>
          <a:lstStyle>
            <a:lvl1pPr>
              <a:spcAft>
                <a:spcPts val="843"/>
              </a:spcAft>
              <a:buClr>
                <a:schemeClr val="tx2">
                  <a:lumMod val="75000"/>
                </a:schemeClr>
              </a:buClr>
              <a:buSzPct val="80000"/>
              <a:buFont typeface="Wingdings" pitchFamily="2" charset="2"/>
              <a:buChar char="q"/>
              <a:defRPr sz="3368"/>
            </a:lvl1pPr>
            <a:lvl2pPr>
              <a:buFont typeface="Wingdings" pitchFamily="2" charset="2"/>
              <a:buChar char="§"/>
              <a:defRPr sz="2807"/>
            </a:lvl2pPr>
            <a:lvl3pPr>
              <a:buClr>
                <a:schemeClr val="tx2">
                  <a:lumMod val="75000"/>
                </a:schemeClr>
              </a:buClr>
              <a:buSzPct val="100000"/>
              <a:buFont typeface="Arial" pitchFamily="34" charset="0"/>
              <a:buChar char="•"/>
              <a:defRPr sz="2245"/>
            </a:lvl3pPr>
            <a:lvl4pPr>
              <a:buClr>
                <a:schemeClr val="tx2">
                  <a:lumMod val="75000"/>
                </a:schemeClr>
              </a:buClr>
              <a:buSzPct val="100000"/>
              <a:buFont typeface="Courier New" pitchFamily="49" charset="0"/>
              <a:buChar char="o"/>
              <a:defRPr sz="1964"/>
            </a:lvl4pPr>
            <a:lvl5pPr>
              <a:buClr>
                <a:schemeClr val="tx2">
                  <a:lumMod val="75000"/>
                </a:schemeClr>
              </a:buClr>
              <a:defRPr sz="1684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8583034" y="49"/>
            <a:ext cx="4243156" cy="3568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84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4"/>
          </p:nvPr>
        </p:nvSpPr>
        <p:spPr>
          <a:xfrm>
            <a:off x="11808675" y="7784797"/>
            <a:ext cx="1696757" cy="146940"/>
          </a:xfrm>
          <a:prstGeom prst="rect">
            <a:avLst/>
          </a:prstGeom>
        </p:spPr>
        <p:txBody>
          <a:bodyPr lIns="91428" tIns="45714" rIns="91428" bIns="45714"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5"/>
          </p:nvPr>
        </p:nvSpPr>
        <p:spPr>
          <a:xfrm>
            <a:off x="8033743" y="7784797"/>
            <a:ext cx="3487633" cy="146940"/>
          </a:xfrm>
          <a:prstGeom prst="rect">
            <a:avLst/>
          </a:prstGeom>
        </p:spPr>
        <p:txBody>
          <a:bodyPr lIns="91428" tIns="45714" rIns="91428" bIns="45714"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CE28FF-62AE-498F-879D-E9A752CB7C60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2483910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3" descr="TS_BM_RGB"/>
          <p:cNvPicPr>
            <a:picLocks noChangeAspect="1" noChangeArrowheads="1"/>
          </p:cNvPicPr>
          <p:nvPr userDrawn="1"/>
        </p:nvPicPr>
        <p:blipFill>
          <a:blip r:embed="rId2" cstate="print"/>
          <a:srcRect l="9319" t="32796" r="9198" b="31863"/>
          <a:stretch>
            <a:fillRect/>
          </a:stretch>
        </p:blipFill>
        <p:spPr bwMode="auto">
          <a:xfrm>
            <a:off x="226520" y="7945096"/>
            <a:ext cx="1755263" cy="169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648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43674" y="2352943"/>
            <a:ext cx="13337449" cy="5037932"/>
          </a:xfrm>
          <a:prstGeom prst="rect">
            <a:avLst/>
          </a:prstGeom>
        </p:spPr>
        <p:txBody>
          <a:bodyPr/>
          <a:lstStyle>
            <a:lvl1pPr>
              <a:spcAft>
                <a:spcPts val="843"/>
              </a:spcAft>
              <a:buClr>
                <a:schemeClr val="tx2">
                  <a:lumMod val="75000"/>
                </a:schemeClr>
              </a:buClr>
              <a:buSzPct val="80000"/>
              <a:buFont typeface="Wingdings" pitchFamily="2" charset="2"/>
              <a:buChar char="q"/>
              <a:defRPr sz="3368"/>
            </a:lvl1pPr>
            <a:lvl2pPr>
              <a:buFont typeface="Wingdings" pitchFamily="2" charset="2"/>
              <a:buChar char="§"/>
              <a:defRPr sz="2807"/>
            </a:lvl2pPr>
            <a:lvl3pPr>
              <a:buClr>
                <a:schemeClr val="tx2">
                  <a:lumMod val="75000"/>
                </a:schemeClr>
              </a:buClr>
              <a:buSzPct val="100000"/>
              <a:buFont typeface="Arial" pitchFamily="34" charset="0"/>
              <a:buChar char="•"/>
              <a:defRPr sz="2245"/>
            </a:lvl3pPr>
            <a:lvl4pPr>
              <a:buClr>
                <a:schemeClr val="tx2">
                  <a:lumMod val="75000"/>
                </a:schemeClr>
              </a:buClr>
              <a:buSzPct val="100000"/>
              <a:buFont typeface="Courier New" pitchFamily="49" charset="0"/>
              <a:buChar char="o"/>
              <a:defRPr sz="1964"/>
            </a:lvl4pPr>
            <a:lvl5pPr>
              <a:buClr>
                <a:schemeClr val="tx2">
                  <a:lumMod val="75000"/>
                </a:schemeClr>
              </a:buClr>
              <a:defRPr sz="1684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 noChangeArrowheads="1"/>
          </p:cNvSpPr>
          <p:nvPr>
            <p:ph type="dt" sz="half" idx="10"/>
          </p:nvPr>
        </p:nvSpPr>
        <p:spPr>
          <a:xfrm>
            <a:off x="11808675" y="7784797"/>
            <a:ext cx="1696757" cy="146940"/>
          </a:xfrm>
          <a:prstGeom prst="rect">
            <a:avLst/>
          </a:prstGeom>
        </p:spPr>
        <p:txBody>
          <a:bodyPr lIns="91428" tIns="45714" rIns="91428" bIns="45714"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6" name="Footer Placeholder 5"/>
          <p:cNvSpPr>
            <a:spLocks noGrp="1" noChangeArrowheads="1"/>
          </p:cNvSpPr>
          <p:nvPr>
            <p:ph type="ftr" sz="quarter" idx="11"/>
          </p:nvPr>
        </p:nvSpPr>
        <p:spPr>
          <a:xfrm>
            <a:off x="8033743" y="7784797"/>
            <a:ext cx="3487633" cy="146940"/>
          </a:xfrm>
          <a:prstGeom prst="rect">
            <a:avLst/>
          </a:prstGeom>
        </p:spPr>
        <p:txBody>
          <a:bodyPr lIns="91428" tIns="45714" rIns="91428" bIns="45714"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1C877E3-A15E-43A4-A09F-E723C0E7B338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6973850"/>
      </p:ext>
    </p:extLst>
  </p:cSld>
  <p:clrMapOvr>
    <a:masterClrMapping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PP header horizon met logo's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5085" y="490435"/>
            <a:ext cx="14657713" cy="1883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438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48687" y="2854831"/>
            <a:ext cx="13352712" cy="1375890"/>
          </a:xfrm>
        </p:spPr>
        <p:txBody>
          <a:bodyPr bIns="49478"/>
          <a:lstStyle>
            <a:lvl1pPr>
              <a:defRPr sz="491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4438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48687" y="7442408"/>
            <a:ext cx="13352712" cy="501886"/>
          </a:xfrm>
        </p:spPr>
        <p:txBody>
          <a:bodyPr tIns="49478" rIns="98956" bIns="49478"/>
          <a:lstStyle>
            <a:lvl1pPr marL="0" indent="0">
              <a:buFontTx/>
              <a:buNone/>
              <a:defRPr sz="2667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73332793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with image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6907" y="593618"/>
            <a:ext cx="14234164" cy="433186"/>
          </a:xfrm>
        </p:spPr>
        <p:txBody>
          <a:bodyPr/>
          <a:lstStyle>
            <a:lvl1pPr>
              <a:defRPr sz="2532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271042" y="1212625"/>
            <a:ext cx="14022352" cy="444634"/>
          </a:xfrm>
        </p:spPr>
        <p:txBody>
          <a:bodyPr/>
          <a:lstStyle>
            <a:lvl1pPr>
              <a:buNone/>
              <a:defRPr sz="2111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ijdelijke aanduiding voor tekst 20"/>
          <p:cNvSpPr>
            <a:spLocks noGrp="1"/>
          </p:cNvSpPr>
          <p:nvPr>
            <p:ph type="body" sz="quarter" idx="19"/>
          </p:nvPr>
        </p:nvSpPr>
        <p:spPr>
          <a:xfrm>
            <a:off x="3887894" y="1919708"/>
            <a:ext cx="10251069" cy="1583865"/>
          </a:xfrm>
          <a:solidFill>
            <a:schemeClr val="tx2">
              <a:lumMod val="20000"/>
              <a:lumOff val="80000"/>
            </a:schemeClr>
          </a:solidFill>
        </p:spPr>
        <p:txBody>
          <a:bodyPr anchor="t" anchorCtr="0"/>
          <a:lstStyle>
            <a:lvl1pPr>
              <a:spcBef>
                <a:spcPts val="0"/>
              </a:spcBef>
              <a:defRPr sz="1830"/>
            </a:lvl1pPr>
            <a:lvl2pPr>
              <a:spcBef>
                <a:spcPts val="0"/>
              </a:spcBef>
              <a:defRPr sz="183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2" name="Tijdelijke aanduiding voor tekst 20"/>
          <p:cNvSpPr>
            <a:spLocks noGrp="1"/>
          </p:cNvSpPr>
          <p:nvPr>
            <p:ph type="body" sz="quarter" idx="20"/>
          </p:nvPr>
        </p:nvSpPr>
        <p:spPr>
          <a:xfrm>
            <a:off x="3887894" y="5872105"/>
            <a:ext cx="10251069" cy="1583865"/>
          </a:xfrm>
          <a:solidFill>
            <a:schemeClr val="tx2">
              <a:lumMod val="20000"/>
              <a:lumOff val="80000"/>
            </a:schemeClr>
          </a:solidFill>
        </p:spPr>
        <p:txBody>
          <a:bodyPr anchor="t" anchorCtr="0"/>
          <a:lstStyle>
            <a:lvl1pPr>
              <a:spcBef>
                <a:spcPts val="0"/>
              </a:spcBef>
              <a:defRPr sz="1830"/>
            </a:lvl1pPr>
            <a:lvl2pPr>
              <a:spcBef>
                <a:spcPts val="0"/>
              </a:spcBef>
              <a:defRPr sz="183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Tijdelijke aanduiding voor tekst 20"/>
          <p:cNvSpPr>
            <a:spLocks noGrp="1"/>
          </p:cNvSpPr>
          <p:nvPr>
            <p:ph type="body" sz="quarter" idx="21"/>
          </p:nvPr>
        </p:nvSpPr>
        <p:spPr>
          <a:xfrm>
            <a:off x="3887894" y="3895907"/>
            <a:ext cx="10251069" cy="1583865"/>
          </a:xfrm>
          <a:solidFill>
            <a:schemeClr val="tx2">
              <a:lumMod val="20000"/>
              <a:lumOff val="80000"/>
            </a:schemeClr>
          </a:solidFill>
        </p:spPr>
        <p:txBody>
          <a:bodyPr anchor="t" anchorCtr="0"/>
          <a:lstStyle>
            <a:lvl1pPr>
              <a:spcBef>
                <a:spcPts val="0"/>
              </a:spcBef>
              <a:defRPr sz="1830"/>
            </a:lvl1pPr>
            <a:lvl2pPr>
              <a:spcBef>
                <a:spcPts val="0"/>
              </a:spcBef>
              <a:defRPr sz="183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ijdelijke aanduiding voor afbeelding 12"/>
          <p:cNvSpPr>
            <a:spLocks noGrp="1"/>
          </p:cNvSpPr>
          <p:nvPr>
            <p:ph type="pic" sz="quarter" idx="22"/>
          </p:nvPr>
        </p:nvSpPr>
        <p:spPr>
          <a:xfrm>
            <a:off x="375115" y="1919708"/>
            <a:ext cx="3226928" cy="1583865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 dirty="0"/>
              <a:t>Click icon to add picture</a:t>
            </a:r>
            <a:endParaRPr lang="nl-NL" noProof="0"/>
          </a:p>
        </p:txBody>
      </p:sp>
      <p:sp>
        <p:nvSpPr>
          <p:cNvPr id="14" name="Tijdelijke aanduiding voor afbeelding 12"/>
          <p:cNvSpPr>
            <a:spLocks noGrp="1"/>
          </p:cNvSpPr>
          <p:nvPr>
            <p:ph type="pic" sz="quarter" idx="23"/>
          </p:nvPr>
        </p:nvSpPr>
        <p:spPr>
          <a:xfrm>
            <a:off x="355374" y="3895907"/>
            <a:ext cx="3244085" cy="1583865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 dirty="0"/>
              <a:t>Click icon to add picture</a:t>
            </a:r>
            <a:endParaRPr lang="nl-NL" noProof="0"/>
          </a:p>
        </p:txBody>
      </p:sp>
      <p:sp>
        <p:nvSpPr>
          <p:cNvPr id="15" name="Tijdelijke aanduiding voor afbeelding 12"/>
          <p:cNvSpPr>
            <a:spLocks noGrp="1"/>
          </p:cNvSpPr>
          <p:nvPr>
            <p:ph type="pic" sz="quarter" idx="24"/>
          </p:nvPr>
        </p:nvSpPr>
        <p:spPr>
          <a:xfrm>
            <a:off x="394854" y="5872105"/>
            <a:ext cx="3204602" cy="1583865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 dirty="0"/>
              <a:t>Click icon to add picture</a:t>
            </a:r>
            <a:endParaRPr lang="nl-NL" noProof="0"/>
          </a:p>
        </p:txBody>
      </p:sp>
      <p:sp>
        <p:nvSpPr>
          <p:cNvPr id="10" name="Rectangle 5"/>
          <p:cNvSpPr>
            <a:spLocks noGrp="1" noChangeArrowheads="1"/>
          </p:cNvSpPr>
          <p:nvPr>
            <p:ph type="sldNum" sz="quarter" idx="2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1C7F818-1137-44F4-B6D6-BECAD6B9515E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1" name="Rectangle 6"/>
          <p:cNvSpPr>
            <a:spLocks noGrp="1" noChangeArrowheads="1"/>
          </p:cNvSpPr>
          <p:nvPr>
            <p:ph type="ftr" sz="quarter" idx="26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1427354"/>
      </p:ext>
    </p:extLst>
  </p:cSld>
  <p:clrMapOvr>
    <a:masterClrMapping/>
  </p:clrMapOvr>
  <p:transition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7532585"/>
              </p:ext>
            </p:extLst>
          </p:nvPr>
        </p:nvGraphicFramePr>
        <p:xfrm>
          <a:off x="2236" y="1913"/>
          <a:ext cx="2227" cy="190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2" name="think-cell Slide" r:id="rId5" imgW="421" imgH="420" progId="TCLayout.ActiveDocument.1">
                  <p:embed/>
                </p:oleObj>
              </mc:Choice>
              <mc:Fallback>
                <p:oleObj name="think-cell Slide" r:id="rId5" imgW="421" imgH="42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236" y="1913"/>
                        <a:ext cx="2227" cy="190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4BCF7E8-2C5B-4416-921D-450912D28EB0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90269" cy="190302"/>
          </a:xfrm>
          <a:prstGeom prst="rect">
            <a:avLst/>
          </a:prstGeom>
          <a:solidFill>
            <a:schemeClr val="accent1"/>
          </a:solidFill>
          <a:ln w="19050" cap="flat" cmpd="sng" algn="ctr">
            <a:solidFill>
              <a:srgbClr val="808080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9590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807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73585" y="627356"/>
            <a:ext cx="13980331" cy="433186"/>
          </a:xfrm>
        </p:spPr>
        <p:txBody>
          <a:bodyPr/>
          <a:lstStyle>
            <a:lvl1pPr>
              <a:defRPr sz="2807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4"/>
          </p:nvPr>
        </p:nvSpPr>
        <p:spPr>
          <a:xfrm>
            <a:off x="317539" y="201216"/>
            <a:ext cx="5766927" cy="25953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8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14117432" y="230350"/>
            <a:ext cx="392330" cy="263726"/>
          </a:xfrm>
          <a:prstGeom prst="rect">
            <a:avLst/>
          </a:prstGeom>
        </p:spPr>
        <p:txBody>
          <a:bodyPr vert="horz" lIns="0" tIns="47732" rIns="75168" bIns="47732" rtlCol="0" anchor="ctr"/>
          <a:lstStyle>
            <a:lvl1pPr algn="l">
              <a:defRPr sz="1544" b="1">
                <a:solidFill>
                  <a:schemeClr val="bg1"/>
                </a:solidFill>
                <a:latin typeface="+mn-lt"/>
              </a:defRPr>
            </a:lvl1pPr>
          </a:lstStyle>
          <a:p>
            <a:fld id="{7103653F-4628-4CCA-BBFC-10994C39EA7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jdelijke aanduiding voor inhoud 2"/>
          <p:cNvSpPr>
            <a:spLocks noGrp="1"/>
          </p:cNvSpPr>
          <p:nvPr>
            <p:ph idx="15"/>
          </p:nvPr>
        </p:nvSpPr>
        <p:spPr>
          <a:xfrm>
            <a:off x="335627" y="1315368"/>
            <a:ext cx="13957772" cy="6256431"/>
          </a:xfrm>
        </p:spPr>
        <p:txBody>
          <a:bodyPr/>
          <a:lstStyle>
            <a:lvl1pPr>
              <a:defRPr sz="2245">
                <a:latin typeface="Arial" pitchFamily="34" charset="0"/>
                <a:cs typeface="Arial" pitchFamily="34" charset="0"/>
              </a:defRPr>
            </a:lvl1pPr>
            <a:lvl2pPr>
              <a:defRPr sz="1964">
                <a:latin typeface="Arial" pitchFamily="34" charset="0"/>
                <a:cs typeface="Arial" pitchFamily="34" charset="0"/>
              </a:defRPr>
            </a:lvl2pPr>
            <a:lvl3pPr marL="820086" indent="-273362">
              <a:buClr>
                <a:schemeClr val="tx2"/>
              </a:buClr>
              <a:buFont typeface="Wingdings" pitchFamily="2" charset="2"/>
              <a:buChar char="§"/>
              <a:defRPr sz="1684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119669155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with image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6907" y="593618"/>
            <a:ext cx="14234164" cy="433186"/>
          </a:xfrm>
        </p:spPr>
        <p:txBody>
          <a:bodyPr/>
          <a:lstStyle>
            <a:lvl1pPr>
              <a:defRPr sz="2807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271038" y="1212623"/>
            <a:ext cx="14022352" cy="444634"/>
          </a:xfrm>
        </p:spPr>
        <p:txBody>
          <a:bodyPr/>
          <a:lstStyle>
            <a:lvl1pPr>
              <a:buNone/>
              <a:defRPr sz="2245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ijdelijke aanduiding voor tekst 20"/>
          <p:cNvSpPr>
            <a:spLocks noGrp="1"/>
          </p:cNvSpPr>
          <p:nvPr>
            <p:ph type="body" sz="quarter" idx="19"/>
          </p:nvPr>
        </p:nvSpPr>
        <p:spPr>
          <a:xfrm>
            <a:off x="3887894" y="1919708"/>
            <a:ext cx="10251069" cy="1583865"/>
          </a:xfrm>
          <a:solidFill>
            <a:schemeClr val="tx2">
              <a:lumMod val="20000"/>
              <a:lumOff val="80000"/>
            </a:schemeClr>
          </a:solidFill>
        </p:spPr>
        <p:txBody>
          <a:bodyPr anchor="t" anchorCtr="0"/>
          <a:lstStyle>
            <a:lvl1pPr>
              <a:spcBef>
                <a:spcPts val="0"/>
              </a:spcBef>
              <a:defRPr sz="1964"/>
            </a:lvl1pPr>
            <a:lvl2pPr>
              <a:spcBef>
                <a:spcPts val="0"/>
              </a:spcBef>
              <a:defRPr sz="1964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2" name="Tijdelijke aanduiding voor tekst 20"/>
          <p:cNvSpPr>
            <a:spLocks noGrp="1"/>
          </p:cNvSpPr>
          <p:nvPr>
            <p:ph type="body" sz="quarter" idx="20"/>
          </p:nvPr>
        </p:nvSpPr>
        <p:spPr>
          <a:xfrm>
            <a:off x="3887894" y="5872105"/>
            <a:ext cx="10251069" cy="1583865"/>
          </a:xfrm>
          <a:solidFill>
            <a:schemeClr val="tx2">
              <a:lumMod val="20000"/>
              <a:lumOff val="80000"/>
            </a:schemeClr>
          </a:solidFill>
        </p:spPr>
        <p:txBody>
          <a:bodyPr anchor="t" anchorCtr="0"/>
          <a:lstStyle>
            <a:lvl1pPr>
              <a:spcBef>
                <a:spcPts val="0"/>
              </a:spcBef>
              <a:defRPr sz="1964"/>
            </a:lvl1pPr>
            <a:lvl2pPr>
              <a:spcBef>
                <a:spcPts val="0"/>
              </a:spcBef>
              <a:defRPr sz="1964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Tijdelijke aanduiding voor tekst 20"/>
          <p:cNvSpPr>
            <a:spLocks noGrp="1"/>
          </p:cNvSpPr>
          <p:nvPr>
            <p:ph type="body" sz="quarter" idx="21"/>
          </p:nvPr>
        </p:nvSpPr>
        <p:spPr>
          <a:xfrm>
            <a:off x="3887894" y="3895907"/>
            <a:ext cx="10251069" cy="1583865"/>
          </a:xfrm>
          <a:solidFill>
            <a:schemeClr val="tx2">
              <a:lumMod val="20000"/>
              <a:lumOff val="80000"/>
            </a:schemeClr>
          </a:solidFill>
        </p:spPr>
        <p:txBody>
          <a:bodyPr anchor="t" anchorCtr="0"/>
          <a:lstStyle>
            <a:lvl1pPr>
              <a:spcBef>
                <a:spcPts val="0"/>
              </a:spcBef>
              <a:defRPr sz="1964"/>
            </a:lvl1pPr>
            <a:lvl2pPr>
              <a:spcBef>
                <a:spcPts val="0"/>
              </a:spcBef>
              <a:defRPr sz="1964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ijdelijke aanduiding voor afbeelding 12"/>
          <p:cNvSpPr>
            <a:spLocks noGrp="1"/>
          </p:cNvSpPr>
          <p:nvPr>
            <p:ph type="pic" sz="quarter" idx="22"/>
          </p:nvPr>
        </p:nvSpPr>
        <p:spPr>
          <a:xfrm>
            <a:off x="375114" y="1919708"/>
            <a:ext cx="3226928" cy="1583865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 dirty="0"/>
              <a:t>Click icon to add picture</a:t>
            </a:r>
            <a:endParaRPr lang="nl-NL" noProof="0"/>
          </a:p>
        </p:txBody>
      </p:sp>
      <p:sp>
        <p:nvSpPr>
          <p:cNvPr id="14" name="Tijdelijke aanduiding voor afbeelding 12"/>
          <p:cNvSpPr>
            <a:spLocks noGrp="1"/>
          </p:cNvSpPr>
          <p:nvPr>
            <p:ph type="pic" sz="quarter" idx="23"/>
          </p:nvPr>
        </p:nvSpPr>
        <p:spPr>
          <a:xfrm>
            <a:off x="355374" y="3895907"/>
            <a:ext cx="3244085" cy="1583865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 dirty="0"/>
              <a:t>Click icon to add picture</a:t>
            </a:r>
            <a:endParaRPr lang="nl-NL" noProof="0"/>
          </a:p>
        </p:txBody>
      </p:sp>
      <p:sp>
        <p:nvSpPr>
          <p:cNvPr id="15" name="Tijdelijke aanduiding voor afbeelding 12"/>
          <p:cNvSpPr>
            <a:spLocks noGrp="1"/>
          </p:cNvSpPr>
          <p:nvPr>
            <p:ph type="pic" sz="quarter" idx="24"/>
          </p:nvPr>
        </p:nvSpPr>
        <p:spPr>
          <a:xfrm>
            <a:off x="394854" y="5872105"/>
            <a:ext cx="3204602" cy="1583865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 dirty="0"/>
              <a:t>Click icon to add picture</a:t>
            </a:r>
            <a:endParaRPr lang="nl-NL" noProof="0"/>
          </a:p>
        </p:txBody>
      </p:sp>
      <p:sp>
        <p:nvSpPr>
          <p:cNvPr id="10" name="Rectangle 5"/>
          <p:cNvSpPr>
            <a:spLocks noGrp="1" noChangeArrowheads="1"/>
          </p:cNvSpPr>
          <p:nvPr>
            <p:ph type="sldNum" sz="quarter" idx="2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1C7F818-1137-44F4-B6D6-BECAD6B9515E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ftr" sz="quarter" idx="26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05663210"/>
      </p:ext>
    </p:extLst>
  </p:cSld>
  <p:clrMapOvr>
    <a:masterClrMapping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image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8687" y="1015220"/>
            <a:ext cx="13352712" cy="433186"/>
          </a:xfrm>
        </p:spPr>
        <p:txBody>
          <a:bodyPr/>
          <a:lstStyle>
            <a:lvl1pPr>
              <a:defRPr sz="2807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646150" y="1819716"/>
            <a:ext cx="13378153" cy="444634"/>
          </a:xfrm>
        </p:spPr>
        <p:txBody>
          <a:bodyPr/>
          <a:lstStyle>
            <a:lvl1pPr>
              <a:buNone/>
              <a:defRPr sz="2245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ijdelijke aanduiding voor tekst 20"/>
          <p:cNvSpPr>
            <a:spLocks noGrp="1"/>
          </p:cNvSpPr>
          <p:nvPr>
            <p:ph type="body" sz="quarter" idx="19"/>
          </p:nvPr>
        </p:nvSpPr>
        <p:spPr>
          <a:xfrm>
            <a:off x="5214959" y="2509950"/>
            <a:ext cx="8791575" cy="2423400"/>
          </a:xfrm>
          <a:solidFill>
            <a:schemeClr val="tx2">
              <a:lumMod val="20000"/>
              <a:lumOff val="80000"/>
            </a:schemeClr>
          </a:solidFill>
        </p:spPr>
        <p:txBody>
          <a:bodyPr anchor="t" anchorCtr="0"/>
          <a:lstStyle>
            <a:lvl1pPr>
              <a:spcBef>
                <a:spcPts val="0"/>
              </a:spcBef>
              <a:defRPr sz="1964"/>
            </a:lvl1pPr>
            <a:lvl2pPr>
              <a:spcBef>
                <a:spcPts val="0"/>
              </a:spcBef>
              <a:defRPr sz="1964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Tijdelijke aanduiding voor tekst 20"/>
          <p:cNvSpPr>
            <a:spLocks noGrp="1"/>
          </p:cNvSpPr>
          <p:nvPr>
            <p:ph type="body" sz="quarter" idx="21"/>
          </p:nvPr>
        </p:nvSpPr>
        <p:spPr>
          <a:xfrm>
            <a:off x="5214959" y="5262240"/>
            <a:ext cx="8791575" cy="2423400"/>
          </a:xfrm>
          <a:solidFill>
            <a:schemeClr val="tx2">
              <a:lumMod val="20000"/>
              <a:lumOff val="80000"/>
            </a:schemeClr>
          </a:solidFill>
        </p:spPr>
        <p:txBody>
          <a:bodyPr anchor="t" anchorCtr="0"/>
          <a:lstStyle>
            <a:lvl1pPr>
              <a:spcBef>
                <a:spcPts val="0"/>
              </a:spcBef>
              <a:defRPr sz="1964"/>
            </a:lvl1pPr>
            <a:lvl2pPr>
              <a:spcBef>
                <a:spcPts val="0"/>
              </a:spcBef>
              <a:defRPr sz="1964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ijdelijke aanduiding voor afbeelding 12"/>
          <p:cNvSpPr>
            <a:spLocks noGrp="1" noChangeAspect="1"/>
          </p:cNvSpPr>
          <p:nvPr>
            <p:ph type="pic" sz="quarter" idx="22"/>
          </p:nvPr>
        </p:nvSpPr>
        <p:spPr>
          <a:xfrm>
            <a:off x="648685" y="2509950"/>
            <a:ext cx="4222725" cy="24234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 dirty="0"/>
              <a:t>Click icon to add picture</a:t>
            </a:r>
            <a:endParaRPr lang="nl-NL" noProof="0"/>
          </a:p>
        </p:txBody>
      </p:sp>
      <p:sp>
        <p:nvSpPr>
          <p:cNvPr id="14" name="Tijdelijke aanduiding voor afbeelding 12"/>
          <p:cNvSpPr>
            <a:spLocks noGrp="1" noChangeAspect="1"/>
          </p:cNvSpPr>
          <p:nvPr>
            <p:ph type="pic" sz="quarter" idx="23"/>
          </p:nvPr>
        </p:nvSpPr>
        <p:spPr>
          <a:xfrm>
            <a:off x="646100" y="5262240"/>
            <a:ext cx="4222725" cy="24234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 dirty="0"/>
              <a:t>Click icon to add picture</a:t>
            </a:r>
            <a:endParaRPr lang="nl-NL" noProof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sldNum" sz="quarter" idx="24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5A22AC8-36D9-4965-81AD-19038FCC0CCE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ftr" sz="quarter" idx="2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59793056"/>
      </p:ext>
    </p:extLst>
  </p:cSld>
  <p:clrMapOvr>
    <a:masterClrMapping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72290" y="627346"/>
            <a:ext cx="14059297" cy="433186"/>
          </a:xfrm>
        </p:spPr>
        <p:txBody>
          <a:bodyPr/>
          <a:lstStyle>
            <a:lvl1pPr>
              <a:defRPr sz="2807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16" name="Tijdelijke aanduiding voor tekst 15"/>
          <p:cNvSpPr>
            <a:spLocks noGrp="1"/>
          </p:cNvSpPr>
          <p:nvPr>
            <p:ph type="body" sz="quarter" idx="14"/>
          </p:nvPr>
        </p:nvSpPr>
        <p:spPr>
          <a:xfrm>
            <a:off x="533042" y="2307581"/>
            <a:ext cx="6732106" cy="432750"/>
          </a:xfrm>
          <a:solidFill>
            <a:schemeClr val="tx2">
              <a:lumMod val="20000"/>
              <a:lumOff val="80000"/>
            </a:schemeClr>
          </a:solidFill>
        </p:spPr>
        <p:txBody>
          <a:bodyPr lIns="194796" anchor="ctr"/>
          <a:lstStyle>
            <a:lvl1pPr marL="0" indent="0" algn="l">
              <a:spcBef>
                <a:spcPts val="0"/>
              </a:spcBef>
              <a:buNone/>
              <a:defRPr sz="196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7" name="Tijdelijke aanduiding voor tekst 15"/>
          <p:cNvSpPr>
            <a:spLocks noGrp="1"/>
          </p:cNvSpPr>
          <p:nvPr>
            <p:ph type="body" sz="quarter" idx="15"/>
          </p:nvPr>
        </p:nvSpPr>
        <p:spPr>
          <a:xfrm>
            <a:off x="7676983" y="2307581"/>
            <a:ext cx="6655819" cy="432750"/>
          </a:xfrm>
          <a:solidFill>
            <a:schemeClr val="accent5">
              <a:lumMod val="60000"/>
              <a:lumOff val="40000"/>
            </a:schemeClr>
          </a:solidFill>
        </p:spPr>
        <p:txBody>
          <a:bodyPr lIns="194796" anchor="ctr"/>
          <a:lstStyle>
            <a:lvl1pPr marL="0" indent="0">
              <a:spcBef>
                <a:spcPts val="0"/>
              </a:spcBef>
              <a:buNone/>
              <a:defRPr sz="196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330273" y="1263216"/>
            <a:ext cx="14081579" cy="444634"/>
          </a:xfrm>
        </p:spPr>
        <p:txBody>
          <a:bodyPr/>
          <a:lstStyle>
            <a:lvl1pPr>
              <a:buNone/>
              <a:defRPr sz="2245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ijdelijke aanduiding voor tekst 20"/>
          <p:cNvSpPr>
            <a:spLocks noGrp="1"/>
          </p:cNvSpPr>
          <p:nvPr>
            <p:ph type="body" sz="quarter" idx="19"/>
          </p:nvPr>
        </p:nvSpPr>
        <p:spPr>
          <a:xfrm>
            <a:off x="533042" y="2718695"/>
            <a:ext cx="6732106" cy="4721303"/>
          </a:xfrm>
        </p:spPr>
        <p:txBody>
          <a:bodyPr/>
          <a:lstStyle>
            <a:lvl1pPr>
              <a:defRPr sz="1964"/>
            </a:lvl1pPr>
            <a:lvl2pPr>
              <a:defRPr sz="1964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1" name="Tijdelijke aanduiding voor tekst 20"/>
          <p:cNvSpPr>
            <a:spLocks noGrp="1"/>
          </p:cNvSpPr>
          <p:nvPr>
            <p:ph type="body" sz="quarter" idx="20"/>
          </p:nvPr>
        </p:nvSpPr>
        <p:spPr>
          <a:xfrm>
            <a:off x="7677059" y="2718695"/>
            <a:ext cx="6655819" cy="4721303"/>
          </a:xfrm>
        </p:spPr>
        <p:txBody>
          <a:bodyPr/>
          <a:lstStyle>
            <a:lvl1pPr>
              <a:defRPr sz="1964"/>
            </a:lvl1pPr>
            <a:lvl2pPr>
              <a:defRPr sz="1964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8" name="Rectangle 5"/>
          <p:cNvSpPr>
            <a:spLocks noGrp="1" noChangeArrowheads="1"/>
          </p:cNvSpPr>
          <p:nvPr>
            <p:ph type="sldNum" sz="quarter" idx="2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EEDDE4F-381E-4904-8E4A-86B45F5FCC9F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2" name="Rectangle 6"/>
          <p:cNvSpPr>
            <a:spLocks noGrp="1" noChangeArrowheads="1"/>
          </p:cNvSpPr>
          <p:nvPr>
            <p:ph type="ftr" sz="quarter" idx="2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17274623"/>
      </p:ext>
    </p:extLst>
  </p:cSld>
  <p:clrMapOvr>
    <a:masterClrMapping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PP header horizon met logo's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5082" y="490435"/>
            <a:ext cx="14657714" cy="1883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438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48693" y="2854831"/>
            <a:ext cx="13352712" cy="1375890"/>
          </a:xfrm>
        </p:spPr>
        <p:txBody>
          <a:bodyPr bIns="45712"/>
          <a:lstStyle>
            <a:lvl1pPr>
              <a:defRPr sz="4503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4438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48693" y="7442409"/>
            <a:ext cx="13352712" cy="501886"/>
          </a:xfrm>
        </p:spPr>
        <p:txBody>
          <a:bodyPr tIns="45712" rIns="91422" bIns="45712"/>
          <a:lstStyle>
            <a:lvl1pPr marL="0" indent="0">
              <a:buFontTx/>
              <a:buNone/>
              <a:defRPr sz="2532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17891670"/>
      </p:ext>
    </p:extLst>
  </p:cSld>
  <p:clrMapOvr>
    <a:masterClrMapping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73575" y="627357"/>
            <a:ext cx="13980332" cy="433186"/>
          </a:xfrm>
        </p:spPr>
        <p:txBody>
          <a:bodyPr/>
          <a:lstStyle>
            <a:lvl1pPr>
              <a:defRPr sz="2532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4"/>
          </p:nvPr>
        </p:nvSpPr>
        <p:spPr>
          <a:xfrm>
            <a:off x="317542" y="201216"/>
            <a:ext cx="5766928" cy="25953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8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14117434" y="230352"/>
            <a:ext cx="392327" cy="263726"/>
          </a:xfrm>
          <a:prstGeom prst="rect">
            <a:avLst/>
          </a:prstGeom>
        </p:spPr>
        <p:txBody>
          <a:bodyPr vert="horz" lIns="0" tIns="44098" rIns="69446" bIns="44098" rtlCol="0" anchor="ctr"/>
          <a:lstStyle>
            <a:lvl1pPr algn="l">
              <a:defRPr sz="1407" b="1">
                <a:solidFill>
                  <a:schemeClr val="bg1"/>
                </a:solidFill>
                <a:latin typeface="+mn-lt"/>
              </a:defRPr>
            </a:lvl1pPr>
          </a:lstStyle>
          <a:p>
            <a:fld id="{7103653F-4628-4CCA-BBFC-10994C39EA7C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Tijdelijke aanduiding voor inhoud 2"/>
          <p:cNvSpPr>
            <a:spLocks noGrp="1"/>
          </p:cNvSpPr>
          <p:nvPr>
            <p:ph idx="15"/>
          </p:nvPr>
        </p:nvSpPr>
        <p:spPr>
          <a:xfrm>
            <a:off x="335624" y="1315372"/>
            <a:ext cx="13957772" cy="6256431"/>
          </a:xfrm>
        </p:spPr>
        <p:txBody>
          <a:bodyPr/>
          <a:lstStyle>
            <a:lvl1pPr>
              <a:defRPr sz="2111">
                <a:latin typeface="Arial" pitchFamily="34" charset="0"/>
                <a:cs typeface="Arial" pitchFamily="34" charset="0"/>
              </a:defRPr>
            </a:lvl1pPr>
            <a:lvl2pPr>
              <a:defRPr sz="1830">
                <a:latin typeface="Arial" pitchFamily="34" charset="0"/>
                <a:cs typeface="Arial" pitchFamily="34" charset="0"/>
              </a:defRPr>
            </a:lvl2pPr>
            <a:lvl3pPr marL="759776" indent="-253259">
              <a:buClr>
                <a:schemeClr val="tx2"/>
              </a:buClr>
              <a:buFont typeface="Wingdings" pitchFamily="2" charset="2"/>
              <a:buChar char="§"/>
              <a:defRPr sz="1548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691344807"/>
      </p:ext>
    </p:extLst>
  </p:cSld>
  <p:clrMapOvr>
    <a:masterClrMapping/>
  </p:clrMapOvr>
  <p:transition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>
            <a:spLocks noChangeArrowheads="1"/>
          </p:cNvSpPr>
          <p:nvPr userDrawn="1"/>
        </p:nvSpPr>
        <p:spPr bwMode="gray">
          <a:xfrm>
            <a:off x="2117385" y="2202671"/>
            <a:ext cx="11310357" cy="637323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330727" tIns="94492" rIns="94492" bIns="94492" anchor="ctr"/>
          <a:lstStyle/>
          <a:p>
            <a:pPr defTabSz="1286610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r>
              <a:rPr lang="en-IN" sz="2111" b="1" noProof="1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6" name="Rectangle 15"/>
          <p:cNvSpPr>
            <a:spLocks noChangeArrowheads="1"/>
          </p:cNvSpPr>
          <p:nvPr userDrawn="1"/>
        </p:nvSpPr>
        <p:spPr bwMode="gray">
          <a:xfrm>
            <a:off x="677119" y="2209324"/>
            <a:ext cx="1346694" cy="637323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94492" tIns="94492" rIns="94492" bIns="94492" anchor="ctr"/>
          <a:lstStyle/>
          <a:p>
            <a:pPr algn="ctr" defTabSz="1286610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r>
              <a:rPr lang="en-US" sz="2111" b="1" noProof="1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gray">
          <a:xfrm>
            <a:off x="2120607" y="2975578"/>
            <a:ext cx="11310357" cy="594901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330727" tIns="94492" rIns="94492" bIns="94492" anchor="ctr"/>
          <a:lstStyle/>
          <a:p>
            <a:pPr defTabSz="1286610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r>
              <a:rPr lang="en-US" sz="2111" b="1" noProof="1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gray">
          <a:xfrm>
            <a:off x="2129666" y="3704406"/>
            <a:ext cx="11310357" cy="662267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330727" tIns="94492" rIns="94492" bIns="94492" anchor="ctr"/>
          <a:lstStyle/>
          <a:p>
            <a:pPr defTabSz="1286610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r>
              <a:rPr lang="en-US" sz="2111" b="1" noProof="1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9" name="Rectangle 15"/>
          <p:cNvSpPr>
            <a:spLocks noChangeArrowheads="1"/>
          </p:cNvSpPr>
          <p:nvPr userDrawn="1"/>
        </p:nvSpPr>
        <p:spPr bwMode="gray">
          <a:xfrm>
            <a:off x="677109" y="2975578"/>
            <a:ext cx="1313699" cy="594901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94492" tIns="94492" rIns="94492" bIns="94492" anchor="ctr"/>
          <a:lstStyle/>
          <a:p>
            <a:pPr algn="ctr" defTabSz="1286610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r>
              <a:rPr lang="en-US" sz="2111" b="1" noProof="1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10" name="Rectangle 15"/>
          <p:cNvSpPr>
            <a:spLocks noChangeArrowheads="1"/>
          </p:cNvSpPr>
          <p:nvPr userDrawn="1"/>
        </p:nvSpPr>
        <p:spPr bwMode="gray">
          <a:xfrm>
            <a:off x="677109" y="3704401"/>
            <a:ext cx="1313699" cy="637323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94492" tIns="94492" rIns="94492" bIns="94492" anchor="ctr"/>
          <a:lstStyle/>
          <a:p>
            <a:pPr algn="ctr" defTabSz="1286610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r>
              <a:rPr lang="en-US" sz="2111" b="1" noProof="1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11" name="Rectangle 4"/>
          <p:cNvSpPr>
            <a:spLocks noChangeArrowheads="1"/>
          </p:cNvSpPr>
          <p:nvPr userDrawn="1"/>
        </p:nvSpPr>
        <p:spPr bwMode="gray">
          <a:xfrm>
            <a:off x="2129666" y="1454804"/>
            <a:ext cx="11310357" cy="637323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330727" tIns="94492" rIns="94492" bIns="94492" anchor="ctr"/>
          <a:lstStyle/>
          <a:p>
            <a:pPr defTabSz="1286610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r>
              <a:rPr lang="en-IN" sz="2111" b="1" noProof="1">
                <a:solidFill>
                  <a:srgbClr val="5A245A">
                    <a:lumMod val="90000"/>
                    <a:lumOff val="10000"/>
                  </a:srgbClr>
                </a:solidFill>
              </a:rPr>
              <a:t>Text</a:t>
            </a:r>
          </a:p>
        </p:txBody>
      </p:sp>
      <p:sp>
        <p:nvSpPr>
          <p:cNvPr id="12" name="Rectangle 15"/>
          <p:cNvSpPr>
            <a:spLocks noChangeArrowheads="1"/>
          </p:cNvSpPr>
          <p:nvPr userDrawn="1"/>
        </p:nvSpPr>
        <p:spPr bwMode="gray">
          <a:xfrm>
            <a:off x="677113" y="1454597"/>
            <a:ext cx="1346694" cy="637323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94492" tIns="94492" rIns="94492" bIns="94492" anchor="ctr"/>
          <a:lstStyle/>
          <a:p>
            <a:pPr algn="ctr" defTabSz="1286610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r>
              <a:rPr lang="en-US" sz="2111" b="1" noProof="1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13" name="Rectangle 4"/>
          <p:cNvSpPr>
            <a:spLocks noChangeArrowheads="1"/>
          </p:cNvSpPr>
          <p:nvPr userDrawn="1"/>
        </p:nvSpPr>
        <p:spPr bwMode="gray">
          <a:xfrm>
            <a:off x="2129656" y="5194471"/>
            <a:ext cx="11310357" cy="662267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330727" tIns="94492" rIns="94492" bIns="94492" anchor="ctr"/>
          <a:lstStyle/>
          <a:p>
            <a:pPr defTabSz="1286610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r>
              <a:rPr lang="en-US" sz="2111" b="1" noProof="1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gray">
          <a:xfrm>
            <a:off x="677109" y="5194461"/>
            <a:ext cx="1313699" cy="637323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94492" tIns="94492" rIns="94492" bIns="94492" anchor="ctr"/>
          <a:lstStyle/>
          <a:p>
            <a:pPr algn="ctr" defTabSz="1286610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r>
              <a:rPr lang="en-US" sz="2111" b="1" noProof="1">
                <a:solidFill>
                  <a:srgbClr val="FFFFFF"/>
                </a:solidFill>
              </a:rPr>
              <a:t>6</a:t>
            </a:r>
          </a:p>
        </p:txBody>
      </p:sp>
      <p:sp>
        <p:nvSpPr>
          <p:cNvPr id="15" name="Rectangle 4"/>
          <p:cNvSpPr>
            <a:spLocks noChangeArrowheads="1"/>
          </p:cNvSpPr>
          <p:nvPr userDrawn="1"/>
        </p:nvSpPr>
        <p:spPr bwMode="gray">
          <a:xfrm>
            <a:off x="2129666" y="4478623"/>
            <a:ext cx="11310357" cy="594901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330727" tIns="94492" rIns="94492" bIns="94492" anchor="ctr"/>
          <a:lstStyle/>
          <a:p>
            <a:pPr defTabSz="1286610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r>
              <a:rPr lang="en-US" sz="2111" b="1" noProof="1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16" name="Rectangle 15"/>
          <p:cNvSpPr>
            <a:spLocks noChangeArrowheads="1"/>
          </p:cNvSpPr>
          <p:nvPr userDrawn="1"/>
        </p:nvSpPr>
        <p:spPr bwMode="gray">
          <a:xfrm>
            <a:off x="686169" y="4478623"/>
            <a:ext cx="1313699" cy="594901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94492" tIns="94492" rIns="94492" bIns="94492" anchor="ctr"/>
          <a:lstStyle/>
          <a:p>
            <a:pPr algn="ctr" defTabSz="1286610" eaLnBrk="0" fontAlgn="base" hangingPunct="0">
              <a:spcBef>
                <a:spcPct val="25000"/>
              </a:spcBef>
              <a:spcAft>
                <a:spcPct val="0"/>
              </a:spcAft>
              <a:defRPr/>
            </a:pPr>
            <a:r>
              <a:rPr lang="en-US" sz="2111" b="1" noProof="1">
                <a:solidFill>
                  <a:srgbClr val="FFFFFF"/>
                </a:solidFill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2810897424"/>
      </p:ext>
    </p:extLst>
  </p:cSld>
  <p:clrMapOvr>
    <a:masterClrMapping/>
  </p:clrMapOvr>
  <p:transition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>
            <a:spLocks noChangeArrowheads="1"/>
          </p:cNvSpPr>
          <p:nvPr userDrawn="1"/>
        </p:nvSpPr>
        <p:spPr bwMode="gray">
          <a:xfrm>
            <a:off x="2097016" y="2906457"/>
            <a:ext cx="11310357" cy="637323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330441" tIns="94413" rIns="94413" bIns="94413" anchor="ctr"/>
          <a:lstStyle/>
          <a:p>
            <a:pPr defTabSz="1293178" eaLnBrk="0" hangingPunct="0">
              <a:spcBef>
                <a:spcPct val="25000"/>
              </a:spcBef>
              <a:defRPr/>
            </a:pPr>
            <a:r>
              <a:rPr lang="en-IN" sz="2111" b="1" noProof="1">
                <a:solidFill>
                  <a:srgbClr val="3D7EDB">
                    <a:lumMod val="50000"/>
                  </a:srgbClr>
                </a:solidFill>
              </a:rPr>
              <a:t>Text</a:t>
            </a:r>
          </a:p>
        </p:txBody>
      </p:sp>
      <p:sp>
        <p:nvSpPr>
          <p:cNvPr id="6" name="Rectangle 15"/>
          <p:cNvSpPr>
            <a:spLocks noChangeArrowheads="1"/>
          </p:cNvSpPr>
          <p:nvPr userDrawn="1"/>
        </p:nvSpPr>
        <p:spPr bwMode="gray">
          <a:xfrm>
            <a:off x="656757" y="2124410"/>
            <a:ext cx="1346694" cy="637323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94413" tIns="94413" rIns="94413" bIns="94413" anchor="ctr"/>
          <a:lstStyle/>
          <a:p>
            <a:pPr algn="ctr" defTabSz="1293178" eaLnBrk="0" hangingPunct="0">
              <a:spcBef>
                <a:spcPct val="25000"/>
              </a:spcBef>
              <a:defRPr/>
            </a:pPr>
            <a:r>
              <a:rPr lang="en-US" sz="2111" b="1" noProof="1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gray">
          <a:xfrm>
            <a:off x="2100235" y="3673604"/>
            <a:ext cx="11310357" cy="594901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330441" tIns="94413" rIns="94413" bIns="94413" anchor="ctr"/>
          <a:lstStyle/>
          <a:p>
            <a:pPr defTabSz="1293178" eaLnBrk="0" hangingPunct="0">
              <a:spcBef>
                <a:spcPct val="25000"/>
              </a:spcBef>
              <a:defRPr/>
            </a:pPr>
            <a:r>
              <a:rPr lang="en-IN" sz="2111" b="1" noProof="1">
                <a:solidFill>
                  <a:srgbClr val="3D7EDB">
                    <a:lumMod val="50000"/>
                  </a:srgbClr>
                </a:solidFill>
              </a:rPr>
              <a:t>Text</a:t>
            </a:r>
          </a:p>
        </p:txBody>
      </p:sp>
      <p:sp>
        <p:nvSpPr>
          <p:cNvPr id="8" name="Rectangle 15"/>
          <p:cNvSpPr>
            <a:spLocks noChangeArrowheads="1"/>
          </p:cNvSpPr>
          <p:nvPr userDrawn="1"/>
        </p:nvSpPr>
        <p:spPr bwMode="gray">
          <a:xfrm>
            <a:off x="656741" y="2890662"/>
            <a:ext cx="1313699" cy="594901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94413" tIns="94413" rIns="94413" bIns="94413" anchor="ctr"/>
          <a:lstStyle/>
          <a:p>
            <a:pPr algn="ctr" defTabSz="1293178" eaLnBrk="0" hangingPunct="0">
              <a:spcBef>
                <a:spcPct val="25000"/>
              </a:spcBef>
              <a:defRPr/>
            </a:pPr>
            <a:r>
              <a:rPr lang="en-US" sz="2111" b="1" noProof="1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gray">
          <a:xfrm>
            <a:off x="2109296" y="1369882"/>
            <a:ext cx="11310357" cy="637323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330441" tIns="94413" rIns="94413" bIns="94413" anchor="ctr"/>
          <a:lstStyle/>
          <a:p>
            <a:pPr defTabSz="1293178" eaLnBrk="0" hangingPunct="0">
              <a:spcBef>
                <a:spcPct val="25000"/>
              </a:spcBef>
              <a:defRPr/>
            </a:pPr>
            <a:r>
              <a:rPr lang="en-IN" sz="2111" b="1" noProof="1">
                <a:solidFill>
                  <a:srgbClr val="3D7EDB">
                    <a:lumMod val="50000"/>
                  </a:srgbClr>
                </a:solidFill>
              </a:rPr>
              <a:t>Text</a:t>
            </a:r>
          </a:p>
        </p:txBody>
      </p:sp>
      <p:sp>
        <p:nvSpPr>
          <p:cNvPr id="10" name="Rectangle 15"/>
          <p:cNvSpPr>
            <a:spLocks noChangeArrowheads="1"/>
          </p:cNvSpPr>
          <p:nvPr userDrawn="1"/>
        </p:nvSpPr>
        <p:spPr bwMode="gray">
          <a:xfrm>
            <a:off x="656751" y="1369685"/>
            <a:ext cx="1346694" cy="637323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94413" tIns="94413" rIns="94413" bIns="94413" anchor="ctr"/>
          <a:lstStyle/>
          <a:p>
            <a:pPr algn="ctr" defTabSz="1293178" eaLnBrk="0" hangingPunct="0">
              <a:spcBef>
                <a:spcPct val="25000"/>
              </a:spcBef>
              <a:defRPr/>
            </a:pPr>
            <a:r>
              <a:rPr lang="en-US" sz="2111" b="1" noProof="1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11" name="Rectangle 4"/>
          <p:cNvSpPr>
            <a:spLocks noChangeArrowheads="1"/>
          </p:cNvSpPr>
          <p:nvPr userDrawn="1"/>
        </p:nvSpPr>
        <p:spPr bwMode="gray">
          <a:xfrm>
            <a:off x="2109285" y="4420045"/>
            <a:ext cx="11310357" cy="662267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330441" tIns="94413" rIns="94413" bIns="94413" anchor="ctr"/>
          <a:lstStyle/>
          <a:p>
            <a:pPr defTabSz="1293178" eaLnBrk="0" hangingPunct="0">
              <a:spcBef>
                <a:spcPct val="25000"/>
              </a:spcBef>
              <a:defRPr/>
            </a:pPr>
            <a:r>
              <a:rPr lang="en-US" sz="2111" b="1" noProof="1">
                <a:solidFill>
                  <a:srgbClr val="3D7EDB">
                    <a:lumMod val="50000"/>
                  </a:srgbClr>
                </a:solidFill>
              </a:rPr>
              <a:t>Text</a:t>
            </a:r>
          </a:p>
        </p:txBody>
      </p:sp>
      <p:sp>
        <p:nvSpPr>
          <p:cNvPr id="12" name="Rectangle 11"/>
          <p:cNvSpPr>
            <a:spLocks noChangeArrowheads="1"/>
          </p:cNvSpPr>
          <p:nvPr userDrawn="1"/>
        </p:nvSpPr>
        <p:spPr bwMode="gray">
          <a:xfrm>
            <a:off x="656737" y="3637091"/>
            <a:ext cx="1313699" cy="637323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94413" tIns="94413" rIns="94413" bIns="94413" anchor="ctr"/>
          <a:lstStyle/>
          <a:p>
            <a:pPr algn="ctr" defTabSz="1293178" eaLnBrk="0" hangingPunct="0">
              <a:spcBef>
                <a:spcPct val="25000"/>
              </a:spcBef>
              <a:defRPr/>
            </a:pPr>
            <a:r>
              <a:rPr lang="en-US" sz="2111" b="1" noProof="1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13" name="Rectangle 4"/>
          <p:cNvSpPr>
            <a:spLocks noChangeArrowheads="1"/>
          </p:cNvSpPr>
          <p:nvPr userDrawn="1"/>
        </p:nvSpPr>
        <p:spPr bwMode="gray">
          <a:xfrm>
            <a:off x="2100235" y="5263418"/>
            <a:ext cx="11310357" cy="662267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330441" tIns="94413" rIns="94413" bIns="94413" anchor="ctr"/>
          <a:lstStyle/>
          <a:p>
            <a:pPr defTabSz="1293178" eaLnBrk="0" hangingPunct="0">
              <a:spcBef>
                <a:spcPct val="25000"/>
              </a:spcBef>
              <a:defRPr/>
            </a:pPr>
            <a:r>
              <a:rPr lang="en-US" sz="2111" b="1" noProof="1">
                <a:solidFill>
                  <a:srgbClr val="3D7EDB">
                    <a:lumMod val="50000"/>
                  </a:srgbClr>
                </a:solidFill>
              </a:rPr>
              <a:t>Text</a:t>
            </a: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gray">
          <a:xfrm>
            <a:off x="647692" y="4480461"/>
            <a:ext cx="1313699" cy="637323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94413" tIns="94413" rIns="94413" bIns="94413" anchor="ctr"/>
          <a:lstStyle/>
          <a:p>
            <a:pPr algn="ctr" defTabSz="1293178" eaLnBrk="0" hangingPunct="0">
              <a:spcBef>
                <a:spcPct val="25000"/>
              </a:spcBef>
              <a:defRPr/>
            </a:pPr>
            <a:r>
              <a:rPr lang="en-US" sz="2111" b="1" noProof="1">
                <a:solidFill>
                  <a:srgbClr val="FFFFFF"/>
                </a:solidFill>
              </a:rPr>
              <a:t>5</a:t>
            </a:r>
          </a:p>
        </p:txBody>
      </p:sp>
      <p:sp>
        <p:nvSpPr>
          <p:cNvPr id="15" name="Rectangle 4"/>
          <p:cNvSpPr>
            <a:spLocks noChangeArrowheads="1"/>
          </p:cNvSpPr>
          <p:nvPr userDrawn="1"/>
        </p:nvSpPr>
        <p:spPr bwMode="gray">
          <a:xfrm>
            <a:off x="2117385" y="2141812"/>
            <a:ext cx="11310357" cy="662267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330441" tIns="94413" rIns="94413" bIns="94413" anchor="ctr"/>
          <a:lstStyle/>
          <a:p>
            <a:pPr defTabSz="1293178" eaLnBrk="0" hangingPunct="0">
              <a:spcBef>
                <a:spcPct val="25000"/>
              </a:spcBef>
              <a:defRPr/>
            </a:pPr>
            <a:r>
              <a:rPr lang="en-IN" sz="2111" b="1" noProof="1">
                <a:solidFill>
                  <a:srgbClr val="3D7EDB">
                    <a:lumMod val="50000"/>
                  </a:srgbClr>
                </a:solidFill>
              </a:rPr>
              <a:t>Text</a:t>
            </a:r>
          </a:p>
        </p:txBody>
      </p:sp>
      <p:sp>
        <p:nvSpPr>
          <p:cNvPr id="16" name="Rectangle 15"/>
          <p:cNvSpPr>
            <a:spLocks noChangeArrowheads="1"/>
          </p:cNvSpPr>
          <p:nvPr userDrawn="1"/>
        </p:nvSpPr>
        <p:spPr bwMode="gray">
          <a:xfrm>
            <a:off x="642920" y="5325162"/>
            <a:ext cx="1313699" cy="637323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94413" tIns="94413" rIns="94413" bIns="94413" anchor="ctr"/>
          <a:lstStyle/>
          <a:p>
            <a:pPr algn="ctr" defTabSz="1293178" eaLnBrk="0" hangingPunct="0">
              <a:spcBef>
                <a:spcPct val="25000"/>
              </a:spcBef>
              <a:defRPr/>
            </a:pPr>
            <a:r>
              <a:rPr lang="en-US" sz="2111" b="1" noProof="1">
                <a:solidFill>
                  <a:srgbClr val="FFFFFF"/>
                </a:solidFill>
              </a:rPr>
              <a:t>6</a:t>
            </a:r>
          </a:p>
        </p:txBody>
      </p:sp>
      <p:sp>
        <p:nvSpPr>
          <p:cNvPr id="17" name="Rectangle 4"/>
          <p:cNvSpPr>
            <a:spLocks noChangeArrowheads="1"/>
          </p:cNvSpPr>
          <p:nvPr userDrawn="1"/>
        </p:nvSpPr>
        <p:spPr bwMode="gray">
          <a:xfrm>
            <a:off x="2114616" y="6161543"/>
            <a:ext cx="11310357" cy="662267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330441" tIns="94413" rIns="94413" bIns="94413" anchor="ctr"/>
          <a:lstStyle/>
          <a:p>
            <a:pPr defTabSz="1293178" eaLnBrk="0" hangingPunct="0">
              <a:spcBef>
                <a:spcPct val="25000"/>
              </a:spcBef>
              <a:defRPr/>
            </a:pPr>
            <a:r>
              <a:rPr lang="en-IN" sz="2111" b="1" noProof="1">
                <a:solidFill>
                  <a:srgbClr val="3D7EDB">
                    <a:lumMod val="50000"/>
                  </a:srgbClr>
                </a:solidFill>
              </a:rPr>
              <a:t>Text</a:t>
            </a: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gray">
          <a:xfrm>
            <a:off x="662072" y="6177895"/>
            <a:ext cx="1313699" cy="637323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94413" tIns="94413" rIns="94413" bIns="94413" anchor="ctr"/>
          <a:lstStyle/>
          <a:p>
            <a:pPr algn="ctr" defTabSz="1293178" eaLnBrk="0" hangingPunct="0">
              <a:spcBef>
                <a:spcPct val="25000"/>
              </a:spcBef>
              <a:defRPr/>
            </a:pPr>
            <a:r>
              <a:rPr lang="en-US" sz="2111" b="1" noProof="1">
                <a:solidFill>
                  <a:srgbClr val="FFFFFF"/>
                </a:solidFill>
              </a:rPr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3900055546"/>
      </p:ext>
    </p:extLst>
  </p:cSld>
  <p:clrMapOvr>
    <a:masterClrMapping/>
  </p:clrMapOvr>
  <p:transition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73575" y="627357"/>
            <a:ext cx="13980332" cy="433186"/>
          </a:xfrm>
        </p:spPr>
        <p:txBody>
          <a:bodyPr/>
          <a:lstStyle>
            <a:lvl1pPr>
              <a:defRPr sz="3096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4"/>
          </p:nvPr>
        </p:nvSpPr>
        <p:spPr>
          <a:xfrm>
            <a:off x="297797" y="201216"/>
            <a:ext cx="5766928" cy="25953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8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14117434" y="247220"/>
            <a:ext cx="392327" cy="263726"/>
          </a:xfrm>
          <a:prstGeom prst="rect">
            <a:avLst/>
          </a:prstGeom>
        </p:spPr>
        <p:txBody>
          <a:bodyPr vert="horz" lIns="0" tIns="44098" rIns="69446" bIns="44098" rtlCol="0" anchor="ctr"/>
          <a:lstStyle>
            <a:lvl1pPr algn="l">
              <a:defRPr sz="1407" b="1">
                <a:solidFill>
                  <a:schemeClr val="bg1"/>
                </a:solidFill>
                <a:latin typeface="+mn-lt"/>
              </a:defRPr>
            </a:lvl1pPr>
          </a:lstStyle>
          <a:p>
            <a:fld id="{7103653F-4628-4CCA-BBFC-10994C39EA7C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1194755" y="1707617"/>
            <a:ext cx="12500600" cy="61566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118886" tIns="59442" rIns="118886" bIns="59442" anchor="ctr" anchorCtr="0">
            <a:normAutofit/>
          </a:bodyPr>
          <a:lstStyle/>
          <a:p>
            <a:pPr marL="348804" algn="just" defTabSz="1286610" fontAlgn="base">
              <a:spcBef>
                <a:spcPct val="0"/>
              </a:spcBef>
              <a:spcAft>
                <a:spcPct val="0"/>
              </a:spcAft>
            </a:pPr>
            <a:r>
              <a:rPr lang="en-IN" sz="2111" b="1" dirty="0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0" name="Oval 259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727356" y="1725883"/>
            <a:ext cx="625431" cy="520300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118886" tIns="59442" rIns="118886" bIns="59442" anchor="ctr"/>
          <a:lstStyle/>
          <a:p>
            <a:pPr algn="ctr" defTabSz="1188827">
              <a:defRPr/>
            </a:pPr>
            <a:r>
              <a:rPr lang="en-US" sz="2392" kern="0" dirty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1194755" y="2748104"/>
            <a:ext cx="12500600" cy="66782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118886" tIns="59442" rIns="118886" bIns="59442" anchor="ctr" anchorCtr="0">
            <a:normAutofit/>
          </a:bodyPr>
          <a:lstStyle/>
          <a:p>
            <a:pPr marL="348804" algn="just" defTabSz="1286610" fontAlgn="base">
              <a:spcBef>
                <a:spcPct val="0"/>
              </a:spcBef>
              <a:spcAft>
                <a:spcPct val="0"/>
              </a:spcAft>
            </a:pPr>
            <a:r>
              <a:rPr lang="en-IN" sz="2111" b="1" dirty="0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2" name="Oval 260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728816" y="2826081"/>
            <a:ext cx="625431" cy="520300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118886" tIns="59442" rIns="118886" bIns="59442" anchor="ctr"/>
          <a:lstStyle/>
          <a:p>
            <a:pPr algn="ctr" defTabSz="1188827">
              <a:defRPr/>
            </a:pPr>
            <a:r>
              <a:rPr lang="en-US" sz="2392" kern="0" dirty="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1194755" y="3840744"/>
            <a:ext cx="12500600" cy="68643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118886" tIns="59442" rIns="118886" bIns="59442" anchor="ctr" anchorCtr="0">
            <a:normAutofit/>
          </a:bodyPr>
          <a:lstStyle/>
          <a:p>
            <a:pPr marL="348804" algn="just" defTabSz="1286610" fontAlgn="base">
              <a:spcBef>
                <a:spcPct val="0"/>
              </a:spcBef>
              <a:spcAft>
                <a:spcPct val="0"/>
              </a:spcAft>
            </a:pPr>
            <a:r>
              <a:rPr lang="en-IN" sz="2111" b="1" dirty="0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4" name="Oval 26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717473" y="3908155"/>
            <a:ext cx="625431" cy="520300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118886" tIns="59442" rIns="118886" bIns="59442" anchor="ctr"/>
          <a:lstStyle/>
          <a:p>
            <a:pPr algn="ctr" defTabSz="1188827">
              <a:defRPr/>
            </a:pPr>
            <a:r>
              <a:rPr lang="en-US" sz="2392" kern="0" dirty="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1194755" y="4952002"/>
            <a:ext cx="12500600" cy="65384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118886" tIns="59442" rIns="118886" bIns="59442" anchor="ctr" anchorCtr="0">
            <a:normAutofit/>
          </a:bodyPr>
          <a:lstStyle/>
          <a:p>
            <a:pPr marL="348804" algn="just" defTabSz="1286610" fontAlgn="base">
              <a:spcBef>
                <a:spcPct val="0"/>
              </a:spcBef>
              <a:spcAft>
                <a:spcPct val="0"/>
              </a:spcAft>
            </a:pPr>
            <a:r>
              <a:rPr lang="en-IN" sz="2111" b="1" dirty="0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6" name="Oval 262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739031" y="4994915"/>
            <a:ext cx="625431" cy="520300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118886" tIns="59442" rIns="118886" bIns="59442" anchor="ctr"/>
          <a:lstStyle/>
          <a:p>
            <a:pPr algn="ctr" defTabSz="1188827">
              <a:defRPr/>
            </a:pPr>
            <a:r>
              <a:rPr lang="en-US" sz="2392" kern="0" dirty="0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1194755" y="6030665"/>
            <a:ext cx="12500600" cy="59339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118886" tIns="59442" rIns="118886" bIns="59442" anchor="ctr" anchorCtr="0">
            <a:normAutofit/>
          </a:bodyPr>
          <a:lstStyle/>
          <a:p>
            <a:pPr marL="224969" algn="just" defTabSz="1286610" fontAlgn="base">
              <a:spcBef>
                <a:spcPct val="0"/>
              </a:spcBef>
              <a:spcAft>
                <a:spcPct val="0"/>
              </a:spcAft>
            </a:pPr>
            <a:r>
              <a:rPr lang="en-IN" sz="2111" b="1" dirty="0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8" name="Oval 263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gray">
          <a:xfrm>
            <a:off x="752584" y="6066368"/>
            <a:ext cx="625431" cy="520300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118886" tIns="59442" rIns="118886" bIns="59442" anchor="ctr"/>
          <a:lstStyle/>
          <a:p>
            <a:pPr algn="ctr" defTabSz="1188827">
              <a:defRPr/>
            </a:pPr>
            <a:r>
              <a:rPr lang="en-US" sz="2392" kern="0" dirty="0">
                <a:solidFill>
                  <a:srgbClr val="FFFFFF"/>
                </a:solidFill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867085722"/>
      </p:ext>
    </p:extLst>
  </p:cSld>
  <p:clrMapOvr>
    <a:masterClrMapping/>
  </p:clrMapOvr>
  <p:transition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with image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6907" y="593618"/>
            <a:ext cx="14234162" cy="433186"/>
          </a:xfrm>
        </p:spPr>
        <p:txBody>
          <a:bodyPr/>
          <a:lstStyle>
            <a:lvl1pPr>
              <a:defRPr sz="2532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271047" y="1212622"/>
            <a:ext cx="14022352" cy="444634"/>
          </a:xfrm>
        </p:spPr>
        <p:txBody>
          <a:bodyPr/>
          <a:lstStyle>
            <a:lvl1pPr>
              <a:buNone/>
              <a:defRPr sz="2111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ijdelijke aanduiding voor tekst 20"/>
          <p:cNvSpPr>
            <a:spLocks noGrp="1"/>
          </p:cNvSpPr>
          <p:nvPr>
            <p:ph type="body" sz="quarter" idx="19"/>
          </p:nvPr>
        </p:nvSpPr>
        <p:spPr>
          <a:xfrm>
            <a:off x="3887888" y="1919708"/>
            <a:ext cx="10251069" cy="1583865"/>
          </a:xfrm>
          <a:solidFill>
            <a:schemeClr val="tx2">
              <a:lumMod val="20000"/>
              <a:lumOff val="80000"/>
            </a:schemeClr>
          </a:solidFill>
        </p:spPr>
        <p:txBody>
          <a:bodyPr anchor="t" anchorCtr="0"/>
          <a:lstStyle>
            <a:lvl1pPr>
              <a:spcBef>
                <a:spcPts val="0"/>
              </a:spcBef>
              <a:defRPr sz="1830"/>
            </a:lvl1pPr>
            <a:lvl2pPr>
              <a:spcBef>
                <a:spcPts val="0"/>
              </a:spcBef>
              <a:defRPr sz="183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2" name="Tijdelijke aanduiding voor tekst 20"/>
          <p:cNvSpPr>
            <a:spLocks noGrp="1"/>
          </p:cNvSpPr>
          <p:nvPr>
            <p:ph type="body" sz="quarter" idx="20"/>
          </p:nvPr>
        </p:nvSpPr>
        <p:spPr>
          <a:xfrm>
            <a:off x="3887888" y="5872105"/>
            <a:ext cx="10251069" cy="1583865"/>
          </a:xfrm>
          <a:solidFill>
            <a:schemeClr val="tx2">
              <a:lumMod val="20000"/>
              <a:lumOff val="80000"/>
            </a:schemeClr>
          </a:solidFill>
        </p:spPr>
        <p:txBody>
          <a:bodyPr anchor="t" anchorCtr="0"/>
          <a:lstStyle>
            <a:lvl1pPr>
              <a:spcBef>
                <a:spcPts val="0"/>
              </a:spcBef>
              <a:defRPr sz="1830"/>
            </a:lvl1pPr>
            <a:lvl2pPr>
              <a:spcBef>
                <a:spcPts val="0"/>
              </a:spcBef>
              <a:defRPr sz="183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Tijdelijke aanduiding voor tekst 20"/>
          <p:cNvSpPr>
            <a:spLocks noGrp="1"/>
          </p:cNvSpPr>
          <p:nvPr>
            <p:ph type="body" sz="quarter" idx="21"/>
          </p:nvPr>
        </p:nvSpPr>
        <p:spPr>
          <a:xfrm>
            <a:off x="3887888" y="3895907"/>
            <a:ext cx="10251069" cy="1583865"/>
          </a:xfrm>
          <a:solidFill>
            <a:schemeClr val="tx2">
              <a:lumMod val="20000"/>
              <a:lumOff val="80000"/>
            </a:schemeClr>
          </a:solidFill>
        </p:spPr>
        <p:txBody>
          <a:bodyPr anchor="t" anchorCtr="0"/>
          <a:lstStyle>
            <a:lvl1pPr>
              <a:spcBef>
                <a:spcPts val="0"/>
              </a:spcBef>
              <a:defRPr sz="1830"/>
            </a:lvl1pPr>
            <a:lvl2pPr>
              <a:spcBef>
                <a:spcPts val="0"/>
              </a:spcBef>
              <a:defRPr sz="183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ijdelijke aanduiding voor afbeelding 12"/>
          <p:cNvSpPr>
            <a:spLocks noGrp="1"/>
          </p:cNvSpPr>
          <p:nvPr>
            <p:ph type="pic" sz="quarter" idx="22"/>
          </p:nvPr>
        </p:nvSpPr>
        <p:spPr>
          <a:xfrm>
            <a:off x="375113" y="1919708"/>
            <a:ext cx="3226929" cy="1583865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 dirty="0"/>
              <a:t>Click icon to add picture</a:t>
            </a:r>
            <a:endParaRPr lang="nl-NL" noProof="0"/>
          </a:p>
        </p:txBody>
      </p:sp>
      <p:sp>
        <p:nvSpPr>
          <p:cNvPr id="14" name="Tijdelijke aanduiding voor afbeelding 12"/>
          <p:cNvSpPr>
            <a:spLocks noGrp="1"/>
          </p:cNvSpPr>
          <p:nvPr>
            <p:ph type="pic" sz="quarter" idx="23"/>
          </p:nvPr>
        </p:nvSpPr>
        <p:spPr>
          <a:xfrm>
            <a:off x="355365" y="3895907"/>
            <a:ext cx="3244084" cy="1583865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 dirty="0"/>
              <a:t>Click icon to add picture</a:t>
            </a:r>
            <a:endParaRPr lang="nl-NL" noProof="0"/>
          </a:p>
        </p:txBody>
      </p:sp>
      <p:sp>
        <p:nvSpPr>
          <p:cNvPr id="15" name="Tijdelijke aanduiding voor afbeelding 12"/>
          <p:cNvSpPr>
            <a:spLocks noGrp="1"/>
          </p:cNvSpPr>
          <p:nvPr>
            <p:ph type="pic" sz="quarter" idx="24"/>
          </p:nvPr>
        </p:nvSpPr>
        <p:spPr>
          <a:xfrm>
            <a:off x="394850" y="5872105"/>
            <a:ext cx="3204602" cy="1583865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 dirty="0"/>
              <a:t>Click icon to add picture</a:t>
            </a:r>
            <a:endParaRPr lang="nl-NL" noProof="0"/>
          </a:p>
        </p:txBody>
      </p:sp>
      <p:sp>
        <p:nvSpPr>
          <p:cNvPr id="10" name="Rectangle 5"/>
          <p:cNvSpPr>
            <a:spLocks noGrp="1" noChangeArrowheads="1"/>
          </p:cNvSpPr>
          <p:nvPr>
            <p:ph type="sldNum" sz="quarter" idx="2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1C7F818-1137-44F4-B6D6-BECAD6B9515E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1" name="Rectangle 6"/>
          <p:cNvSpPr>
            <a:spLocks noGrp="1" noChangeArrowheads="1"/>
          </p:cNvSpPr>
          <p:nvPr>
            <p:ph type="ftr" sz="quarter" idx="26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680826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image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8688" y="1015220"/>
            <a:ext cx="13352712" cy="433186"/>
          </a:xfrm>
        </p:spPr>
        <p:txBody>
          <a:bodyPr/>
          <a:lstStyle>
            <a:lvl1pPr>
              <a:defRPr sz="2532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646150" y="1819718"/>
            <a:ext cx="13378153" cy="444634"/>
          </a:xfrm>
        </p:spPr>
        <p:txBody>
          <a:bodyPr/>
          <a:lstStyle>
            <a:lvl1pPr>
              <a:buNone/>
              <a:defRPr sz="2111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ijdelijke aanduiding voor tekst 20"/>
          <p:cNvSpPr>
            <a:spLocks noGrp="1"/>
          </p:cNvSpPr>
          <p:nvPr>
            <p:ph type="body" sz="quarter" idx="19"/>
          </p:nvPr>
        </p:nvSpPr>
        <p:spPr>
          <a:xfrm>
            <a:off x="5214959" y="2509950"/>
            <a:ext cx="8791575" cy="2423400"/>
          </a:xfrm>
          <a:solidFill>
            <a:schemeClr val="tx2">
              <a:lumMod val="20000"/>
              <a:lumOff val="80000"/>
            </a:schemeClr>
          </a:solidFill>
        </p:spPr>
        <p:txBody>
          <a:bodyPr anchor="t" anchorCtr="0"/>
          <a:lstStyle>
            <a:lvl1pPr>
              <a:spcBef>
                <a:spcPts val="0"/>
              </a:spcBef>
              <a:defRPr sz="1830"/>
            </a:lvl1pPr>
            <a:lvl2pPr>
              <a:spcBef>
                <a:spcPts val="0"/>
              </a:spcBef>
              <a:defRPr sz="183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Tijdelijke aanduiding voor tekst 20"/>
          <p:cNvSpPr>
            <a:spLocks noGrp="1"/>
          </p:cNvSpPr>
          <p:nvPr>
            <p:ph type="body" sz="quarter" idx="21"/>
          </p:nvPr>
        </p:nvSpPr>
        <p:spPr>
          <a:xfrm>
            <a:off x="5214959" y="5262240"/>
            <a:ext cx="8791575" cy="2423400"/>
          </a:xfrm>
          <a:solidFill>
            <a:schemeClr val="tx2">
              <a:lumMod val="20000"/>
              <a:lumOff val="80000"/>
            </a:schemeClr>
          </a:solidFill>
        </p:spPr>
        <p:txBody>
          <a:bodyPr anchor="t" anchorCtr="0"/>
          <a:lstStyle>
            <a:lvl1pPr>
              <a:spcBef>
                <a:spcPts val="0"/>
              </a:spcBef>
              <a:defRPr sz="1830"/>
            </a:lvl1pPr>
            <a:lvl2pPr>
              <a:spcBef>
                <a:spcPts val="0"/>
              </a:spcBef>
              <a:defRPr sz="183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ijdelijke aanduiding voor afbeelding 12"/>
          <p:cNvSpPr>
            <a:spLocks noGrp="1" noChangeAspect="1"/>
          </p:cNvSpPr>
          <p:nvPr>
            <p:ph type="pic" sz="quarter" idx="22"/>
          </p:nvPr>
        </p:nvSpPr>
        <p:spPr>
          <a:xfrm>
            <a:off x="648685" y="2509950"/>
            <a:ext cx="4222725" cy="24234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 dirty="0"/>
              <a:t>Click icon to add picture</a:t>
            </a:r>
            <a:endParaRPr lang="nl-NL" noProof="0"/>
          </a:p>
        </p:txBody>
      </p:sp>
      <p:sp>
        <p:nvSpPr>
          <p:cNvPr id="14" name="Tijdelijke aanduiding voor afbeelding 12"/>
          <p:cNvSpPr>
            <a:spLocks noGrp="1" noChangeAspect="1"/>
          </p:cNvSpPr>
          <p:nvPr>
            <p:ph type="pic" sz="quarter" idx="23"/>
          </p:nvPr>
        </p:nvSpPr>
        <p:spPr>
          <a:xfrm>
            <a:off x="646100" y="5262240"/>
            <a:ext cx="4222725" cy="24234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 dirty="0"/>
              <a:t>Click icon to add picture</a:t>
            </a:r>
            <a:endParaRPr lang="nl-NL" noProof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sldNum" sz="quarter" idx="24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5A22AC8-36D9-4965-81AD-19038FCC0CCE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0" name="Rectangle 6"/>
          <p:cNvSpPr>
            <a:spLocks noGrp="1" noChangeArrowheads="1"/>
          </p:cNvSpPr>
          <p:nvPr>
            <p:ph type="ftr" sz="quarter" idx="2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3068205"/>
      </p:ext>
    </p:extLst>
  </p:cSld>
  <p:clrMapOvr>
    <a:masterClrMapping/>
  </p:clrMapOvr>
  <p:transition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image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8693" y="1015222"/>
            <a:ext cx="13352712" cy="433186"/>
          </a:xfrm>
        </p:spPr>
        <p:txBody>
          <a:bodyPr/>
          <a:lstStyle>
            <a:lvl1pPr>
              <a:defRPr sz="2532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646144" y="1819718"/>
            <a:ext cx="13378153" cy="444634"/>
          </a:xfrm>
        </p:spPr>
        <p:txBody>
          <a:bodyPr/>
          <a:lstStyle>
            <a:lvl1pPr>
              <a:buNone/>
              <a:defRPr sz="2111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ijdelijke aanduiding voor tekst 20"/>
          <p:cNvSpPr>
            <a:spLocks noGrp="1"/>
          </p:cNvSpPr>
          <p:nvPr>
            <p:ph type="body" sz="quarter" idx="19"/>
          </p:nvPr>
        </p:nvSpPr>
        <p:spPr>
          <a:xfrm>
            <a:off x="5214953" y="2509950"/>
            <a:ext cx="8791575" cy="2423400"/>
          </a:xfrm>
          <a:solidFill>
            <a:schemeClr val="tx2">
              <a:lumMod val="20000"/>
              <a:lumOff val="80000"/>
            </a:schemeClr>
          </a:solidFill>
        </p:spPr>
        <p:txBody>
          <a:bodyPr anchor="t" anchorCtr="0"/>
          <a:lstStyle>
            <a:lvl1pPr>
              <a:spcBef>
                <a:spcPts val="0"/>
              </a:spcBef>
              <a:defRPr sz="1830"/>
            </a:lvl1pPr>
            <a:lvl2pPr>
              <a:spcBef>
                <a:spcPts val="0"/>
              </a:spcBef>
              <a:defRPr sz="183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Tijdelijke aanduiding voor tekst 20"/>
          <p:cNvSpPr>
            <a:spLocks noGrp="1"/>
          </p:cNvSpPr>
          <p:nvPr>
            <p:ph type="body" sz="quarter" idx="21"/>
          </p:nvPr>
        </p:nvSpPr>
        <p:spPr>
          <a:xfrm>
            <a:off x="5214953" y="5262240"/>
            <a:ext cx="8791575" cy="2423400"/>
          </a:xfrm>
          <a:solidFill>
            <a:schemeClr val="tx2">
              <a:lumMod val="20000"/>
              <a:lumOff val="80000"/>
            </a:schemeClr>
          </a:solidFill>
        </p:spPr>
        <p:txBody>
          <a:bodyPr anchor="t" anchorCtr="0"/>
          <a:lstStyle>
            <a:lvl1pPr>
              <a:spcBef>
                <a:spcPts val="0"/>
              </a:spcBef>
              <a:defRPr sz="1830"/>
            </a:lvl1pPr>
            <a:lvl2pPr>
              <a:spcBef>
                <a:spcPts val="0"/>
              </a:spcBef>
              <a:defRPr sz="183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ijdelijke aanduiding voor afbeelding 12"/>
          <p:cNvSpPr>
            <a:spLocks noGrp="1" noChangeAspect="1"/>
          </p:cNvSpPr>
          <p:nvPr>
            <p:ph type="pic" sz="quarter" idx="22"/>
          </p:nvPr>
        </p:nvSpPr>
        <p:spPr>
          <a:xfrm>
            <a:off x="648685" y="2509950"/>
            <a:ext cx="4222725" cy="24234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 dirty="0"/>
              <a:t>Click icon to add picture</a:t>
            </a:r>
            <a:endParaRPr lang="nl-NL" noProof="0"/>
          </a:p>
        </p:txBody>
      </p:sp>
      <p:sp>
        <p:nvSpPr>
          <p:cNvPr id="14" name="Tijdelijke aanduiding voor afbeelding 12"/>
          <p:cNvSpPr>
            <a:spLocks noGrp="1" noChangeAspect="1"/>
          </p:cNvSpPr>
          <p:nvPr>
            <p:ph type="pic" sz="quarter" idx="23"/>
          </p:nvPr>
        </p:nvSpPr>
        <p:spPr>
          <a:xfrm>
            <a:off x="646101" y="5262240"/>
            <a:ext cx="4222725" cy="24234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 dirty="0"/>
              <a:t>Click icon to add picture</a:t>
            </a:r>
            <a:endParaRPr lang="nl-NL" noProof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sldNum" sz="quarter" idx="24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5A22AC8-36D9-4965-81AD-19038FCC0CCE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0" name="Rectangle 6"/>
          <p:cNvSpPr>
            <a:spLocks noGrp="1" noChangeArrowheads="1"/>
          </p:cNvSpPr>
          <p:nvPr>
            <p:ph type="ftr" sz="quarter" idx="2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5117188"/>
      </p:ext>
    </p:extLst>
  </p:cSld>
  <p:clrMapOvr>
    <a:masterClrMapping/>
  </p:clrMapOvr>
  <p:transition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72291" y="627349"/>
            <a:ext cx="14059299" cy="433186"/>
          </a:xfrm>
        </p:spPr>
        <p:txBody>
          <a:bodyPr/>
          <a:lstStyle>
            <a:lvl1pPr>
              <a:defRPr sz="2532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16" name="Tijdelijke aanduiding voor tekst 15"/>
          <p:cNvSpPr>
            <a:spLocks noGrp="1"/>
          </p:cNvSpPr>
          <p:nvPr>
            <p:ph type="body" sz="quarter" idx="14"/>
          </p:nvPr>
        </p:nvSpPr>
        <p:spPr>
          <a:xfrm>
            <a:off x="533044" y="2307581"/>
            <a:ext cx="6732108" cy="432750"/>
          </a:xfrm>
          <a:solidFill>
            <a:schemeClr val="tx2">
              <a:lumMod val="20000"/>
              <a:lumOff val="80000"/>
            </a:schemeClr>
          </a:solidFill>
        </p:spPr>
        <p:txBody>
          <a:bodyPr lIns="179967" anchor="ctr"/>
          <a:lstStyle>
            <a:lvl1pPr marL="0" indent="0" algn="l">
              <a:spcBef>
                <a:spcPts val="0"/>
              </a:spcBef>
              <a:buNone/>
              <a:defRPr sz="183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7" name="Tijdelijke aanduiding voor tekst 15"/>
          <p:cNvSpPr>
            <a:spLocks noGrp="1"/>
          </p:cNvSpPr>
          <p:nvPr>
            <p:ph type="body" sz="quarter" idx="15"/>
          </p:nvPr>
        </p:nvSpPr>
        <p:spPr>
          <a:xfrm>
            <a:off x="7676983" y="2307581"/>
            <a:ext cx="6655819" cy="432750"/>
          </a:xfrm>
          <a:solidFill>
            <a:schemeClr val="accent5">
              <a:lumMod val="60000"/>
              <a:lumOff val="40000"/>
            </a:schemeClr>
          </a:solidFill>
        </p:spPr>
        <p:txBody>
          <a:bodyPr lIns="179967" anchor="ctr"/>
          <a:lstStyle>
            <a:lvl1pPr marL="0" indent="0">
              <a:spcBef>
                <a:spcPts val="0"/>
              </a:spcBef>
              <a:buNone/>
              <a:defRPr sz="183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330268" y="1263217"/>
            <a:ext cx="14081579" cy="444634"/>
          </a:xfrm>
        </p:spPr>
        <p:txBody>
          <a:bodyPr/>
          <a:lstStyle>
            <a:lvl1pPr>
              <a:buNone/>
              <a:defRPr sz="2111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ijdelijke aanduiding voor tekst 20"/>
          <p:cNvSpPr>
            <a:spLocks noGrp="1"/>
          </p:cNvSpPr>
          <p:nvPr>
            <p:ph type="body" sz="quarter" idx="19"/>
          </p:nvPr>
        </p:nvSpPr>
        <p:spPr>
          <a:xfrm>
            <a:off x="533044" y="2718695"/>
            <a:ext cx="6732108" cy="4721303"/>
          </a:xfrm>
        </p:spPr>
        <p:txBody>
          <a:bodyPr/>
          <a:lstStyle>
            <a:lvl1pPr>
              <a:defRPr sz="1830"/>
            </a:lvl1pPr>
            <a:lvl2pPr>
              <a:defRPr sz="183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1" name="Tijdelijke aanduiding voor tekst 20"/>
          <p:cNvSpPr>
            <a:spLocks noGrp="1"/>
          </p:cNvSpPr>
          <p:nvPr>
            <p:ph type="body" sz="quarter" idx="20"/>
          </p:nvPr>
        </p:nvSpPr>
        <p:spPr>
          <a:xfrm>
            <a:off x="7677059" y="2718695"/>
            <a:ext cx="6655819" cy="4721303"/>
          </a:xfrm>
        </p:spPr>
        <p:txBody>
          <a:bodyPr/>
          <a:lstStyle>
            <a:lvl1pPr>
              <a:defRPr sz="1830"/>
            </a:lvl1pPr>
            <a:lvl2pPr>
              <a:defRPr sz="183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8" name="Rectangle 5"/>
          <p:cNvSpPr>
            <a:spLocks noGrp="1" noChangeArrowheads="1"/>
          </p:cNvSpPr>
          <p:nvPr>
            <p:ph type="sldNum" sz="quarter" idx="2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EEDDE4F-381E-4904-8E4A-86B45F5FCC9F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2" name="Rectangle 6"/>
          <p:cNvSpPr>
            <a:spLocks noGrp="1" noChangeArrowheads="1"/>
          </p:cNvSpPr>
          <p:nvPr>
            <p:ph type="ftr" sz="quarter" idx="2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4435343"/>
      </p:ext>
    </p:extLst>
  </p:cSld>
  <p:clrMapOvr>
    <a:masterClrMapping/>
  </p:clrMapOvr>
  <p:transition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8693" y="1015222"/>
            <a:ext cx="13352712" cy="433186"/>
          </a:xfrm>
        </p:spPr>
        <p:txBody>
          <a:bodyPr/>
          <a:lstStyle>
            <a:lvl1pPr>
              <a:defRPr sz="2532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16" name="Tijdelijke aanduiding voor tekst 15"/>
          <p:cNvSpPr>
            <a:spLocks noGrp="1"/>
          </p:cNvSpPr>
          <p:nvPr>
            <p:ph type="body" sz="quarter" idx="14"/>
          </p:nvPr>
        </p:nvSpPr>
        <p:spPr>
          <a:xfrm>
            <a:off x="646101" y="2509950"/>
            <a:ext cx="4222725" cy="432750"/>
          </a:xfrm>
          <a:solidFill>
            <a:schemeClr val="tx2">
              <a:lumMod val="20000"/>
              <a:lumOff val="80000"/>
            </a:schemeClr>
          </a:solidFill>
        </p:spPr>
        <p:txBody>
          <a:bodyPr lIns="179967" anchor="ctr"/>
          <a:lstStyle>
            <a:lvl1pPr marL="0" indent="0" algn="l">
              <a:spcBef>
                <a:spcPts val="0"/>
              </a:spcBef>
              <a:buNone/>
              <a:defRPr sz="183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7" name="Tijdelijke aanduiding voor tekst 15"/>
          <p:cNvSpPr>
            <a:spLocks noGrp="1"/>
          </p:cNvSpPr>
          <p:nvPr>
            <p:ph type="body" sz="quarter" idx="15"/>
          </p:nvPr>
        </p:nvSpPr>
        <p:spPr>
          <a:xfrm>
            <a:off x="5220721" y="2509950"/>
            <a:ext cx="4222725" cy="432750"/>
          </a:xfrm>
          <a:solidFill>
            <a:schemeClr val="bg1">
              <a:lumMod val="85000"/>
            </a:schemeClr>
          </a:solidFill>
        </p:spPr>
        <p:txBody>
          <a:bodyPr lIns="179967" anchor="ctr"/>
          <a:lstStyle>
            <a:lvl1pPr marL="0" indent="0">
              <a:spcBef>
                <a:spcPts val="0"/>
              </a:spcBef>
              <a:buNone/>
              <a:defRPr sz="183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646144" y="1819718"/>
            <a:ext cx="13378153" cy="444634"/>
          </a:xfrm>
        </p:spPr>
        <p:txBody>
          <a:bodyPr/>
          <a:lstStyle>
            <a:lvl1pPr>
              <a:buNone/>
              <a:defRPr sz="2111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ijdelijke aanduiding voor tekst 15"/>
          <p:cNvSpPr>
            <a:spLocks noGrp="1"/>
          </p:cNvSpPr>
          <p:nvPr>
            <p:ph type="body" sz="quarter" idx="18"/>
          </p:nvPr>
        </p:nvSpPr>
        <p:spPr>
          <a:xfrm>
            <a:off x="9778035" y="2509950"/>
            <a:ext cx="4222725" cy="432750"/>
          </a:xfrm>
          <a:solidFill>
            <a:schemeClr val="tx2">
              <a:lumMod val="20000"/>
              <a:lumOff val="80000"/>
            </a:schemeClr>
          </a:solidFill>
        </p:spPr>
        <p:txBody>
          <a:bodyPr lIns="179967" anchor="ctr"/>
          <a:lstStyle>
            <a:lvl1pPr marL="0" indent="0">
              <a:spcBef>
                <a:spcPts val="0"/>
              </a:spcBef>
              <a:buNone/>
              <a:defRPr sz="183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1" name="Tijdelijke aanduiding voor tekst 20"/>
          <p:cNvSpPr>
            <a:spLocks noGrp="1"/>
          </p:cNvSpPr>
          <p:nvPr>
            <p:ph type="body" sz="quarter" idx="19"/>
          </p:nvPr>
        </p:nvSpPr>
        <p:spPr>
          <a:xfrm>
            <a:off x="646101" y="2921064"/>
            <a:ext cx="4222725" cy="4721303"/>
          </a:xfrm>
        </p:spPr>
        <p:txBody>
          <a:bodyPr/>
          <a:lstStyle>
            <a:lvl1pPr>
              <a:defRPr sz="1830"/>
            </a:lvl1pPr>
            <a:lvl2pPr>
              <a:defRPr sz="183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2" name="Tijdelijke aanduiding voor tekst 20"/>
          <p:cNvSpPr>
            <a:spLocks noGrp="1"/>
          </p:cNvSpPr>
          <p:nvPr>
            <p:ph type="body" sz="quarter" idx="20"/>
          </p:nvPr>
        </p:nvSpPr>
        <p:spPr>
          <a:xfrm>
            <a:off x="5220721" y="2921064"/>
            <a:ext cx="4222725" cy="4721303"/>
          </a:xfrm>
        </p:spPr>
        <p:txBody>
          <a:bodyPr/>
          <a:lstStyle>
            <a:lvl1pPr>
              <a:defRPr sz="1830"/>
            </a:lvl1pPr>
            <a:lvl2pPr>
              <a:defRPr sz="183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Tijdelijke aanduiding voor tekst 20"/>
          <p:cNvSpPr>
            <a:spLocks noGrp="1"/>
          </p:cNvSpPr>
          <p:nvPr>
            <p:ph type="body" sz="quarter" idx="21"/>
          </p:nvPr>
        </p:nvSpPr>
        <p:spPr>
          <a:xfrm>
            <a:off x="9778035" y="2921064"/>
            <a:ext cx="4222725" cy="4721303"/>
          </a:xfrm>
        </p:spPr>
        <p:txBody>
          <a:bodyPr/>
          <a:lstStyle>
            <a:lvl1pPr>
              <a:defRPr sz="1830"/>
            </a:lvl1pPr>
            <a:lvl2pPr>
              <a:defRPr sz="183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Rectangle 5"/>
          <p:cNvSpPr>
            <a:spLocks noGrp="1" noChangeArrowheads="1"/>
          </p:cNvSpPr>
          <p:nvPr>
            <p:ph type="sldNum" sz="quarter" idx="2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F7271F2-7CBD-49FF-AC82-FB447FEFDDB6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2" name="Rectangle 6"/>
          <p:cNvSpPr>
            <a:spLocks noGrp="1" noChangeArrowheads="1"/>
          </p:cNvSpPr>
          <p:nvPr>
            <p:ph type="ftr" sz="quarter" idx="23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4159880"/>
      </p:ext>
    </p:extLst>
  </p:cSld>
  <p:clrMapOvr>
    <a:masterClrMapping/>
  </p:clrMapOvr>
  <p:transition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8693" y="1015222"/>
            <a:ext cx="13352712" cy="433186"/>
          </a:xfrm>
        </p:spPr>
        <p:txBody>
          <a:bodyPr/>
          <a:lstStyle>
            <a:lvl1pPr>
              <a:defRPr sz="2532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6" name="Tijdelijke aanduiding voor tekst 15"/>
          <p:cNvSpPr>
            <a:spLocks noGrp="1"/>
          </p:cNvSpPr>
          <p:nvPr>
            <p:ph type="body" sz="quarter" idx="14"/>
          </p:nvPr>
        </p:nvSpPr>
        <p:spPr>
          <a:xfrm>
            <a:off x="646101" y="2509950"/>
            <a:ext cx="13355298" cy="432750"/>
          </a:xfrm>
          <a:solidFill>
            <a:schemeClr val="tx2">
              <a:lumMod val="20000"/>
              <a:lumOff val="80000"/>
            </a:schemeClr>
          </a:solidFill>
        </p:spPr>
        <p:txBody>
          <a:bodyPr lIns="179967" anchor="ctr"/>
          <a:lstStyle>
            <a:lvl1pPr marL="0" indent="0" algn="l">
              <a:spcBef>
                <a:spcPts val="0"/>
              </a:spcBef>
              <a:buNone/>
              <a:defRPr sz="183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646144" y="1819718"/>
            <a:ext cx="13378153" cy="444634"/>
          </a:xfrm>
        </p:spPr>
        <p:txBody>
          <a:bodyPr/>
          <a:lstStyle>
            <a:lvl1pPr>
              <a:buNone/>
              <a:defRPr sz="2111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Tijdelijke aanduiding voor tekst 10"/>
          <p:cNvSpPr>
            <a:spLocks noGrp="1"/>
          </p:cNvSpPr>
          <p:nvPr>
            <p:ph type="body" sz="quarter" idx="18"/>
          </p:nvPr>
        </p:nvSpPr>
        <p:spPr>
          <a:xfrm>
            <a:off x="646100" y="2942700"/>
            <a:ext cx="13355257" cy="1151115"/>
          </a:xfrm>
        </p:spPr>
        <p:txBody>
          <a:bodyPr/>
          <a:lstStyle>
            <a:lvl1pPr>
              <a:spcBef>
                <a:spcPts val="0"/>
              </a:spcBef>
              <a:defRPr sz="1830"/>
            </a:lvl1pPr>
            <a:lvl2pPr>
              <a:spcBef>
                <a:spcPts val="0"/>
              </a:spcBef>
              <a:defRPr sz="183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9" name="Tijdelijke aanduiding voor tekst 10"/>
          <p:cNvSpPr>
            <a:spLocks noGrp="1"/>
          </p:cNvSpPr>
          <p:nvPr>
            <p:ph type="body" sz="quarter" idx="19"/>
          </p:nvPr>
        </p:nvSpPr>
        <p:spPr>
          <a:xfrm>
            <a:off x="646144" y="4703994"/>
            <a:ext cx="13355257" cy="1151115"/>
          </a:xfrm>
        </p:spPr>
        <p:txBody>
          <a:bodyPr/>
          <a:lstStyle>
            <a:lvl1pPr>
              <a:spcBef>
                <a:spcPts val="0"/>
              </a:spcBef>
              <a:defRPr sz="1830"/>
            </a:lvl1pPr>
            <a:lvl2pPr>
              <a:spcBef>
                <a:spcPts val="0"/>
              </a:spcBef>
              <a:defRPr sz="183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0" name="Tijdelijke aanduiding voor tekst 10"/>
          <p:cNvSpPr>
            <a:spLocks noGrp="1"/>
          </p:cNvSpPr>
          <p:nvPr>
            <p:ph type="body" sz="quarter" idx="20"/>
          </p:nvPr>
        </p:nvSpPr>
        <p:spPr>
          <a:xfrm>
            <a:off x="646144" y="6469613"/>
            <a:ext cx="13355257" cy="1151115"/>
          </a:xfrm>
        </p:spPr>
        <p:txBody>
          <a:bodyPr/>
          <a:lstStyle>
            <a:lvl1pPr>
              <a:spcBef>
                <a:spcPts val="0"/>
              </a:spcBef>
              <a:defRPr sz="1830"/>
            </a:lvl1pPr>
            <a:lvl2pPr>
              <a:spcBef>
                <a:spcPts val="0"/>
              </a:spcBef>
              <a:defRPr sz="183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ijdelijke aanduiding voor tekst 15"/>
          <p:cNvSpPr>
            <a:spLocks noGrp="1"/>
          </p:cNvSpPr>
          <p:nvPr>
            <p:ph type="body" sz="quarter" idx="21"/>
          </p:nvPr>
        </p:nvSpPr>
        <p:spPr>
          <a:xfrm>
            <a:off x="646101" y="4271243"/>
            <a:ext cx="13355298" cy="432750"/>
          </a:xfrm>
          <a:solidFill>
            <a:schemeClr val="bg1">
              <a:lumMod val="85000"/>
            </a:schemeClr>
          </a:solidFill>
        </p:spPr>
        <p:txBody>
          <a:bodyPr lIns="179967" anchor="ctr"/>
          <a:lstStyle>
            <a:lvl1pPr marL="0" indent="0" algn="l">
              <a:spcBef>
                <a:spcPts val="0"/>
              </a:spcBef>
              <a:buNone/>
              <a:defRPr sz="183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2" name="Tijdelijke aanduiding voor tekst 15"/>
          <p:cNvSpPr>
            <a:spLocks noGrp="1"/>
          </p:cNvSpPr>
          <p:nvPr>
            <p:ph type="body" sz="quarter" idx="22"/>
          </p:nvPr>
        </p:nvSpPr>
        <p:spPr>
          <a:xfrm>
            <a:off x="646142" y="6036863"/>
            <a:ext cx="13355298" cy="432750"/>
          </a:xfrm>
          <a:solidFill>
            <a:schemeClr val="tx2">
              <a:lumMod val="20000"/>
              <a:lumOff val="80000"/>
            </a:schemeClr>
          </a:solidFill>
        </p:spPr>
        <p:txBody>
          <a:bodyPr lIns="179967" anchor="ctr"/>
          <a:lstStyle>
            <a:lvl1pPr marL="0" indent="0" algn="l">
              <a:spcBef>
                <a:spcPts val="0"/>
              </a:spcBef>
              <a:buNone/>
              <a:defRPr sz="183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Rectangle 5"/>
          <p:cNvSpPr>
            <a:spLocks noGrp="1" noChangeArrowheads="1"/>
          </p:cNvSpPr>
          <p:nvPr>
            <p:ph type="sldNum" sz="quarter" idx="23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2F3E2E6-0002-40E1-98BA-05E901993722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1" name="Rectangle 6"/>
          <p:cNvSpPr>
            <a:spLocks noGrp="1" noChangeArrowheads="1"/>
          </p:cNvSpPr>
          <p:nvPr>
            <p:ph type="ftr" sz="quarter" idx="24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2727103"/>
      </p:ext>
    </p:extLst>
  </p:cSld>
  <p:clrMapOvr>
    <a:masterClrMapping/>
  </p:clrMapOvr>
  <p:transition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3" descr="TG_BM_RGB"/>
          <p:cNvPicPr>
            <a:picLocks noChangeAspect="1" noChangeArrowheads="1"/>
          </p:cNvPicPr>
          <p:nvPr userDrawn="1"/>
        </p:nvPicPr>
        <p:blipFill>
          <a:blip r:embed="rId2" cstate="print"/>
          <a:srcRect l="9850" t="10782" r="9810" b="10782"/>
          <a:stretch>
            <a:fillRect/>
          </a:stretch>
        </p:blipFill>
        <p:spPr bwMode="auto">
          <a:xfrm>
            <a:off x="13691049" y="89695"/>
            <a:ext cx="786053" cy="5171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23" descr="TS_BM_RGB"/>
          <p:cNvPicPr>
            <a:picLocks noChangeAspect="1" noChangeArrowheads="1"/>
          </p:cNvPicPr>
          <p:nvPr userDrawn="1"/>
        </p:nvPicPr>
        <p:blipFill>
          <a:blip r:embed="rId3" cstate="print"/>
          <a:srcRect l="9319" t="32796" r="9198" b="31863"/>
          <a:stretch>
            <a:fillRect/>
          </a:stretch>
        </p:blipFill>
        <p:spPr bwMode="auto">
          <a:xfrm>
            <a:off x="226406" y="7944300"/>
            <a:ext cx="1755263" cy="169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36"/>
            </a:lvl1pPr>
          </a:lstStyle>
          <a:p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8583036" y="14"/>
            <a:ext cx="4243157" cy="356853"/>
          </a:xfrm>
          <a:prstGeom prst="rect">
            <a:avLst/>
          </a:prstGeom>
        </p:spPr>
        <p:txBody>
          <a:bodyPr lIns="83426" tIns="41714" rIns="83426" bIns="41714"/>
          <a:lstStyle>
            <a:lvl1pPr marL="0" indent="0">
              <a:buNone/>
              <a:defRPr sz="1548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4"/>
          </p:nvPr>
        </p:nvSpPr>
        <p:spPr>
          <a:xfrm>
            <a:off x="11808595" y="7783991"/>
            <a:ext cx="1696755" cy="129765"/>
          </a:xfrm>
          <a:prstGeom prst="rect">
            <a:avLst/>
          </a:prstGeom>
        </p:spPr>
        <p:txBody>
          <a:bodyPr lIns="84479" tIns="42239" rIns="84479" bIns="42239"/>
          <a:lstStyle>
            <a:lvl1pPr>
              <a:defRPr/>
            </a:lvl1pPr>
          </a:lstStyle>
          <a:p>
            <a:pPr defTabSz="1286610"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FBD539C-7D05-4CDF-9AAA-99238C8D92F8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1565487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 dirty="0">
              <a:solidFill>
                <a:srgbClr val="FFFFFF"/>
              </a:solidFill>
            </a:endParaRPr>
          </a:p>
        </p:txBody>
      </p:sp>
      <p:grpSp>
        <p:nvGrpSpPr>
          <p:cNvPr id="5" name="Group 4"/>
          <p:cNvGrpSpPr/>
          <p:nvPr userDrawn="1"/>
        </p:nvGrpSpPr>
        <p:grpSpPr>
          <a:xfrm>
            <a:off x="568107" y="1878106"/>
            <a:ext cx="2412769" cy="5723804"/>
            <a:chOff x="404813" y="1566716"/>
            <a:chExt cx="1719262" cy="4774796"/>
          </a:xfrm>
        </p:grpSpPr>
        <p:sp>
          <p:nvSpPr>
            <p:cNvPr id="6" name="Rectangle 5"/>
            <p:cNvSpPr>
              <a:spLocks noChangeArrowheads="1"/>
            </p:cNvSpPr>
            <p:nvPr/>
          </p:nvSpPr>
          <p:spPr bwMode="gray">
            <a:xfrm>
              <a:off x="404813" y="1566716"/>
              <a:ext cx="1719262" cy="968375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128661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830" b="1" dirty="0">
                  <a:solidFill>
                    <a:srgbClr val="FFFFFF"/>
                  </a:solidFill>
                </a:rPr>
                <a:t>Text</a:t>
              </a:r>
            </a:p>
          </p:txBody>
        </p:sp>
        <p:sp>
          <p:nvSpPr>
            <p:cNvPr id="7" name="Rectangle 6"/>
            <p:cNvSpPr>
              <a:spLocks noChangeArrowheads="1"/>
            </p:cNvSpPr>
            <p:nvPr/>
          </p:nvSpPr>
          <p:spPr bwMode="gray">
            <a:xfrm>
              <a:off x="404813" y="2836581"/>
              <a:ext cx="1719262" cy="966788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1042289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2111" b="1" dirty="0">
                  <a:solidFill>
                    <a:srgbClr val="000000"/>
                  </a:solidFill>
                  <a:ea typeface="ＭＳ Ｐゴシック" pitchFamily="34" charset="-128"/>
                </a:rPr>
                <a:t>Text</a:t>
              </a:r>
            </a:p>
          </p:txBody>
        </p:sp>
        <p:sp>
          <p:nvSpPr>
            <p:cNvPr id="8" name="Rectangle 7"/>
            <p:cNvSpPr>
              <a:spLocks noChangeArrowheads="1"/>
            </p:cNvSpPr>
            <p:nvPr/>
          </p:nvSpPr>
          <p:spPr bwMode="gray">
            <a:xfrm>
              <a:off x="404813" y="4104859"/>
              <a:ext cx="1719262" cy="966787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128661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830" b="1" dirty="0">
                  <a:solidFill>
                    <a:srgbClr val="000000"/>
                  </a:solidFill>
                </a:rPr>
                <a:t>Text</a:t>
              </a:r>
            </a:p>
          </p:txBody>
        </p:sp>
        <p:sp>
          <p:nvSpPr>
            <p:cNvPr id="9" name="Rectangle 8"/>
            <p:cNvSpPr>
              <a:spLocks noChangeArrowheads="1"/>
            </p:cNvSpPr>
            <p:nvPr/>
          </p:nvSpPr>
          <p:spPr bwMode="gray">
            <a:xfrm>
              <a:off x="404813" y="5373137"/>
              <a:ext cx="1719262" cy="968375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128661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830" b="1" dirty="0">
                  <a:solidFill>
                    <a:srgbClr val="000000"/>
                  </a:solidFill>
                </a:rPr>
                <a:t>Text</a:t>
              </a:r>
            </a:p>
          </p:txBody>
        </p:sp>
      </p:grpSp>
      <p:sp>
        <p:nvSpPr>
          <p:cNvPr id="10" name="AutoShape 9"/>
          <p:cNvSpPr>
            <a:spLocks noChangeArrowheads="1"/>
          </p:cNvSpPr>
          <p:nvPr userDrawn="1"/>
        </p:nvSpPr>
        <p:spPr bwMode="gray">
          <a:xfrm rot="5400000" flipV="1">
            <a:off x="1610580" y="2941872"/>
            <a:ext cx="372992" cy="505725"/>
          </a:xfrm>
          <a:prstGeom prst="rightArrow">
            <a:avLst>
              <a:gd name="adj1" fmla="val 55000"/>
              <a:gd name="adj2" fmla="val 63606"/>
            </a:avLst>
          </a:prstGeom>
          <a:solidFill>
            <a:schemeClr val="tx2">
              <a:lumMod val="50000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vert="eaVert" lIns="421243" tIns="0" rIns="0" bIns="0" anchor="ctr"/>
          <a:lstStyle/>
          <a:p>
            <a:pPr algn="ctr" defTabSz="128661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noProof="1">
              <a:solidFill>
                <a:srgbClr val="000000"/>
              </a:solidFill>
            </a:endParaRPr>
          </a:p>
        </p:txBody>
      </p:sp>
      <p:sp>
        <p:nvSpPr>
          <p:cNvPr id="11" name="AutoShape 9"/>
          <p:cNvSpPr>
            <a:spLocks noChangeArrowheads="1"/>
          </p:cNvSpPr>
          <p:nvPr userDrawn="1"/>
        </p:nvSpPr>
        <p:spPr bwMode="gray">
          <a:xfrm rot="5400000" flipV="1">
            <a:off x="1610580" y="4511351"/>
            <a:ext cx="372992" cy="505725"/>
          </a:xfrm>
          <a:prstGeom prst="rightArrow">
            <a:avLst>
              <a:gd name="adj1" fmla="val 55000"/>
              <a:gd name="adj2" fmla="val 63606"/>
            </a:avLst>
          </a:prstGeom>
          <a:solidFill>
            <a:schemeClr val="tx2">
              <a:lumMod val="50000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vert="eaVert" lIns="421243" tIns="0" rIns="0" bIns="0" anchor="ctr"/>
          <a:lstStyle/>
          <a:p>
            <a:pPr algn="ctr" defTabSz="128661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noProof="1">
              <a:solidFill>
                <a:srgbClr val="000000"/>
              </a:solidFill>
            </a:endParaRPr>
          </a:p>
        </p:txBody>
      </p:sp>
      <p:sp>
        <p:nvSpPr>
          <p:cNvPr id="12" name="AutoShape 9"/>
          <p:cNvSpPr>
            <a:spLocks noChangeArrowheads="1"/>
          </p:cNvSpPr>
          <p:nvPr userDrawn="1"/>
        </p:nvSpPr>
        <p:spPr bwMode="gray">
          <a:xfrm rot="5400000" flipV="1">
            <a:off x="1610580" y="6015573"/>
            <a:ext cx="372992" cy="505725"/>
          </a:xfrm>
          <a:prstGeom prst="rightArrow">
            <a:avLst>
              <a:gd name="adj1" fmla="val 55000"/>
              <a:gd name="adj2" fmla="val 63606"/>
            </a:avLst>
          </a:prstGeom>
          <a:solidFill>
            <a:schemeClr val="tx2">
              <a:lumMod val="50000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vert="eaVert" lIns="421243" tIns="0" rIns="0" bIns="0" anchor="ctr"/>
          <a:lstStyle/>
          <a:p>
            <a:pPr algn="ctr" defTabSz="128661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noProof="1">
              <a:solidFill>
                <a:srgbClr val="000000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3036712" y="1830706"/>
            <a:ext cx="10921070" cy="1419365"/>
          </a:xfrm>
          <a:prstGeom prst="rect">
            <a:avLst/>
          </a:prstGeom>
          <a:noFill/>
          <a:ln>
            <a:noFill/>
          </a:ln>
        </p:spPr>
        <p:txBody>
          <a:bodyPr wrap="square" lIns="118872" tIns="59437" rIns="118872" bIns="59437" rtlCol="0">
            <a:spAutoFit/>
          </a:bodyPr>
          <a:lstStyle/>
          <a:p>
            <a:pPr marL="371467" indent="-371467" defTabSz="1188702">
              <a:buFont typeface="Wingdings" pitchFamily="2" charset="2"/>
              <a:buChar char="§"/>
            </a:pPr>
            <a:r>
              <a:rPr lang="en-US" sz="2111" dirty="0">
                <a:solidFill>
                  <a:prstClr val="black"/>
                </a:solidFill>
                <a:latin typeface="Calibri"/>
              </a:rPr>
              <a:t>TEXT</a:t>
            </a:r>
          </a:p>
          <a:p>
            <a:pPr marL="371467" indent="-371467" defTabSz="1188702">
              <a:buFont typeface="Wingdings" pitchFamily="2" charset="2"/>
              <a:buChar char="§"/>
            </a:pPr>
            <a:r>
              <a:rPr lang="en-US" sz="2111" dirty="0">
                <a:solidFill>
                  <a:prstClr val="black"/>
                </a:solidFill>
                <a:latin typeface="Calibri"/>
              </a:rPr>
              <a:t> </a:t>
            </a:r>
          </a:p>
          <a:p>
            <a:pPr marL="371467" indent="-371467" defTabSz="1188702">
              <a:buFont typeface="Wingdings" pitchFamily="2" charset="2"/>
              <a:buChar char="§"/>
            </a:pPr>
            <a:r>
              <a:rPr lang="en-US" sz="2111" dirty="0">
                <a:solidFill>
                  <a:prstClr val="black"/>
                </a:solidFill>
                <a:latin typeface="Calibri"/>
              </a:rPr>
              <a:t> </a:t>
            </a:r>
          </a:p>
          <a:p>
            <a:pPr marL="371467" indent="-371467" defTabSz="1188702">
              <a:buFont typeface="Wingdings" pitchFamily="2" charset="2"/>
              <a:buChar char="§"/>
            </a:pPr>
            <a:r>
              <a:rPr lang="en-US" sz="2111" dirty="0">
                <a:solidFill>
                  <a:prstClr val="black"/>
                </a:solidFill>
                <a:latin typeface="Calibri"/>
              </a:rPr>
              <a:t> 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3036712" y="3334181"/>
            <a:ext cx="10921070" cy="1419365"/>
          </a:xfrm>
          <a:prstGeom prst="rect">
            <a:avLst/>
          </a:prstGeom>
          <a:noFill/>
          <a:ln>
            <a:noFill/>
          </a:ln>
        </p:spPr>
        <p:txBody>
          <a:bodyPr wrap="square" lIns="118872" tIns="59437" rIns="118872" bIns="59437" rtlCol="0">
            <a:spAutoFit/>
          </a:bodyPr>
          <a:lstStyle/>
          <a:p>
            <a:pPr marL="371467" indent="-371467" defTabSz="1188702">
              <a:buFont typeface="Wingdings" pitchFamily="2" charset="2"/>
              <a:buChar char="§"/>
            </a:pPr>
            <a:r>
              <a:rPr lang="en-US" sz="2111" dirty="0">
                <a:solidFill>
                  <a:prstClr val="black"/>
                </a:solidFill>
                <a:latin typeface="Calibri"/>
              </a:rPr>
              <a:t>TEXT</a:t>
            </a:r>
          </a:p>
          <a:p>
            <a:pPr marL="371467" indent="-371467" defTabSz="1188702">
              <a:buFont typeface="Wingdings" pitchFamily="2" charset="2"/>
              <a:buChar char="§"/>
            </a:pPr>
            <a:r>
              <a:rPr lang="en-US" sz="2111" dirty="0">
                <a:solidFill>
                  <a:prstClr val="black"/>
                </a:solidFill>
                <a:latin typeface="Calibri"/>
              </a:rPr>
              <a:t> </a:t>
            </a:r>
          </a:p>
          <a:p>
            <a:pPr marL="371467" indent="-371467" defTabSz="1188702">
              <a:buFont typeface="Wingdings" pitchFamily="2" charset="2"/>
              <a:buChar char="§"/>
            </a:pPr>
            <a:r>
              <a:rPr lang="en-US" sz="2111" dirty="0">
                <a:solidFill>
                  <a:prstClr val="black"/>
                </a:solidFill>
                <a:latin typeface="Calibri"/>
              </a:rPr>
              <a:t> </a:t>
            </a:r>
          </a:p>
          <a:p>
            <a:pPr marL="371467" indent="-371467" defTabSz="1188702">
              <a:buFont typeface="Wingdings" pitchFamily="2" charset="2"/>
              <a:buChar char="§"/>
            </a:pPr>
            <a:r>
              <a:rPr lang="en-US" sz="2111" dirty="0">
                <a:solidFill>
                  <a:prstClr val="black"/>
                </a:solidFill>
                <a:latin typeface="Calibri"/>
              </a:rPr>
              <a:t> 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3036712" y="6344434"/>
            <a:ext cx="10921070" cy="1419365"/>
          </a:xfrm>
          <a:prstGeom prst="rect">
            <a:avLst/>
          </a:prstGeom>
          <a:noFill/>
          <a:ln>
            <a:noFill/>
          </a:ln>
        </p:spPr>
        <p:txBody>
          <a:bodyPr wrap="square" lIns="118872" tIns="59437" rIns="118872" bIns="59437" rtlCol="0">
            <a:spAutoFit/>
          </a:bodyPr>
          <a:lstStyle/>
          <a:p>
            <a:pPr marL="371467" indent="-371467" defTabSz="1188702">
              <a:buFont typeface="Wingdings" pitchFamily="2" charset="2"/>
              <a:buChar char="§"/>
            </a:pPr>
            <a:r>
              <a:rPr lang="en-US" sz="2111" dirty="0">
                <a:solidFill>
                  <a:prstClr val="black"/>
                </a:solidFill>
                <a:latin typeface="Calibri"/>
              </a:rPr>
              <a:t>TEXT</a:t>
            </a:r>
          </a:p>
          <a:p>
            <a:pPr marL="371467" indent="-371467" defTabSz="1188702">
              <a:buFont typeface="Wingdings" pitchFamily="2" charset="2"/>
              <a:buChar char="§"/>
            </a:pPr>
            <a:r>
              <a:rPr lang="en-US" sz="2111" dirty="0">
                <a:solidFill>
                  <a:prstClr val="black"/>
                </a:solidFill>
                <a:latin typeface="Calibri"/>
              </a:rPr>
              <a:t> </a:t>
            </a:r>
          </a:p>
          <a:p>
            <a:pPr marL="371467" indent="-371467" defTabSz="1188702">
              <a:buFont typeface="Wingdings" pitchFamily="2" charset="2"/>
              <a:buChar char="§"/>
            </a:pPr>
            <a:r>
              <a:rPr lang="en-US" sz="2111" dirty="0">
                <a:solidFill>
                  <a:prstClr val="black"/>
                </a:solidFill>
                <a:latin typeface="Calibri"/>
              </a:rPr>
              <a:t> </a:t>
            </a:r>
          </a:p>
          <a:p>
            <a:pPr marL="371467" indent="-371467" defTabSz="1188702">
              <a:buFont typeface="Wingdings" pitchFamily="2" charset="2"/>
              <a:buChar char="§"/>
            </a:pPr>
            <a:r>
              <a:rPr lang="en-US" sz="2111" dirty="0">
                <a:solidFill>
                  <a:prstClr val="black"/>
                </a:solidFill>
                <a:latin typeface="Calibri"/>
              </a:rPr>
              <a:t> 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3036712" y="4836398"/>
            <a:ext cx="10921070" cy="1419365"/>
          </a:xfrm>
          <a:prstGeom prst="rect">
            <a:avLst/>
          </a:prstGeom>
          <a:noFill/>
          <a:ln>
            <a:noFill/>
          </a:ln>
        </p:spPr>
        <p:txBody>
          <a:bodyPr wrap="square" lIns="118872" tIns="59437" rIns="118872" bIns="59437" rtlCol="0">
            <a:spAutoFit/>
          </a:bodyPr>
          <a:lstStyle/>
          <a:p>
            <a:pPr marL="371467" indent="-371467" defTabSz="1188702">
              <a:buFont typeface="Wingdings" pitchFamily="2" charset="2"/>
              <a:buChar char="§"/>
            </a:pPr>
            <a:r>
              <a:rPr lang="en-US" sz="2111" dirty="0">
                <a:solidFill>
                  <a:prstClr val="black"/>
                </a:solidFill>
                <a:latin typeface="Calibri"/>
              </a:rPr>
              <a:t>TEXT</a:t>
            </a:r>
          </a:p>
          <a:p>
            <a:pPr marL="371467" indent="-371467" defTabSz="1188702">
              <a:buFont typeface="Wingdings" pitchFamily="2" charset="2"/>
              <a:buChar char="§"/>
            </a:pPr>
            <a:r>
              <a:rPr lang="en-US" sz="2111" dirty="0">
                <a:solidFill>
                  <a:prstClr val="black"/>
                </a:solidFill>
                <a:latin typeface="Calibri"/>
              </a:rPr>
              <a:t> </a:t>
            </a:r>
          </a:p>
          <a:p>
            <a:pPr marL="371467" indent="-371467" defTabSz="1188702">
              <a:buFont typeface="Wingdings" pitchFamily="2" charset="2"/>
              <a:buChar char="§"/>
            </a:pPr>
            <a:r>
              <a:rPr lang="en-US" sz="2111" dirty="0">
                <a:solidFill>
                  <a:prstClr val="black"/>
                </a:solidFill>
                <a:latin typeface="Calibri"/>
              </a:rPr>
              <a:t> </a:t>
            </a:r>
          </a:p>
          <a:p>
            <a:pPr marL="371467" indent="-371467" defTabSz="1188702">
              <a:buFont typeface="Wingdings" pitchFamily="2" charset="2"/>
              <a:buChar char="§"/>
            </a:pPr>
            <a:r>
              <a:rPr lang="en-US" sz="2111" dirty="0">
                <a:solidFill>
                  <a:prstClr val="black"/>
                </a:solidFill>
                <a:latin typeface="Calibri"/>
              </a:rPr>
              <a:t> </a:t>
            </a:r>
          </a:p>
        </p:txBody>
      </p:sp>
      <p:sp>
        <p:nvSpPr>
          <p:cNvPr id="17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276401" y="1163601"/>
            <a:ext cx="14135451" cy="522775"/>
          </a:xfrm>
        </p:spPr>
        <p:txBody>
          <a:bodyPr/>
          <a:lstStyle>
            <a:lvl1pPr marL="0" indent="0">
              <a:buNone/>
              <a:defRPr sz="2111" b="1">
                <a:latin typeface="Arial" pitchFamily="34" charset="0"/>
                <a:cs typeface="Arial" pitchFamily="34" charset="0"/>
              </a:defRPr>
            </a:lvl1pPr>
            <a:lvl2pPr>
              <a:defRPr sz="1830">
                <a:latin typeface="Arial" pitchFamily="34" charset="0"/>
                <a:cs typeface="Arial" pitchFamily="34" charset="0"/>
              </a:defRPr>
            </a:lvl2pPr>
            <a:lvl3pPr marL="759776" indent="-253259">
              <a:buClr>
                <a:schemeClr val="tx2"/>
              </a:buClr>
              <a:buFont typeface="Wingdings" pitchFamily="2" charset="2"/>
              <a:buChar char="§"/>
              <a:defRPr sz="1548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320242978"/>
      </p:ext>
    </p:extLst>
  </p:cSld>
  <p:clrMapOvr>
    <a:masterClrMapping/>
  </p:clrMapOvr>
  <p:transition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 dirty="0">
              <a:solidFill>
                <a:srgbClr val="FFFFFF"/>
              </a:solidFill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 userDrawn="1"/>
        </p:nvGraphicFramePr>
        <p:xfrm>
          <a:off x="524018" y="1639405"/>
          <a:ext cx="13333101" cy="6233273"/>
        </p:xfrm>
        <a:graphic>
          <a:graphicData uri="http://schemas.openxmlformats.org/drawingml/2006/table">
            <a:tbl>
              <a:tblPr firstRow="1"/>
              <a:tblGrid>
                <a:gridCol w="50258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84452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4633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1933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1016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1016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4155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IN" sz="17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SN</a:t>
                      </a:r>
                      <a:endParaRPr lang="en-US" sz="1700" b="1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US" sz="17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Area</a:t>
                      </a: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US" sz="17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ext</a:t>
                      </a: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US" sz="17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ext</a:t>
                      </a: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US" sz="17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ext</a:t>
                      </a: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US" sz="17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ext</a:t>
                      </a: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55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marR="0" lvl="0" indent="0" algn="l" defTabSz="98956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300" b="1" kern="1200" cap="all" dirty="0">
                          <a:solidFill>
                            <a:srgbClr val="31A93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 2"/>
                        </a:rPr>
                        <a:t></a:t>
                      </a:r>
                      <a:endParaRPr lang="en-US" sz="2300" kern="1200" dirty="0">
                        <a:solidFill>
                          <a:srgbClr val="31A93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/>
                      <a:r>
                        <a:rPr lang="en-IN" sz="1700" b="1" dirty="0">
                          <a:solidFill>
                            <a:srgbClr val="FF0000"/>
                          </a:solidFill>
                        </a:rPr>
                        <a:t>X</a:t>
                      </a: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155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700" dirty="0"/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155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3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700" dirty="0"/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155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4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700" dirty="0"/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155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5</a:t>
                      </a: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700" dirty="0"/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155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6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700" dirty="0"/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155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7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700" dirty="0"/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155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8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700" dirty="0"/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155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9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700" dirty="0"/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155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0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700" dirty="0"/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4155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1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174625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700" dirty="0"/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174625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174625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4155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2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700" dirty="0"/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4155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3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700" dirty="0"/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4155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4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174625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174625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174625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174625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7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</a:tbl>
          </a:graphicData>
        </a:graphic>
      </p:graphicFrame>
      <p:sp>
        <p:nvSpPr>
          <p:cNvPr id="7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276401" y="1163601"/>
            <a:ext cx="14135451" cy="522775"/>
          </a:xfrm>
        </p:spPr>
        <p:txBody>
          <a:bodyPr/>
          <a:lstStyle>
            <a:lvl1pPr marL="0" indent="0">
              <a:buNone/>
              <a:defRPr sz="2111" b="1">
                <a:latin typeface="Arial" pitchFamily="34" charset="0"/>
                <a:cs typeface="Arial" pitchFamily="34" charset="0"/>
              </a:defRPr>
            </a:lvl1pPr>
            <a:lvl2pPr>
              <a:defRPr sz="1830">
                <a:latin typeface="Arial" pitchFamily="34" charset="0"/>
                <a:cs typeface="Arial" pitchFamily="34" charset="0"/>
              </a:defRPr>
            </a:lvl2pPr>
            <a:lvl3pPr marL="759776" indent="-253259">
              <a:buClr>
                <a:schemeClr val="tx2"/>
              </a:buClr>
              <a:buFont typeface="Wingdings" pitchFamily="2" charset="2"/>
              <a:buChar char="§"/>
              <a:defRPr sz="1548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332875680"/>
      </p:ext>
    </p:extLst>
  </p:cSld>
  <p:clrMapOvr>
    <a:masterClrMapping/>
  </p:clrMapOvr>
  <p:transition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2266710" y="3247536"/>
            <a:ext cx="1693236" cy="654859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8886" tIns="59442" rIns="118886" bIns="59442" rtlCol="0" anchor="ctr"/>
          <a:lstStyle/>
          <a:p>
            <a:pPr defTabSz="1286610" fontAlgn="base">
              <a:spcBef>
                <a:spcPct val="0"/>
              </a:spcBef>
              <a:spcAft>
                <a:spcPct val="0"/>
              </a:spcAft>
            </a:pPr>
            <a:r>
              <a:rPr lang="en-IN" sz="1830" b="1" dirty="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3901912" y="4010988"/>
            <a:ext cx="1693236" cy="971390"/>
          </a:xfrm>
          <a:prstGeom prst="rect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8886" tIns="59442" rIns="118886" bIns="59442" rtlCol="0" anchor="ctr"/>
          <a:lstStyle/>
          <a:p>
            <a:pPr defTabSz="1286610" fontAlgn="base">
              <a:spcBef>
                <a:spcPct val="0"/>
              </a:spcBef>
              <a:spcAft>
                <a:spcPct val="0"/>
              </a:spcAft>
            </a:pPr>
            <a:r>
              <a:rPr lang="en-IN" sz="1830" b="1" dirty="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19" name="Rectangle 18"/>
          <p:cNvSpPr/>
          <p:nvPr userDrawn="1"/>
        </p:nvSpPr>
        <p:spPr>
          <a:xfrm>
            <a:off x="5543433" y="5234126"/>
            <a:ext cx="1693236" cy="2427273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8886" tIns="59442" rIns="118886" bIns="59442" rtlCol="0" anchor="ctr"/>
          <a:lstStyle/>
          <a:p>
            <a:pPr defTabSz="1286610" fontAlgn="base">
              <a:spcBef>
                <a:spcPct val="0"/>
              </a:spcBef>
              <a:spcAft>
                <a:spcPct val="0"/>
              </a:spcAft>
            </a:pPr>
            <a:r>
              <a:rPr lang="en-IN" sz="1830" b="1" dirty="0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631510" y="1794523"/>
            <a:ext cx="13486385" cy="371441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8886" tIns="59442" rIns="118886" bIns="59442" rtlCol="0" anchor="ctr"/>
          <a:lstStyle/>
          <a:p>
            <a:pPr algn="ctr" defTabSz="1286610" fontAlgn="base">
              <a:spcBef>
                <a:spcPct val="0"/>
              </a:spcBef>
              <a:spcAft>
                <a:spcPct val="0"/>
              </a:spcAft>
            </a:pPr>
            <a:r>
              <a:rPr lang="en-IN" b="1" dirty="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21" name="Bent-Up Arrow 20"/>
          <p:cNvSpPr/>
          <p:nvPr userDrawn="1"/>
        </p:nvSpPr>
        <p:spPr>
          <a:xfrm rot="5400000">
            <a:off x="4061855" y="4830819"/>
            <a:ext cx="1321646" cy="1641521"/>
          </a:xfrm>
          <a:prstGeom prst="bentUpArrow">
            <a:avLst>
              <a:gd name="adj1" fmla="val 25000"/>
              <a:gd name="adj2" fmla="val 25890"/>
              <a:gd name="adj3" fmla="val 25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8886" tIns="59442" rIns="118886" bIns="59442" rtlCol="0" anchor="ctr"/>
          <a:lstStyle/>
          <a:p>
            <a:pPr algn="ctr" defTabSz="1286610" fontAlgn="base">
              <a:spcBef>
                <a:spcPct val="0"/>
              </a:spcBef>
              <a:spcAft>
                <a:spcPct val="0"/>
              </a:spcAft>
            </a:pPr>
            <a:endParaRPr lang="en-IN" dirty="0">
              <a:solidFill>
                <a:srgbClr val="FFFFFF"/>
              </a:solidFill>
            </a:endParaRPr>
          </a:p>
        </p:txBody>
      </p:sp>
      <p:sp>
        <p:nvSpPr>
          <p:cNvPr id="22" name="Rectangle 21"/>
          <p:cNvSpPr/>
          <p:nvPr userDrawn="1"/>
        </p:nvSpPr>
        <p:spPr>
          <a:xfrm>
            <a:off x="2333662" y="2344529"/>
            <a:ext cx="11697812" cy="697780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8886" tIns="59442" rIns="118886" bIns="59442" rtlCol="0" anchor="t" anchorCtr="0"/>
          <a:lstStyle/>
          <a:p>
            <a:pPr marL="222905" indent="-222905" defTabSz="128661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en-IN" sz="1548" dirty="0">
                <a:solidFill>
                  <a:srgbClr val="000000"/>
                </a:solidFill>
              </a:rPr>
              <a:t>Text</a:t>
            </a:r>
          </a:p>
          <a:p>
            <a:pPr marL="222905" indent="-222905" defTabSz="128661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en-IN" sz="1548" dirty="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23" name="Rectangle 22"/>
          <p:cNvSpPr/>
          <p:nvPr userDrawn="1"/>
        </p:nvSpPr>
        <p:spPr>
          <a:xfrm>
            <a:off x="3908677" y="3247530"/>
            <a:ext cx="10122800" cy="656579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8886" tIns="59442" rIns="118886" bIns="59442" rtlCol="0" anchor="t" anchorCtr="0"/>
          <a:lstStyle/>
          <a:p>
            <a:pPr marL="222905" indent="-222905" defTabSz="128661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en-IN" sz="1548" dirty="0">
                <a:solidFill>
                  <a:srgbClr val="000000"/>
                </a:solidFill>
              </a:rPr>
              <a:t> </a:t>
            </a:r>
          </a:p>
          <a:p>
            <a:pPr marL="222905" indent="-222905" defTabSz="128661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endParaRPr lang="en-IN" sz="1548" dirty="0">
              <a:solidFill>
                <a:srgbClr val="000000"/>
              </a:solidFill>
            </a:endParaRPr>
          </a:p>
        </p:txBody>
      </p:sp>
      <p:sp>
        <p:nvSpPr>
          <p:cNvPr id="24" name="Rectangle 23"/>
          <p:cNvSpPr/>
          <p:nvPr userDrawn="1"/>
        </p:nvSpPr>
        <p:spPr>
          <a:xfrm>
            <a:off x="5609083" y="4010993"/>
            <a:ext cx="8422391" cy="970699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8886" tIns="59442" rIns="118886" bIns="59442" rtlCol="0" anchor="t" anchorCtr="0"/>
          <a:lstStyle/>
          <a:p>
            <a:pPr marL="222905" indent="-222905" defTabSz="128661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en-IN" sz="1548" dirty="0">
                <a:solidFill>
                  <a:srgbClr val="000000"/>
                </a:solidFill>
              </a:rPr>
              <a:t>Text </a:t>
            </a:r>
          </a:p>
        </p:txBody>
      </p:sp>
      <p:sp>
        <p:nvSpPr>
          <p:cNvPr id="25" name="Rectangle 24"/>
          <p:cNvSpPr/>
          <p:nvPr userDrawn="1"/>
        </p:nvSpPr>
        <p:spPr>
          <a:xfrm>
            <a:off x="7285155" y="5234127"/>
            <a:ext cx="6746324" cy="2427271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8886" tIns="59442" rIns="118886" bIns="59442" rtlCol="0" anchor="t" anchorCtr="0"/>
          <a:lstStyle/>
          <a:p>
            <a:pPr marL="222905" indent="-222905" defTabSz="128661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en-IN" sz="1548" dirty="0">
                <a:solidFill>
                  <a:srgbClr val="000000"/>
                </a:solidFill>
              </a:rPr>
              <a:t>Text </a:t>
            </a:r>
          </a:p>
          <a:p>
            <a:pPr marL="222905" indent="-222905" defTabSz="128661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endParaRPr lang="en-IN" sz="1548" dirty="0">
              <a:solidFill>
                <a:srgbClr val="000000"/>
              </a:solidFill>
            </a:endParaRPr>
          </a:p>
        </p:txBody>
      </p:sp>
      <p:sp>
        <p:nvSpPr>
          <p:cNvPr id="26" name="Bent-Up Arrow 25"/>
          <p:cNvSpPr/>
          <p:nvPr userDrawn="1"/>
        </p:nvSpPr>
        <p:spPr>
          <a:xfrm rot="5400000">
            <a:off x="2542519" y="3631362"/>
            <a:ext cx="1083598" cy="1635197"/>
          </a:xfrm>
          <a:prstGeom prst="bentUpArrow">
            <a:avLst>
              <a:gd name="adj1" fmla="val 25000"/>
              <a:gd name="adj2" fmla="val 25890"/>
              <a:gd name="adj3" fmla="val 25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8886" tIns="59442" rIns="118886" bIns="59442" rtlCol="0" anchor="ctr"/>
          <a:lstStyle/>
          <a:p>
            <a:pPr algn="ctr" defTabSz="1286610" fontAlgn="base">
              <a:spcBef>
                <a:spcPct val="0"/>
              </a:spcBef>
              <a:spcAft>
                <a:spcPct val="0"/>
              </a:spcAft>
            </a:pPr>
            <a:endParaRPr lang="en-IN" dirty="0">
              <a:solidFill>
                <a:srgbClr val="FFFFFF"/>
              </a:solidFill>
            </a:endParaRPr>
          </a:p>
        </p:txBody>
      </p:sp>
      <p:sp>
        <p:nvSpPr>
          <p:cNvPr id="27" name="Bent-Up Arrow 26"/>
          <p:cNvSpPr/>
          <p:nvPr userDrawn="1"/>
        </p:nvSpPr>
        <p:spPr>
          <a:xfrm rot="5400000">
            <a:off x="1018166" y="2653845"/>
            <a:ext cx="861903" cy="1635200"/>
          </a:xfrm>
          <a:prstGeom prst="bentUpArrow">
            <a:avLst>
              <a:gd name="adj1" fmla="val 25000"/>
              <a:gd name="adj2" fmla="val 24912"/>
              <a:gd name="adj3" fmla="val 25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8886" tIns="59442" rIns="118886" bIns="59442" rtlCol="0" anchor="ctr"/>
          <a:lstStyle/>
          <a:p>
            <a:pPr algn="ctr" defTabSz="1286610" fontAlgn="base">
              <a:spcBef>
                <a:spcPct val="0"/>
              </a:spcBef>
              <a:spcAft>
                <a:spcPct val="0"/>
              </a:spcAft>
            </a:pPr>
            <a:endParaRPr lang="en-IN" dirty="0">
              <a:solidFill>
                <a:srgbClr val="FFFFFF"/>
              </a:solidFill>
            </a:endParaRPr>
          </a:p>
        </p:txBody>
      </p:sp>
      <p:sp>
        <p:nvSpPr>
          <p:cNvPr id="28" name="Rectangle 27"/>
          <p:cNvSpPr/>
          <p:nvPr userDrawn="1"/>
        </p:nvSpPr>
        <p:spPr>
          <a:xfrm>
            <a:off x="631510" y="2344537"/>
            <a:ext cx="1693236" cy="695954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8886" tIns="59442" rIns="118886" bIns="59442" rtlCol="0" anchor="ctr"/>
          <a:lstStyle/>
          <a:p>
            <a:pPr defTabSz="1286610" fontAlgn="base">
              <a:spcBef>
                <a:spcPct val="0"/>
              </a:spcBef>
              <a:spcAft>
                <a:spcPct val="0"/>
              </a:spcAft>
            </a:pPr>
            <a:r>
              <a:rPr lang="en-IN" sz="1830" b="1" dirty="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29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276401" y="1163601"/>
            <a:ext cx="14135451" cy="522775"/>
          </a:xfrm>
        </p:spPr>
        <p:txBody>
          <a:bodyPr/>
          <a:lstStyle>
            <a:lvl1pPr marL="0" indent="0">
              <a:buNone/>
              <a:defRPr sz="2111" b="1">
                <a:latin typeface="Arial" pitchFamily="34" charset="0"/>
                <a:cs typeface="Arial" pitchFamily="34" charset="0"/>
              </a:defRPr>
            </a:lvl1pPr>
            <a:lvl2pPr>
              <a:defRPr sz="1830">
                <a:latin typeface="Arial" pitchFamily="34" charset="0"/>
                <a:cs typeface="Arial" pitchFamily="34" charset="0"/>
              </a:defRPr>
            </a:lvl2pPr>
            <a:lvl3pPr marL="759776" indent="-253259">
              <a:buClr>
                <a:schemeClr val="tx2"/>
              </a:buClr>
              <a:buFont typeface="Wingdings" pitchFamily="2" charset="2"/>
              <a:buChar char="§"/>
              <a:defRPr sz="1548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869713763"/>
      </p:ext>
    </p:extLst>
  </p:cSld>
  <p:clrMapOvr>
    <a:masterClrMapping/>
  </p:clrMapOvr>
  <p:transition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 dirty="0">
              <a:solidFill>
                <a:srgbClr val="FFFFFF"/>
              </a:solidFill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 userDrawn="1"/>
        </p:nvGraphicFramePr>
        <p:xfrm>
          <a:off x="335628" y="1622537"/>
          <a:ext cx="14076224" cy="6084175"/>
        </p:xfrm>
        <a:graphic>
          <a:graphicData uri="http://schemas.openxmlformats.org/drawingml/2006/table">
            <a:tbl>
              <a:tblPr firstRow="1"/>
              <a:tblGrid>
                <a:gridCol w="4248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42573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222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87343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548816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IN" sz="17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SN</a:t>
                      </a:r>
                      <a:endParaRPr lang="en-US" sz="17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US" sz="17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 Area</a:t>
                      </a: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US" sz="17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Progress</a:t>
                      </a: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7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Remarks</a:t>
                      </a: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72417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1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marR="0" lvl="0" indent="0" algn="ctr" defTabSz="98956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700" b="1" kern="1200" dirty="0">
                        <a:solidFill>
                          <a:srgbClr val="31A93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50521" marR="50521" marT="43155" marB="43155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4625" marR="0" lvl="0" indent="0" algn="l" defTabSz="98956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700" kern="1200" dirty="0">
                        <a:solidFill>
                          <a:srgbClr val="31A93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72417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2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700" b="0" kern="1200" dirty="0">
                        <a:solidFill>
                          <a:srgbClr val="FF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50521" marR="50521" marT="43155" marB="43155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462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48816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3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48816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4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48816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5</a:t>
                      </a: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48816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6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48816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7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548816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8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548816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9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548816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10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7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7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15263" marR="15263" marT="11629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6" name="Up Arrow 5"/>
          <p:cNvSpPr/>
          <p:nvPr userDrawn="1"/>
        </p:nvSpPr>
        <p:spPr bwMode="auto">
          <a:xfrm>
            <a:off x="7719218" y="2259736"/>
            <a:ext cx="303129" cy="388396"/>
          </a:xfrm>
          <a:prstGeom prst="upArrow">
            <a:avLst/>
          </a:prstGeom>
          <a:solidFill>
            <a:srgbClr val="00B050"/>
          </a:solidFill>
          <a:ln w="19050" cap="flat" cmpd="sng" algn="ctr">
            <a:solidFill>
              <a:srgbClr val="00B050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none" lIns="118886" tIns="59442" rIns="118886" bIns="59442" numCol="1" rtlCol="0" anchor="ctr" anchorCtr="0" compatLnSpc="1">
            <a:prstTxWarp prst="textNoShape">
              <a:avLst/>
            </a:prstTxWarp>
          </a:bodyPr>
          <a:lstStyle/>
          <a:p>
            <a:pPr algn="ctr" defTabSz="1188827" fontAlgn="base">
              <a:spcBef>
                <a:spcPct val="0"/>
              </a:spcBef>
              <a:spcAft>
                <a:spcPct val="0"/>
              </a:spcAft>
            </a:pPr>
            <a:endParaRPr lang="en-IN" sz="2392" dirty="0">
              <a:solidFill>
                <a:srgbClr val="000000"/>
              </a:solidFill>
            </a:endParaRPr>
          </a:p>
        </p:txBody>
      </p:sp>
      <p:sp>
        <p:nvSpPr>
          <p:cNvPr id="7" name="Up Arrow 6"/>
          <p:cNvSpPr/>
          <p:nvPr userDrawn="1"/>
        </p:nvSpPr>
        <p:spPr bwMode="auto">
          <a:xfrm>
            <a:off x="7719218" y="3406468"/>
            <a:ext cx="303129" cy="388396"/>
          </a:xfrm>
          <a:prstGeom prst="upArrow">
            <a:avLst/>
          </a:prstGeom>
          <a:solidFill>
            <a:srgbClr val="00B050"/>
          </a:solidFill>
          <a:ln w="19050" cap="flat" cmpd="sng" algn="ctr">
            <a:solidFill>
              <a:srgbClr val="00B050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none" lIns="118886" tIns="59442" rIns="118886" bIns="59442" numCol="1" rtlCol="0" anchor="ctr" anchorCtr="0" compatLnSpc="1">
            <a:prstTxWarp prst="textNoShape">
              <a:avLst/>
            </a:prstTxWarp>
          </a:bodyPr>
          <a:lstStyle/>
          <a:p>
            <a:pPr algn="ctr" defTabSz="1188827" fontAlgn="base">
              <a:spcBef>
                <a:spcPct val="0"/>
              </a:spcBef>
              <a:spcAft>
                <a:spcPct val="0"/>
              </a:spcAft>
            </a:pPr>
            <a:endParaRPr lang="en-IN" sz="2392" dirty="0">
              <a:solidFill>
                <a:srgbClr val="000000"/>
              </a:solidFill>
            </a:endParaRPr>
          </a:p>
        </p:txBody>
      </p:sp>
      <p:sp>
        <p:nvSpPr>
          <p:cNvPr id="8" name="Up Arrow 7"/>
          <p:cNvSpPr/>
          <p:nvPr userDrawn="1"/>
        </p:nvSpPr>
        <p:spPr bwMode="auto">
          <a:xfrm flipV="1">
            <a:off x="7719218" y="2866830"/>
            <a:ext cx="303129" cy="388396"/>
          </a:xfrm>
          <a:prstGeom prst="upArrow">
            <a:avLst/>
          </a:prstGeom>
          <a:solidFill>
            <a:srgbClr val="EB5335"/>
          </a:solidFill>
          <a:ln w="19050" cap="flat" cmpd="sng" algn="ctr">
            <a:solidFill>
              <a:srgbClr val="EB5335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none" lIns="118886" tIns="59442" rIns="118886" bIns="59442" numCol="1" rtlCol="0" anchor="ctr" anchorCtr="0" compatLnSpc="1">
            <a:prstTxWarp prst="textNoShape">
              <a:avLst/>
            </a:prstTxWarp>
          </a:bodyPr>
          <a:lstStyle/>
          <a:p>
            <a:pPr algn="ctr" defTabSz="1188827" fontAlgn="base">
              <a:spcBef>
                <a:spcPct val="0"/>
              </a:spcBef>
              <a:spcAft>
                <a:spcPct val="0"/>
              </a:spcAft>
            </a:pPr>
            <a:endParaRPr lang="en-IN" sz="2392" dirty="0">
              <a:solidFill>
                <a:srgbClr val="000000"/>
              </a:solidFill>
            </a:endParaRPr>
          </a:p>
        </p:txBody>
      </p:sp>
      <p:sp>
        <p:nvSpPr>
          <p:cNvPr id="9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276401" y="1163601"/>
            <a:ext cx="14135451" cy="522775"/>
          </a:xfrm>
        </p:spPr>
        <p:txBody>
          <a:bodyPr/>
          <a:lstStyle>
            <a:lvl1pPr marL="0" indent="0">
              <a:buNone/>
              <a:defRPr sz="2111" b="1">
                <a:latin typeface="Arial" pitchFamily="34" charset="0"/>
                <a:cs typeface="Arial" pitchFamily="34" charset="0"/>
              </a:defRPr>
            </a:lvl1pPr>
            <a:lvl2pPr>
              <a:defRPr sz="1830">
                <a:latin typeface="Arial" pitchFamily="34" charset="0"/>
                <a:cs typeface="Arial" pitchFamily="34" charset="0"/>
              </a:defRPr>
            </a:lvl2pPr>
            <a:lvl3pPr marL="759776" indent="-253259">
              <a:buClr>
                <a:schemeClr val="tx2"/>
              </a:buClr>
              <a:buFont typeface="Wingdings" pitchFamily="2" charset="2"/>
              <a:buChar char="§"/>
              <a:defRPr sz="1548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875971752"/>
      </p:ext>
    </p:extLst>
  </p:cSld>
  <p:clrMapOvr>
    <a:masterClrMapping/>
  </p:clrMapOvr>
  <p:transition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752575" y="1370378"/>
            <a:ext cx="13619786" cy="61566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118886" tIns="59442" rIns="118886" bIns="59442" anchor="ctr" anchorCtr="0">
            <a:normAutofit/>
          </a:bodyPr>
          <a:lstStyle/>
          <a:p>
            <a:pPr marL="348804" algn="just" defTabSz="1286610" fontAlgn="base">
              <a:spcBef>
                <a:spcPct val="0"/>
              </a:spcBef>
              <a:spcAft>
                <a:spcPct val="0"/>
              </a:spcAft>
            </a:pPr>
            <a:r>
              <a:rPr lang="en-IN" sz="2111" b="1" dirty="0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6" name="Oval 259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285186" y="1388637"/>
            <a:ext cx="625431" cy="520300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118886" tIns="59442" rIns="118886" bIns="59442" anchor="ctr"/>
          <a:lstStyle/>
          <a:p>
            <a:pPr algn="ctr" defTabSz="1188827">
              <a:defRPr/>
            </a:pPr>
            <a:r>
              <a:rPr lang="en-US" sz="2392" kern="0" dirty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752575" y="2410856"/>
            <a:ext cx="13619786" cy="66782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118886" tIns="59442" rIns="118886" bIns="59442" anchor="ctr" anchorCtr="0">
            <a:normAutofit/>
          </a:bodyPr>
          <a:lstStyle/>
          <a:p>
            <a:pPr marL="348804" algn="just" defTabSz="1286610" fontAlgn="base">
              <a:spcBef>
                <a:spcPct val="0"/>
              </a:spcBef>
              <a:spcAft>
                <a:spcPct val="0"/>
              </a:spcAft>
            </a:pPr>
            <a:r>
              <a:rPr lang="en-IN" sz="2111" b="1" dirty="0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8" name="Oval 260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286644" y="2488835"/>
            <a:ext cx="625431" cy="520300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118886" tIns="59442" rIns="118886" bIns="59442" anchor="ctr"/>
          <a:lstStyle/>
          <a:p>
            <a:pPr algn="ctr" defTabSz="1188827">
              <a:defRPr/>
            </a:pPr>
            <a:r>
              <a:rPr lang="en-US" sz="2392" kern="0" dirty="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752575" y="3503497"/>
            <a:ext cx="13619786" cy="68643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118886" tIns="59442" rIns="118886" bIns="59442" anchor="ctr" anchorCtr="0">
            <a:normAutofit/>
          </a:bodyPr>
          <a:lstStyle/>
          <a:p>
            <a:pPr marL="348804" algn="just" defTabSz="1286610" fontAlgn="base">
              <a:spcBef>
                <a:spcPct val="0"/>
              </a:spcBef>
              <a:spcAft>
                <a:spcPct val="0"/>
              </a:spcAft>
            </a:pPr>
            <a:r>
              <a:rPr lang="en-IN" sz="2111" b="1" dirty="0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0" name="Oval 26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275301" y="3570909"/>
            <a:ext cx="625431" cy="520300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118886" tIns="59442" rIns="118886" bIns="59442" anchor="ctr"/>
          <a:lstStyle/>
          <a:p>
            <a:pPr algn="ctr" defTabSz="1188827">
              <a:defRPr/>
            </a:pPr>
            <a:r>
              <a:rPr lang="en-US" sz="2392" kern="0" dirty="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752575" y="4614753"/>
            <a:ext cx="13619786" cy="65384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118886" tIns="59442" rIns="118886" bIns="59442" anchor="ctr" anchorCtr="0">
            <a:normAutofit/>
          </a:bodyPr>
          <a:lstStyle/>
          <a:p>
            <a:pPr marL="348804" algn="just" defTabSz="1286610" fontAlgn="base">
              <a:spcBef>
                <a:spcPct val="0"/>
              </a:spcBef>
              <a:spcAft>
                <a:spcPct val="0"/>
              </a:spcAft>
            </a:pPr>
            <a:r>
              <a:rPr lang="en-IN" sz="2111" b="1" dirty="0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2" name="Oval 262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296858" y="4657669"/>
            <a:ext cx="625431" cy="520300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118886" tIns="59442" rIns="118886" bIns="59442" anchor="ctr"/>
          <a:lstStyle/>
          <a:p>
            <a:pPr algn="ctr" defTabSz="1188827">
              <a:defRPr/>
            </a:pPr>
            <a:r>
              <a:rPr lang="en-US" sz="2392" kern="0" dirty="0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752575" y="5693414"/>
            <a:ext cx="13619786" cy="59339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118886" tIns="59442" rIns="118886" bIns="59442" anchor="ctr" anchorCtr="0">
            <a:normAutofit/>
          </a:bodyPr>
          <a:lstStyle/>
          <a:p>
            <a:pPr marL="224969" algn="just" defTabSz="1286610" fontAlgn="base">
              <a:spcBef>
                <a:spcPct val="0"/>
              </a:spcBef>
              <a:spcAft>
                <a:spcPct val="0"/>
              </a:spcAft>
            </a:pPr>
            <a:r>
              <a:rPr lang="en-IN" sz="2111" b="1" dirty="0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4" name="Oval 263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gray">
          <a:xfrm>
            <a:off x="310406" y="5729122"/>
            <a:ext cx="625431" cy="520300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118886" tIns="59442" rIns="118886" bIns="59442" anchor="ctr"/>
          <a:lstStyle/>
          <a:p>
            <a:pPr algn="ctr" defTabSz="1188827">
              <a:defRPr/>
            </a:pPr>
            <a:r>
              <a:rPr lang="en-US" sz="2392" kern="0" dirty="0">
                <a:solidFill>
                  <a:srgbClr val="FFFFFF"/>
                </a:solidFill>
              </a:rPr>
              <a:t>5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752575" y="6637789"/>
            <a:ext cx="13619786" cy="59339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118886" tIns="59442" rIns="118886" bIns="59442" anchor="ctr" anchorCtr="0">
            <a:normAutofit/>
          </a:bodyPr>
          <a:lstStyle/>
          <a:p>
            <a:pPr marL="224969" algn="just" defTabSz="1286610" fontAlgn="base">
              <a:spcBef>
                <a:spcPct val="0"/>
              </a:spcBef>
              <a:spcAft>
                <a:spcPct val="0"/>
              </a:spcAft>
            </a:pPr>
            <a:r>
              <a:rPr lang="en-IN" sz="2111" b="1" dirty="0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6" name="Oval 263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gray">
          <a:xfrm>
            <a:off x="310406" y="6673492"/>
            <a:ext cx="625431" cy="520300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118886" tIns="59442" rIns="118886" bIns="59442" anchor="ctr"/>
          <a:lstStyle/>
          <a:p>
            <a:pPr algn="ctr" defTabSz="1188827">
              <a:defRPr/>
            </a:pPr>
            <a:r>
              <a:rPr lang="en-US" sz="2392" kern="0" dirty="0">
                <a:solidFill>
                  <a:srgbClr val="FFFFFF"/>
                </a:solidFill>
              </a:rPr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2766998105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0.xml"/><Relationship Id="rId13" Type="http://schemas.openxmlformats.org/officeDocument/2006/relationships/slideLayout" Target="../slideLayouts/slideLayout135.xml"/><Relationship Id="rId18" Type="http://schemas.openxmlformats.org/officeDocument/2006/relationships/oleObject" Target="../embeddings/oleObject17.bin"/><Relationship Id="rId3" Type="http://schemas.openxmlformats.org/officeDocument/2006/relationships/slideLayout" Target="../slideLayouts/slideLayout125.xml"/><Relationship Id="rId21" Type="http://schemas.openxmlformats.org/officeDocument/2006/relationships/image" Target="../media/image13.jpeg"/><Relationship Id="rId7" Type="http://schemas.openxmlformats.org/officeDocument/2006/relationships/slideLayout" Target="../slideLayouts/slideLayout129.xml"/><Relationship Id="rId12" Type="http://schemas.openxmlformats.org/officeDocument/2006/relationships/slideLayout" Target="../slideLayouts/slideLayout134.xml"/><Relationship Id="rId17" Type="http://schemas.openxmlformats.org/officeDocument/2006/relationships/tags" Target="../tags/tag65.xml"/><Relationship Id="rId2" Type="http://schemas.openxmlformats.org/officeDocument/2006/relationships/slideLayout" Target="../slideLayouts/slideLayout124.xml"/><Relationship Id="rId16" Type="http://schemas.openxmlformats.org/officeDocument/2006/relationships/tags" Target="../tags/tag64.xml"/><Relationship Id="rId20" Type="http://schemas.openxmlformats.org/officeDocument/2006/relationships/image" Target="../media/image12.jpeg"/><Relationship Id="rId1" Type="http://schemas.openxmlformats.org/officeDocument/2006/relationships/slideLayout" Target="../slideLayouts/slideLayout123.xml"/><Relationship Id="rId6" Type="http://schemas.openxmlformats.org/officeDocument/2006/relationships/slideLayout" Target="../slideLayouts/slideLayout128.xml"/><Relationship Id="rId11" Type="http://schemas.openxmlformats.org/officeDocument/2006/relationships/slideLayout" Target="../slideLayouts/slideLayout133.xml"/><Relationship Id="rId5" Type="http://schemas.openxmlformats.org/officeDocument/2006/relationships/slideLayout" Target="../slideLayouts/slideLayout127.xml"/><Relationship Id="rId15" Type="http://schemas.openxmlformats.org/officeDocument/2006/relationships/vmlDrawing" Target="../drawings/vmlDrawing17.vml"/><Relationship Id="rId10" Type="http://schemas.openxmlformats.org/officeDocument/2006/relationships/slideLayout" Target="../slideLayouts/slideLayout132.xml"/><Relationship Id="rId19" Type="http://schemas.openxmlformats.org/officeDocument/2006/relationships/image" Target="../media/image3.emf"/><Relationship Id="rId4" Type="http://schemas.openxmlformats.org/officeDocument/2006/relationships/slideLayout" Target="../slideLayouts/slideLayout126.xml"/><Relationship Id="rId9" Type="http://schemas.openxmlformats.org/officeDocument/2006/relationships/slideLayout" Target="../slideLayouts/slideLayout131.xml"/><Relationship Id="rId14" Type="http://schemas.openxmlformats.org/officeDocument/2006/relationships/theme" Target="../theme/theme10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tags" Target="../tags/tag67.xml"/><Relationship Id="rId3" Type="http://schemas.openxmlformats.org/officeDocument/2006/relationships/slideLayout" Target="../slideLayouts/slideLayout138.xml"/><Relationship Id="rId7" Type="http://schemas.openxmlformats.org/officeDocument/2006/relationships/vmlDrawing" Target="../drawings/vmlDrawing19.vml"/><Relationship Id="rId2" Type="http://schemas.openxmlformats.org/officeDocument/2006/relationships/slideLayout" Target="../slideLayouts/slideLayout137.xml"/><Relationship Id="rId1" Type="http://schemas.openxmlformats.org/officeDocument/2006/relationships/slideLayout" Target="../slideLayouts/slideLayout136.xml"/><Relationship Id="rId6" Type="http://schemas.openxmlformats.org/officeDocument/2006/relationships/theme" Target="../theme/theme11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140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39.xml"/><Relationship Id="rId9" Type="http://schemas.openxmlformats.org/officeDocument/2006/relationships/oleObject" Target="../embeddings/oleObject19.bin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1.vml"/><Relationship Id="rId3" Type="http://schemas.openxmlformats.org/officeDocument/2006/relationships/slideLayout" Target="../slideLayouts/slideLayout143.xml"/><Relationship Id="rId7" Type="http://schemas.openxmlformats.org/officeDocument/2006/relationships/theme" Target="../theme/theme12.xml"/><Relationship Id="rId12" Type="http://schemas.openxmlformats.org/officeDocument/2006/relationships/image" Target="../media/image2.jpeg"/><Relationship Id="rId2" Type="http://schemas.openxmlformats.org/officeDocument/2006/relationships/slideLayout" Target="../slideLayouts/slideLayout142.xml"/><Relationship Id="rId1" Type="http://schemas.openxmlformats.org/officeDocument/2006/relationships/slideLayout" Target="../slideLayouts/slideLayout141.xml"/><Relationship Id="rId6" Type="http://schemas.openxmlformats.org/officeDocument/2006/relationships/slideLayout" Target="../slideLayouts/slideLayout14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45.xml"/><Relationship Id="rId10" Type="http://schemas.openxmlformats.org/officeDocument/2006/relationships/oleObject" Target="../embeddings/oleObject21.bin"/><Relationship Id="rId4" Type="http://schemas.openxmlformats.org/officeDocument/2006/relationships/slideLayout" Target="../slideLayouts/slideLayout144.xml"/><Relationship Id="rId9" Type="http://schemas.openxmlformats.org/officeDocument/2006/relationships/tags" Target="../tags/tag69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3.vml"/><Relationship Id="rId3" Type="http://schemas.openxmlformats.org/officeDocument/2006/relationships/slideLayout" Target="../slideLayouts/slideLayout149.xml"/><Relationship Id="rId7" Type="http://schemas.openxmlformats.org/officeDocument/2006/relationships/theme" Target="../theme/theme13.xml"/><Relationship Id="rId2" Type="http://schemas.openxmlformats.org/officeDocument/2006/relationships/slideLayout" Target="../slideLayouts/slideLayout148.xml"/><Relationship Id="rId1" Type="http://schemas.openxmlformats.org/officeDocument/2006/relationships/slideLayout" Target="../slideLayouts/slideLayout147.xml"/><Relationship Id="rId6" Type="http://schemas.openxmlformats.org/officeDocument/2006/relationships/slideLayout" Target="../slideLayouts/slideLayout152.xml"/><Relationship Id="rId11" Type="http://schemas.openxmlformats.org/officeDocument/2006/relationships/image" Target="../media/image15.emf"/><Relationship Id="rId5" Type="http://schemas.openxmlformats.org/officeDocument/2006/relationships/slideLayout" Target="../slideLayouts/slideLayout151.xml"/><Relationship Id="rId10" Type="http://schemas.openxmlformats.org/officeDocument/2006/relationships/oleObject" Target="../embeddings/oleObject23.bin"/><Relationship Id="rId4" Type="http://schemas.openxmlformats.org/officeDocument/2006/relationships/slideLayout" Target="../slideLayouts/slideLayout150.xml"/><Relationship Id="rId9" Type="http://schemas.openxmlformats.org/officeDocument/2006/relationships/tags" Target="../tags/tag7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3" Type="http://schemas.openxmlformats.org/officeDocument/2006/relationships/slideLayout" Target="../slideLayouts/slideLayout8.xml"/><Relationship Id="rId7" Type="http://schemas.openxmlformats.org/officeDocument/2006/relationships/vmlDrawing" Target="../drawings/vmlDrawing4.v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2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10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9.xml"/><Relationship Id="rId9" Type="http://schemas.openxmlformats.org/officeDocument/2006/relationships/oleObject" Target="../embeddings/oleObject4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slideLayout" Target="../slideLayouts/slideLayout13.xml"/><Relationship Id="rId7" Type="http://schemas.openxmlformats.org/officeDocument/2006/relationships/vmlDrawing" Target="../drawings/vmlDrawing5.v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theme" Target="../theme/theme3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1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4.xml"/><Relationship Id="rId9" Type="http://schemas.openxmlformats.org/officeDocument/2006/relationships/oleObject" Target="../embeddings/oleObject5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3" Type="http://schemas.openxmlformats.org/officeDocument/2006/relationships/slideLayout" Target="../slideLayouts/slideLayout18.xml"/><Relationship Id="rId7" Type="http://schemas.openxmlformats.org/officeDocument/2006/relationships/vmlDrawing" Target="../drawings/vmlDrawing7.v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theme" Target="../theme/theme4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20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9.xml"/><Relationship Id="rId9" Type="http://schemas.openxmlformats.org/officeDocument/2006/relationships/oleObject" Target="../embeddings/oleObject7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slideLayout" Target="../slideLayouts/slideLayout33.xml"/><Relationship Id="rId18" Type="http://schemas.openxmlformats.org/officeDocument/2006/relationships/slideLayout" Target="../slideLayouts/slideLayout38.xml"/><Relationship Id="rId26" Type="http://schemas.openxmlformats.org/officeDocument/2006/relationships/slideLayout" Target="../slideLayouts/slideLayout46.xml"/><Relationship Id="rId3" Type="http://schemas.openxmlformats.org/officeDocument/2006/relationships/slideLayout" Target="../slideLayouts/slideLayout23.xml"/><Relationship Id="rId21" Type="http://schemas.openxmlformats.org/officeDocument/2006/relationships/slideLayout" Target="../slideLayouts/slideLayout41.xml"/><Relationship Id="rId34" Type="http://schemas.openxmlformats.org/officeDocument/2006/relationships/tags" Target="../tags/tag16.xml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17" Type="http://schemas.openxmlformats.org/officeDocument/2006/relationships/slideLayout" Target="../slideLayouts/slideLayout37.xml"/><Relationship Id="rId25" Type="http://schemas.openxmlformats.org/officeDocument/2006/relationships/slideLayout" Target="../slideLayouts/slideLayout45.xml"/><Relationship Id="rId33" Type="http://schemas.openxmlformats.org/officeDocument/2006/relationships/vmlDrawing" Target="../drawings/vmlDrawing10.vml"/><Relationship Id="rId2" Type="http://schemas.openxmlformats.org/officeDocument/2006/relationships/slideLayout" Target="../slideLayouts/slideLayout22.xml"/><Relationship Id="rId16" Type="http://schemas.openxmlformats.org/officeDocument/2006/relationships/slideLayout" Target="../slideLayouts/slideLayout36.xml"/><Relationship Id="rId20" Type="http://schemas.openxmlformats.org/officeDocument/2006/relationships/slideLayout" Target="../slideLayouts/slideLayout40.xml"/><Relationship Id="rId29" Type="http://schemas.openxmlformats.org/officeDocument/2006/relationships/slideLayout" Target="../slideLayouts/slideLayout49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24" Type="http://schemas.openxmlformats.org/officeDocument/2006/relationships/slideLayout" Target="../slideLayouts/slideLayout44.xml"/><Relationship Id="rId32" Type="http://schemas.openxmlformats.org/officeDocument/2006/relationships/theme" Target="../theme/theme5.xml"/><Relationship Id="rId37" Type="http://schemas.openxmlformats.org/officeDocument/2006/relationships/image" Target="../media/image2.jpeg"/><Relationship Id="rId5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5.xml"/><Relationship Id="rId23" Type="http://schemas.openxmlformats.org/officeDocument/2006/relationships/slideLayout" Target="../slideLayouts/slideLayout43.xml"/><Relationship Id="rId28" Type="http://schemas.openxmlformats.org/officeDocument/2006/relationships/slideLayout" Target="../slideLayouts/slideLayout48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30.xml"/><Relationship Id="rId19" Type="http://schemas.openxmlformats.org/officeDocument/2006/relationships/slideLayout" Target="../slideLayouts/slideLayout39.xml"/><Relationship Id="rId31" Type="http://schemas.openxmlformats.org/officeDocument/2006/relationships/slideLayout" Target="../slideLayouts/slideLayout51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Relationship Id="rId22" Type="http://schemas.openxmlformats.org/officeDocument/2006/relationships/slideLayout" Target="../slideLayouts/slideLayout42.xml"/><Relationship Id="rId27" Type="http://schemas.openxmlformats.org/officeDocument/2006/relationships/slideLayout" Target="../slideLayouts/slideLayout47.xml"/><Relationship Id="rId30" Type="http://schemas.openxmlformats.org/officeDocument/2006/relationships/slideLayout" Target="../slideLayouts/slideLayout50.xml"/><Relationship Id="rId35" Type="http://schemas.openxmlformats.org/officeDocument/2006/relationships/oleObject" Target="../embeddings/oleObject10.bin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9.xml"/><Relationship Id="rId13" Type="http://schemas.openxmlformats.org/officeDocument/2006/relationships/slideLayout" Target="../slideLayouts/slideLayout64.xml"/><Relationship Id="rId18" Type="http://schemas.openxmlformats.org/officeDocument/2006/relationships/slideLayout" Target="../slideLayouts/slideLayout69.xml"/><Relationship Id="rId26" Type="http://schemas.openxmlformats.org/officeDocument/2006/relationships/slideLayout" Target="../slideLayouts/slideLayout77.xml"/><Relationship Id="rId3" Type="http://schemas.openxmlformats.org/officeDocument/2006/relationships/slideLayout" Target="../slideLayouts/slideLayout54.xml"/><Relationship Id="rId21" Type="http://schemas.openxmlformats.org/officeDocument/2006/relationships/slideLayout" Target="../slideLayouts/slideLayout72.xml"/><Relationship Id="rId7" Type="http://schemas.openxmlformats.org/officeDocument/2006/relationships/slideLayout" Target="../slideLayouts/slideLayout58.xml"/><Relationship Id="rId12" Type="http://schemas.openxmlformats.org/officeDocument/2006/relationships/slideLayout" Target="../slideLayouts/slideLayout63.xml"/><Relationship Id="rId17" Type="http://schemas.openxmlformats.org/officeDocument/2006/relationships/slideLayout" Target="../slideLayouts/slideLayout68.xml"/><Relationship Id="rId25" Type="http://schemas.openxmlformats.org/officeDocument/2006/relationships/slideLayout" Target="../slideLayouts/slideLayout76.xml"/><Relationship Id="rId33" Type="http://schemas.openxmlformats.org/officeDocument/2006/relationships/image" Target="../media/image2.jpeg"/><Relationship Id="rId2" Type="http://schemas.openxmlformats.org/officeDocument/2006/relationships/slideLayout" Target="../slideLayouts/slideLayout53.xml"/><Relationship Id="rId16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71.xml"/><Relationship Id="rId29" Type="http://schemas.openxmlformats.org/officeDocument/2006/relationships/vmlDrawing" Target="../drawings/vmlDrawing12.vml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11" Type="http://schemas.openxmlformats.org/officeDocument/2006/relationships/slideLayout" Target="../slideLayouts/slideLayout62.xml"/><Relationship Id="rId24" Type="http://schemas.openxmlformats.org/officeDocument/2006/relationships/slideLayout" Target="../slideLayouts/slideLayout75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6.xml"/><Relationship Id="rId15" Type="http://schemas.openxmlformats.org/officeDocument/2006/relationships/slideLayout" Target="../slideLayouts/slideLayout66.xml"/><Relationship Id="rId23" Type="http://schemas.openxmlformats.org/officeDocument/2006/relationships/slideLayout" Target="../slideLayouts/slideLayout74.xml"/><Relationship Id="rId28" Type="http://schemas.openxmlformats.org/officeDocument/2006/relationships/theme" Target="../theme/theme6.xml"/><Relationship Id="rId10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70.xml"/><Relationship Id="rId31" Type="http://schemas.openxmlformats.org/officeDocument/2006/relationships/oleObject" Target="../embeddings/oleObject12.bin"/><Relationship Id="rId4" Type="http://schemas.openxmlformats.org/officeDocument/2006/relationships/slideLayout" Target="../slideLayouts/slideLayout55.xml"/><Relationship Id="rId9" Type="http://schemas.openxmlformats.org/officeDocument/2006/relationships/slideLayout" Target="../slideLayouts/slideLayout60.xml"/><Relationship Id="rId14" Type="http://schemas.openxmlformats.org/officeDocument/2006/relationships/slideLayout" Target="../slideLayouts/slideLayout65.xml"/><Relationship Id="rId22" Type="http://schemas.openxmlformats.org/officeDocument/2006/relationships/slideLayout" Target="../slideLayouts/slideLayout73.xml"/><Relationship Id="rId27" Type="http://schemas.openxmlformats.org/officeDocument/2006/relationships/slideLayout" Target="../slideLayouts/slideLayout78.xml"/><Relationship Id="rId30" Type="http://schemas.openxmlformats.org/officeDocument/2006/relationships/tags" Target="../tags/tag30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ags" Target="../tags/tag42.xml"/><Relationship Id="rId3" Type="http://schemas.openxmlformats.org/officeDocument/2006/relationships/slideLayout" Target="../slideLayouts/slideLayout81.xml"/><Relationship Id="rId7" Type="http://schemas.openxmlformats.org/officeDocument/2006/relationships/vmlDrawing" Target="../drawings/vmlDrawing13.vml"/><Relationship Id="rId2" Type="http://schemas.openxmlformats.org/officeDocument/2006/relationships/slideLayout" Target="../slideLayouts/slideLayout80.xml"/><Relationship Id="rId1" Type="http://schemas.openxmlformats.org/officeDocument/2006/relationships/slideLayout" Target="../slideLayouts/slideLayout79.xml"/><Relationship Id="rId6" Type="http://schemas.openxmlformats.org/officeDocument/2006/relationships/theme" Target="../theme/theme7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83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82.xml"/><Relationship Id="rId9" Type="http://schemas.openxmlformats.org/officeDocument/2006/relationships/oleObject" Target="../embeddings/oleObject13.bin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1.xml"/><Relationship Id="rId13" Type="http://schemas.openxmlformats.org/officeDocument/2006/relationships/slideLayout" Target="../slideLayouts/slideLayout96.xml"/><Relationship Id="rId18" Type="http://schemas.openxmlformats.org/officeDocument/2006/relationships/slideLayout" Target="../slideLayouts/slideLayout101.xml"/><Relationship Id="rId26" Type="http://schemas.openxmlformats.org/officeDocument/2006/relationships/slideLayout" Target="../slideLayouts/slideLayout109.xml"/><Relationship Id="rId3" Type="http://schemas.openxmlformats.org/officeDocument/2006/relationships/slideLayout" Target="../slideLayouts/slideLayout86.xml"/><Relationship Id="rId21" Type="http://schemas.openxmlformats.org/officeDocument/2006/relationships/slideLayout" Target="../slideLayouts/slideLayout104.xml"/><Relationship Id="rId7" Type="http://schemas.openxmlformats.org/officeDocument/2006/relationships/slideLayout" Target="../slideLayouts/slideLayout90.xml"/><Relationship Id="rId12" Type="http://schemas.openxmlformats.org/officeDocument/2006/relationships/slideLayout" Target="../slideLayouts/slideLayout95.xml"/><Relationship Id="rId17" Type="http://schemas.openxmlformats.org/officeDocument/2006/relationships/slideLayout" Target="../slideLayouts/slideLayout100.xml"/><Relationship Id="rId25" Type="http://schemas.openxmlformats.org/officeDocument/2006/relationships/slideLayout" Target="../slideLayouts/slideLayout108.xml"/><Relationship Id="rId2" Type="http://schemas.openxmlformats.org/officeDocument/2006/relationships/slideLayout" Target="../slideLayouts/slideLayout85.xml"/><Relationship Id="rId16" Type="http://schemas.openxmlformats.org/officeDocument/2006/relationships/slideLayout" Target="../slideLayouts/slideLayout99.xml"/><Relationship Id="rId20" Type="http://schemas.openxmlformats.org/officeDocument/2006/relationships/slideLayout" Target="../slideLayouts/slideLayout103.xml"/><Relationship Id="rId29" Type="http://schemas.openxmlformats.org/officeDocument/2006/relationships/tags" Target="../tags/tag45.xml"/><Relationship Id="rId1" Type="http://schemas.openxmlformats.org/officeDocument/2006/relationships/slideLayout" Target="../slideLayouts/slideLayout84.xml"/><Relationship Id="rId6" Type="http://schemas.openxmlformats.org/officeDocument/2006/relationships/slideLayout" Target="../slideLayouts/slideLayout89.xml"/><Relationship Id="rId11" Type="http://schemas.openxmlformats.org/officeDocument/2006/relationships/slideLayout" Target="../slideLayouts/slideLayout94.xml"/><Relationship Id="rId24" Type="http://schemas.openxmlformats.org/officeDocument/2006/relationships/slideLayout" Target="../slideLayouts/slideLayout107.xml"/><Relationship Id="rId32" Type="http://schemas.openxmlformats.org/officeDocument/2006/relationships/image" Target="../media/image2.jpeg"/><Relationship Id="rId5" Type="http://schemas.openxmlformats.org/officeDocument/2006/relationships/slideLayout" Target="../slideLayouts/slideLayout88.xml"/><Relationship Id="rId15" Type="http://schemas.openxmlformats.org/officeDocument/2006/relationships/slideLayout" Target="../slideLayouts/slideLayout98.xml"/><Relationship Id="rId23" Type="http://schemas.openxmlformats.org/officeDocument/2006/relationships/slideLayout" Target="../slideLayouts/slideLayout106.xml"/><Relationship Id="rId28" Type="http://schemas.openxmlformats.org/officeDocument/2006/relationships/vmlDrawing" Target="../drawings/vmlDrawing15.vml"/><Relationship Id="rId10" Type="http://schemas.openxmlformats.org/officeDocument/2006/relationships/slideLayout" Target="../slideLayouts/slideLayout93.xml"/><Relationship Id="rId19" Type="http://schemas.openxmlformats.org/officeDocument/2006/relationships/slideLayout" Target="../slideLayouts/slideLayout102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87.xml"/><Relationship Id="rId9" Type="http://schemas.openxmlformats.org/officeDocument/2006/relationships/slideLayout" Target="../slideLayouts/slideLayout92.xml"/><Relationship Id="rId14" Type="http://schemas.openxmlformats.org/officeDocument/2006/relationships/slideLayout" Target="../slideLayouts/slideLayout97.xml"/><Relationship Id="rId22" Type="http://schemas.openxmlformats.org/officeDocument/2006/relationships/slideLayout" Target="../slideLayouts/slideLayout105.xml"/><Relationship Id="rId27" Type="http://schemas.openxmlformats.org/officeDocument/2006/relationships/theme" Target="../theme/theme8.xml"/><Relationship Id="rId30" Type="http://schemas.openxmlformats.org/officeDocument/2006/relationships/oleObject" Target="../embeddings/oleObject15.bin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7.xml"/><Relationship Id="rId13" Type="http://schemas.openxmlformats.org/officeDocument/2006/relationships/slideLayout" Target="../slideLayouts/slideLayout122.xml"/><Relationship Id="rId18" Type="http://schemas.openxmlformats.org/officeDocument/2006/relationships/oleObject" Target="../embeddings/oleObject16.bin"/><Relationship Id="rId3" Type="http://schemas.openxmlformats.org/officeDocument/2006/relationships/slideLayout" Target="../slideLayouts/slideLayout112.xml"/><Relationship Id="rId21" Type="http://schemas.openxmlformats.org/officeDocument/2006/relationships/image" Target="../media/image13.jpeg"/><Relationship Id="rId7" Type="http://schemas.openxmlformats.org/officeDocument/2006/relationships/slideLayout" Target="../slideLayouts/slideLayout116.xml"/><Relationship Id="rId12" Type="http://schemas.openxmlformats.org/officeDocument/2006/relationships/slideLayout" Target="../slideLayouts/slideLayout121.xml"/><Relationship Id="rId17" Type="http://schemas.openxmlformats.org/officeDocument/2006/relationships/tags" Target="../tags/tag63.xml"/><Relationship Id="rId2" Type="http://schemas.openxmlformats.org/officeDocument/2006/relationships/slideLayout" Target="../slideLayouts/slideLayout111.xml"/><Relationship Id="rId16" Type="http://schemas.openxmlformats.org/officeDocument/2006/relationships/tags" Target="../tags/tag62.xml"/><Relationship Id="rId20" Type="http://schemas.openxmlformats.org/officeDocument/2006/relationships/image" Target="../media/image12.jpeg"/><Relationship Id="rId1" Type="http://schemas.openxmlformats.org/officeDocument/2006/relationships/slideLayout" Target="../slideLayouts/slideLayout110.xml"/><Relationship Id="rId6" Type="http://schemas.openxmlformats.org/officeDocument/2006/relationships/slideLayout" Target="../slideLayouts/slideLayout115.xml"/><Relationship Id="rId11" Type="http://schemas.openxmlformats.org/officeDocument/2006/relationships/slideLayout" Target="../slideLayouts/slideLayout120.xml"/><Relationship Id="rId5" Type="http://schemas.openxmlformats.org/officeDocument/2006/relationships/slideLayout" Target="../slideLayouts/slideLayout114.xml"/><Relationship Id="rId15" Type="http://schemas.openxmlformats.org/officeDocument/2006/relationships/vmlDrawing" Target="../drawings/vmlDrawing16.vml"/><Relationship Id="rId10" Type="http://schemas.openxmlformats.org/officeDocument/2006/relationships/slideLayout" Target="../slideLayouts/slideLayout119.xml"/><Relationship Id="rId19" Type="http://schemas.openxmlformats.org/officeDocument/2006/relationships/image" Target="../media/image3.emf"/><Relationship Id="rId4" Type="http://schemas.openxmlformats.org/officeDocument/2006/relationships/slideLayout" Target="../slideLayouts/slideLayout113.xml"/><Relationship Id="rId9" Type="http://schemas.openxmlformats.org/officeDocument/2006/relationships/slideLayout" Target="../slideLayouts/slideLayout118.xml"/><Relationship Id="rId14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9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967907817"/>
              </p:ext>
            </p:extLst>
          </p:nvPr>
        </p:nvGraphicFramePr>
        <p:xfrm>
          <a:off x="2547" y="1919"/>
          <a:ext cx="2543" cy="19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1026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547" y="1919"/>
                        <a:ext cx="2543" cy="190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8" name="Picture 9" descr="PP balk"/>
          <p:cNvPicPr>
            <a:picLocks noChangeAspect="1" noChangeArrowheads="1"/>
          </p:cNvPicPr>
          <p:nvPr userDrawn="1"/>
        </p:nvPicPr>
        <p:blipFill rotWithShape="1">
          <a:blip r:embed="rId11" cstate="print"/>
          <a:srcRect l="4447" t="50000" r="3799" b="8558"/>
          <a:stretch/>
        </p:blipFill>
        <p:spPr bwMode="auto">
          <a:xfrm>
            <a:off x="197423" y="137295"/>
            <a:ext cx="14455203" cy="347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97433" y="711667"/>
            <a:ext cx="14293389" cy="4331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98956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Text</a:t>
            </a:r>
          </a:p>
        </p:txBody>
      </p:sp>
      <p:sp>
        <p:nvSpPr>
          <p:cNvPr id="1030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7431" y="1736960"/>
            <a:ext cx="14234164" cy="58810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77918" rIns="77918" bIns="7791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Text</a:t>
            </a:r>
          </a:p>
          <a:p>
            <a:pPr lvl="1"/>
            <a:r>
              <a:rPr lang="en-GB" dirty="0"/>
              <a:t>Text</a:t>
            </a:r>
          </a:p>
        </p:txBody>
      </p:sp>
      <p:sp>
        <p:nvSpPr>
          <p:cNvPr id="143366" name="Rectangle 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33423" y="201216"/>
            <a:ext cx="5766927" cy="259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8956" tIns="49478" rIns="98956" bIns="49478" numCol="1" anchor="t" anchorCtr="0" compatLnSpc="1">
            <a:prstTxWarp prst="textNoShape">
              <a:avLst/>
            </a:prstTxWarp>
          </a:bodyPr>
          <a:lstStyle>
            <a:lvl1pPr algn="l">
              <a:defRPr sz="1544" b="1">
                <a:solidFill>
                  <a:schemeClr val="bg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43368" name="Text Box 8"/>
          <p:cNvSpPr txBox="1">
            <a:spLocks noChangeArrowheads="1"/>
          </p:cNvSpPr>
          <p:nvPr/>
        </p:nvSpPr>
        <p:spPr bwMode="auto">
          <a:xfrm>
            <a:off x="6598777" y="201216"/>
            <a:ext cx="1465263" cy="259530"/>
          </a:xfrm>
          <a:prstGeom prst="rect">
            <a:avLst/>
          </a:prstGeom>
          <a:noFill/>
          <a:ln w="19050" algn="ctr">
            <a:noFill/>
            <a:prstDash val="sysDot"/>
            <a:miter lim="800000"/>
            <a:headEnd/>
            <a:tailEnd/>
          </a:ln>
          <a:effectLst/>
        </p:spPr>
        <p:txBody>
          <a:bodyPr wrap="none" lIns="0" tIns="71077" rIns="0" bIns="71077"/>
          <a:lstStyle/>
          <a:p>
            <a:pPr algn="ctr">
              <a:spcBef>
                <a:spcPct val="50000"/>
              </a:spcBef>
              <a:defRPr/>
            </a:pPr>
            <a:r>
              <a:rPr lang="en-GB" sz="1544" b="1" dirty="0">
                <a:solidFill>
                  <a:schemeClr val="bg1"/>
                </a:solidFill>
                <a:latin typeface="Arial" charset="0"/>
                <a:cs typeface="Arial" charset="0"/>
              </a:rPr>
              <a:t>Tata Ste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803" r:id="rId1"/>
    <p:sldLayoutId id="2147484776" r:id="rId2"/>
    <p:sldLayoutId id="2147484783" r:id="rId3"/>
    <p:sldLayoutId id="2147484807" r:id="rId4"/>
    <p:sldLayoutId id="2147484804" r:id="rId5"/>
  </p:sldLayoutIdLst>
  <p:transition>
    <p:fade/>
  </p:transition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7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368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368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368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368" b="1">
          <a:solidFill>
            <a:schemeClr val="tx2"/>
          </a:solidFill>
          <a:latin typeface="Arial" charset="0"/>
          <a:cs typeface="Arial" charset="0"/>
        </a:defRPr>
      </a:lvl5pPr>
      <a:lvl6pPr marL="694339" algn="l" rtl="0" eaLnBrk="1" fontAlgn="base" hangingPunct="1">
        <a:spcBef>
          <a:spcPct val="0"/>
        </a:spcBef>
        <a:spcAft>
          <a:spcPct val="0"/>
        </a:spcAft>
        <a:defRPr sz="3368" b="1">
          <a:solidFill>
            <a:schemeClr val="tx2"/>
          </a:solidFill>
          <a:latin typeface="Arial" charset="0"/>
          <a:cs typeface="Arial" charset="0"/>
        </a:defRPr>
      </a:lvl6pPr>
      <a:lvl7pPr marL="1388678" algn="l" rtl="0" eaLnBrk="1" fontAlgn="base" hangingPunct="1">
        <a:spcBef>
          <a:spcPct val="0"/>
        </a:spcBef>
        <a:spcAft>
          <a:spcPct val="0"/>
        </a:spcAft>
        <a:defRPr sz="3368" b="1">
          <a:solidFill>
            <a:schemeClr val="tx2"/>
          </a:solidFill>
          <a:latin typeface="Arial" charset="0"/>
          <a:cs typeface="Arial" charset="0"/>
        </a:defRPr>
      </a:lvl7pPr>
      <a:lvl8pPr marL="2083018" algn="l" rtl="0" eaLnBrk="1" fontAlgn="base" hangingPunct="1">
        <a:spcBef>
          <a:spcPct val="0"/>
        </a:spcBef>
        <a:spcAft>
          <a:spcPct val="0"/>
        </a:spcAft>
        <a:defRPr sz="3368" b="1">
          <a:solidFill>
            <a:schemeClr val="tx2"/>
          </a:solidFill>
          <a:latin typeface="Arial" charset="0"/>
          <a:cs typeface="Arial" charset="0"/>
        </a:defRPr>
      </a:lvl8pPr>
      <a:lvl9pPr marL="2777356" algn="l" rtl="0" eaLnBrk="1" fontAlgn="base" hangingPunct="1">
        <a:spcBef>
          <a:spcPct val="0"/>
        </a:spcBef>
        <a:spcAft>
          <a:spcPct val="0"/>
        </a:spcAft>
        <a:defRPr sz="3368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72433" indent="-272433" algn="l" rtl="0" eaLnBrk="0" fontAlgn="base" hangingPunct="0">
        <a:spcBef>
          <a:spcPts val="1311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sz="2245">
          <a:solidFill>
            <a:schemeClr val="tx1"/>
          </a:solidFill>
          <a:latin typeface="+mn-lt"/>
          <a:ea typeface="+mn-ea"/>
          <a:cs typeface="+mn-cs"/>
        </a:defRPr>
      </a:lvl1pPr>
      <a:lvl2pPr marL="544863" indent="-272433" algn="l" rtl="0" eaLnBrk="0" fontAlgn="base" hangingPunct="0">
        <a:spcBef>
          <a:spcPts val="1311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sz="2245">
          <a:solidFill>
            <a:schemeClr val="tx1"/>
          </a:solidFill>
          <a:latin typeface="+mn-lt"/>
          <a:cs typeface="+mn-cs"/>
        </a:defRPr>
      </a:lvl2pPr>
      <a:lvl3pPr marL="1875680" indent="-347169" algn="l" rtl="0" eaLnBrk="0" fontAlgn="base" hangingPunct="0">
        <a:spcBef>
          <a:spcPct val="20000"/>
        </a:spcBef>
        <a:spcAft>
          <a:spcPct val="0"/>
        </a:spcAft>
        <a:buChar char="•"/>
        <a:defRPr sz="3087">
          <a:solidFill>
            <a:schemeClr val="tx1"/>
          </a:solidFill>
          <a:latin typeface="+mn-lt"/>
          <a:cs typeface="+mn-cs"/>
        </a:defRPr>
      </a:lvl3pPr>
      <a:lvl4pPr marL="2495282" indent="-347169" algn="l" rtl="0" eaLnBrk="0" fontAlgn="base" hangingPunct="0">
        <a:spcBef>
          <a:spcPct val="20000"/>
        </a:spcBef>
        <a:spcAft>
          <a:spcPct val="0"/>
        </a:spcAft>
        <a:buChar char="–"/>
        <a:defRPr sz="3087">
          <a:solidFill>
            <a:schemeClr val="tx1"/>
          </a:solidFill>
          <a:latin typeface="+mn-lt"/>
          <a:cs typeface="+mn-cs"/>
        </a:defRPr>
      </a:lvl4pPr>
      <a:lvl5pPr marL="3124525" indent="-347169" algn="l" rtl="0" eaLnBrk="0" fontAlgn="base" hangingPunct="0">
        <a:spcBef>
          <a:spcPct val="20000"/>
        </a:spcBef>
        <a:spcAft>
          <a:spcPct val="0"/>
        </a:spcAft>
        <a:buChar char="»"/>
        <a:defRPr sz="3087">
          <a:solidFill>
            <a:schemeClr val="tx1"/>
          </a:solidFill>
          <a:latin typeface="+mn-lt"/>
          <a:cs typeface="+mn-cs"/>
        </a:defRPr>
      </a:lvl5pPr>
      <a:lvl6pPr marL="3818864" indent="-347169" algn="l" rtl="0" eaLnBrk="1" fontAlgn="base" hangingPunct="1">
        <a:spcBef>
          <a:spcPct val="20000"/>
        </a:spcBef>
        <a:spcAft>
          <a:spcPct val="0"/>
        </a:spcAft>
        <a:buChar char="»"/>
        <a:defRPr sz="3087">
          <a:solidFill>
            <a:schemeClr val="tx1"/>
          </a:solidFill>
          <a:latin typeface="+mn-lt"/>
          <a:cs typeface="+mn-cs"/>
        </a:defRPr>
      </a:lvl6pPr>
      <a:lvl7pPr marL="4513203" indent="-347169" algn="l" rtl="0" eaLnBrk="1" fontAlgn="base" hangingPunct="1">
        <a:spcBef>
          <a:spcPct val="20000"/>
        </a:spcBef>
        <a:spcAft>
          <a:spcPct val="0"/>
        </a:spcAft>
        <a:buChar char="»"/>
        <a:defRPr sz="3087">
          <a:solidFill>
            <a:schemeClr val="tx1"/>
          </a:solidFill>
          <a:latin typeface="+mn-lt"/>
          <a:cs typeface="+mn-cs"/>
        </a:defRPr>
      </a:lvl7pPr>
      <a:lvl8pPr marL="5207544" indent="-347169" algn="l" rtl="0" eaLnBrk="1" fontAlgn="base" hangingPunct="1">
        <a:spcBef>
          <a:spcPct val="20000"/>
        </a:spcBef>
        <a:spcAft>
          <a:spcPct val="0"/>
        </a:spcAft>
        <a:buChar char="»"/>
        <a:defRPr sz="3087">
          <a:solidFill>
            <a:schemeClr val="tx1"/>
          </a:solidFill>
          <a:latin typeface="+mn-lt"/>
          <a:cs typeface="+mn-cs"/>
        </a:defRPr>
      </a:lvl8pPr>
      <a:lvl9pPr marL="5901883" indent="-347169" algn="l" rtl="0" eaLnBrk="1" fontAlgn="base" hangingPunct="1">
        <a:spcBef>
          <a:spcPct val="20000"/>
        </a:spcBef>
        <a:spcAft>
          <a:spcPct val="0"/>
        </a:spcAft>
        <a:buChar char="»"/>
        <a:defRPr sz="3087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nl-NL"/>
      </a:defPPr>
      <a:lvl1pPr marL="0" algn="l" defTabSz="1388678" rtl="0" eaLnBrk="1" latinLnBrk="0" hangingPunct="1">
        <a:defRPr sz="2667" kern="1200">
          <a:solidFill>
            <a:schemeClr val="tx1"/>
          </a:solidFill>
          <a:latin typeface="+mn-lt"/>
          <a:ea typeface="+mn-ea"/>
          <a:cs typeface="+mn-cs"/>
        </a:defRPr>
      </a:lvl1pPr>
      <a:lvl2pPr marL="694339" algn="l" defTabSz="1388678" rtl="0" eaLnBrk="1" latinLnBrk="0" hangingPunct="1">
        <a:defRPr sz="2667" kern="1200">
          <a:solidFill>
            <a:schemeClr val="tx1"/>
          </a:solidFill>
          <a:latin typeface="+mn-lt"/>
          <a:ea typeface="+mn-ea"/>
          <a:cs typeface="+mn-cs"/>
        </a:defRPr>
      </a:lvl2pPr>
      <a:lvl3pPr marL="1388678" algn="l" defTabSz="1388678" rtl="0" eaLnBrk="1" latinLnBrk="0" hangingPunct="1">
        <a:defRPr sz="2667" kern="1200">
          <a:solidFill>
            <a:schemeClr val="tx1"/>
          </a:solidFill>
          <a:latin typeface="+mn-lt"/>
          <a:ea typeface="+mn-ea"/>
          <a:cs typeface="+mn-cs"/>
        </a:defRPr>
      </a:lvl3pPr>
      <a:lvl4pPr marL="2083018" algn="l" defTabSz="1388678" rtl="0" eaLnBrk="1" latinLnBrk="0" hangingPunct="1"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77356" algn="l" defTabSz="1388678" rtl="0" eaLnBrk="1" latinLnBrk="0" hangingPunct="1"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471695" algn="l" defTabSz="1388678" rtl="0" eaLnBrk="1" latinLnBrk="0" hangingPunct="1"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4166034" algn="l" defTabSz="1388678" rtl="0" eaLnBrk="1" latinLnBrk="0" hangingPunct="1"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860374" algn="l" defTabSz="1388678" rtl="0" eaLnBrk="1" latinLnBrk="0" hangingPunct="1"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554713" algn="l" defTabSz="1388678" rtl="0" eaLnBrk="1" latinLnBrk="0" hangingPunct="1"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35D69E9-B1DE-423F-B364-498395E414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460569916"/>
              </p:ext>
            </p:extLst>
          </p:nvPr>
        </p:nvGraphicFramePr>
        <p:xfrm>
          <a:off x="1903" y="1903"/>
          <a:ext cx="1903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4" name="think-cell Slide" r:id="rId18" imgW="442" imgH="442" progId="TCLayout.ActiveDocument.1">
                  <p:embed/>
                </p:oleObj>
              </mc:Choice>
              <mc:Fallback>
                <p:oleObj name="think-cell Slide" r:id="rId18" imgW="442" imgH="44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35D69E9-B1DE-423F-B364-498395E414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903" y="1903"/>
                        <a:ext cx="1903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B72811B-6E1E-4944-BB9F-FA2EDF1E853D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90269" cy="19030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096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26" name="Picture 28" descr="Tata_Blue_RGB_A4"/>
          <p:cNvPicPr>
            <a:picLocks noChangeAspect="1" noChangeArrowheads="1"/>
          </p:cNvPicPr>
          <p:nvPr/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12752367" y="263349"/>
            <a:ext cx="1366051" cy="915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7" name="Picture 29" descr="TataSteel_Blue_RGB_A4"/>
          <p:cNvPicPr>
            <a:picLocks noChangeAspect="1" noChangeArrowheads="1"/>
          </p:cNvPicPr>
          <p:nvPr/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404477" y="7532094"/>
            <a:ext cx="2734647" cy="61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43598" y="358765"/>
            <a:ext cx="12207976" cy="421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71579" y="1572447"/>
            <a:ext cx="13322188" cy="58699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1808595" y="7783986"/>
            <a:ext cx="1696753" cy="2166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ctr">
              <a:defRPr sz="1407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194562" y="7816428"/>
            <a:ext cx="5199647" cy="2166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ctr">
              <a:defRPr sz="1407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3774743" y="7783986"/>
            <a:ext cx="219025" cy="2166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defRPr sz="1407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0CA63A39-C7E0-4864-8F92-84922ECB1F5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03807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42" r:id="rId1"/>
    <p:sldLayoutId id="2147484943" r:id="rId2"/>
    <p:sldLayoutId id="2147484944" r:id="rId3"/>
    <p:sldLayoutId id="2147484945" r:id="rId4"/>
    <p:sldLayoutId id="2147484946" r:id="rId5"/>
    <p:sldLayoutId id="2147484947" r:id="rId6"/>
    <p:sldLayoutId id="2147484948" r:id="rId7"/>
    <p:sldLayoutId id="2147484949" r:id="rId8"/>
    <p:sldLayoutId id="2147484950" r:id="rId9"/>
    <p:sldLayoutId id="2147484951" r:id="rId10"/>
    <p:sldLayoutId id="2147484952" r:id="rId11"/>
    <p:sldLayoutId id="2147484953" r:id="rId12"/>
    <p:sldLayoutId id="2147484967" r:id="rId13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096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096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096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096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096" b="1">
          <a:solidFill>
            <a:schemeClr val="tx2"/>
          </a:solidFill>
          <a:latin typeface="Arial" charset="0"/>
          <a:cs typeface="Arial" charset="0"/>
        </a:defRPr>
      </a:lvl5pPr>
      <a:lvl6pPr marL="643396" algn="l" rtl="0" eaLnBrk="1" fontAlgn="base" hangingPunct="1">
        <a:spcBef>
          <a:spcPct val="0"/>
        </a:spcBef>
        <a:spcAft>
          <a:spcPct val="0"/>
        </a:spcAft>
        <a:defRPr sz="3096" b="1">
          <a:solidFill>
            <a:schemeClr val="tx2"/>
          </a:solidFill>
          <a:latin typeface="Arial" charset="0"/>
          <a:cs typeface="Arial" charset="0"/>
        </a:defRPr>
      </a:lvl6pPr>
      <a:lvl7pPr marL="1286791" algn="l" rtl="0" eaLnBrk="1" fontAlgn="base" hangingPunct="1">
        <a:spcBef>
          <a:spcPct val="0"/>
        </a:spcBef>
        <a:spcAft>
          <a:spcPct val="0"/>
        </a:spcAft>
        <a:defRPr sz="3096" b="1">
          <a:solidFill>
            <a:schemeClr val="tx2"/>
          </a:solidFill>
          <a:latin typeface="Arial" charset="0"/>
          <a:cs typeface="Arial" charset="0"/>
        </a:defRPr>
      </a:lvl7pPr>
      <a:lvl8pPr marL="1930188" algn="l" rtl="0" eaLnBrk="1" fontAlgn="base" hangingPunct="1">
        <a:spcBef>
          <a:spcPct val="0"/>
        </a:spcBef>
        <a:spcAft>
          <a:spcPct val="0"/>
        </a:spcAft>
        <a:defRPr sz="3096" b="1">
          <a:solidFill>
            <a:schemeClr val="tx2"/>
          </a:solidFill>
          <a:latin typeface="Arial" charset="0"/>
          <a:cs typeface="Arial" charset="0"/>
        </a:defRPr>
      </a:lvl8pPr>
      <a:lvl9pPr marL="2573585" algn="l" rtl="0" eaLnBrk="1" fontAlgn="base" hangingPunct="1">
        <a:spcBef>
          <a:spcPct val="0"/>
        </a:spcBef>
        <a:spcAft>
          <a:spcPct val="0"/>
        </a:spcAft>
        <a:defRPr sz="3096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406591" indent="-406591" algn="l" rtl="0" eaLnBrk="1" fontAlgn="base" hangingPunct="1">
        <a:spcBef>
          <a:spcPct val="0"/>
        </a:spcBef>
        <a:spcAft>
          <a:spcPct val="60000"/>
        </a:spcAft>
        <a:buClr>
          <a:schemeClr val="accent1"/>
        </a:buClr>
        <a:buChar char="•"/>
        <a:defRPr sz="2815">
          <a:solidFill>
            <a:schemeClr val="tx1"/>
          </a:solidFill>
          <a:latin typeface="+mn-lt"/>
          <a:ea typeface="+mn-ea"/>
          <a:cs typeface="+mn-cs"/>
        </a:defRPr>
      </a:lvl1pPr>
      <a:lvl2pPr marL="804245" indent="-395421" algn="l" rtl="0" eaLnBrk="1" fontAlgn="base" hangingPunct="1">
        <a:spcBef>
          <a:spcPct val="0"/>
        </a:spcBef>
        <a:spcAft>
          <a:spcPct val="30000"/>
        </a:spcAft>
        <a:buClr>
          <a:schemeClr val="tx2"/>
        </a:buClr>
        <a:buChar char="•"/>
        <a:defRPr>
          <a:solidFill>
            <a:schemeClr val="tx1"/>
          </a:solidFill>
          <a:latin typeface="+mn-lt"/>
          <a:cs typeface="+mn-cs"/>
        </a:defRPr>
      </a:lvl2pPr>
      <a:lvl3pPr marL="1179559" indent="-373081" algn="l" rtl="0" eaLnBrk="1" fontAlgn="base" hangingPunct="1">
        <a:spcBef>
          <a:spcPct val="0"/>
        </a:spcBef>
        <a:spcAft>
          <a:spcPct val="30000"/>
        </a:spcAft>
        <a:buClr>
          <a:schemeClr val="tx1"/>
        </a:buClr>
        <a:buSzPct val="90000"/>
        <a:buFont typeface="Arial" pitchFamily="34" charset="0"/>
        <a:buChar char="─"/>
        <a:defRPr sz="2251">
          <a:solidFill>
            <a:schemeClr val="tx1"/>
          </a:solidFill>
          <a:latin typeface="+mn-lt"/>
          <a:cs typeface="+mn-cs"/>
        </a:defRPr>
      </a:lvl3pPr>
      <a:lvl4pPr marL="1436472" indent="-254678" algn="l" rtl="0" eaLnBrk="1" fontAlgn="base" hangingPunct="1">
        <a:spcBef>
          <a:spcPct val="0"/>
        </a:spcBef>
        <a:spcAft>
          <a:spcPct val="30000"/>
        </a:spcAft>
        <a:buClr>
          <a:schemeClr val="tx1"/>
        </a:buClr>
        <a:buSzPct val="90000"/>
        <a:buFont typeface="Arial" pitchFamily="34" charset="0"/>
        <a:buChar char="•"/>
        <a:defRPr sz="1970">
          <a:solidFill>
            <a:schemeClr val="tx1"/>
          </a:solidFill>
          <a:latin typeface="+mn-lt"/>
          <a:cs typeface="+mn-cs"/>
        </a:defRPr>
      </a:lvl4pPr>
      <a:lvl5pPr marL="1867636" indent="-350741" algn="l" rtl="0" eaLnBrk="1" fontAlgn="base" hangingPunct="1">
        <a:spcBef>
          <a:spcPct val="0"/>
        </a:spcBef>
        <a:spcAft>
          <a:spcPct val="65000"/>
        </a:spcAft>
        <a:buChar char="»"/>
        <a:defRPr sz="1970">
          <a:solidFill>
            <a:schemeClr val="tx1"/>
          </a:solidFill>
          <a:latin typeface="+mn-lt"/>
          <a:cs typeface="+mn-cs"/>
        </a:defRPr>
      </a:lvl5pPr>
      <a:lvl6pPr marL="2511031" indent="-350741" algn="l" rtl="0" eaLnBrk="1" fontAlgn="base" hangingPunct="1">
        <a:spcBef>
          <a:spcPct val="0"/>
        </a:spcBef>
        <a:spcAft>
          <a:spcPct val="65000"/>
        </a:spcAft>
        <a:buChar char="»"/>
        <a:defRPr sz="1970">
          <a:solidFill>
            <a:schemeClr val="tx1"/>
          </a:solidFill>
          <a:latin typeface="+mn-lt"/>
          <a:cs typeface="+mn-cs"/>
        </a:defRPr>
      </a:lvl6pPr>
      <a:lvl7pPr marL="3154427" indent="-350741" algn="l" rtl="0" eaLnBrk="1" fontAlgn="base" hangingPunct="1">
        <a:spcBef>
          <a:spcPct val="0"/>
        </a:spcBef>
        <a:spcAft>
          <a:spcPct val="65000"/>
        </a:spcAft>
        <a:buChar char="»"/>
        <a:defRPr sz="1970">
          <a:solidFill>
            <a:schemeClr val="tx1"/>
          </a:solidFill>
          <a:latin typeface="+mn-lt"/>
          <a:cs typeface="+mn-cs"/>
        </a:defRPr>
      </a:lvl7pPr>
      <a:lvl8pPr marL="3797825" indent="-350741" algn="l" rtl="0" eaLnBrk="1" fontAlgn="base" hangingPunct="1">
        <a:spcBef>
          <a:spcPct val="0"/>
        </a:spcBef>
        <a:spcAft>
          <a:spcPct val="65000"/>
        </a:spcAft>
        <a:buChar char="»"/>
        <a:defRPr sz="1970">
          <a:solidFill>
            <a:schemeClr val="tx1"/>
          </a:solidFill>
          <a:latin typeface="+mn-lt"/>
          <a:cs typeface="+mn-cs"/>
        </a:defRPr>
      </a:lvl8pPr>
      <a:lvl9pPr marL="4441220" indent="-350741" algn="l" rtl="0" eaLnBrk="1" fontAlgn="base" hangingPunct="1">
        <a:spcBef>
          <a:spcPct val="0"/>
        </a:spcBef>
        <a:spcAft>
          <a:spcPct val="65000"/>
        </a:spcAft>
        <a:buChar char="»"/>
        <a:defRPr sz="197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1286791" rtl="0" eaLnBrk="1" latinLnBrk="0" hangingPunct="1">
        <a:defRPr sz="2532" kern="1200">
          <a:solidFill>
            <a:schemeClr val="tx1"/>
          </a:solidFill>
          <a:latin typeface="+mn-lt"/>
          <a:ea typeface="+mn-ea"/>
          <a:cs typeface="+mn-cs"/>
        </a:defRPr>
      </a:lvl1pPr>
      <a:lvl2pPr marL="643396" algn="l" defTabSz="1286791" rtl="0" eaLnBrk="1" latinLnBrk="0" hangingPunct="1">
        <a:defRPr sz="2532" kern="1200">
          <a:solidFill>
            <a:schemeClr val="tx1"/>
          </a:solidFill>
          <a:latin typeface="+mn-lt"/>
          <a:ea typeface="+mn-ea"/>
          <a:cs typeface="+mn-cs"/>
        </a:defRPr>
      </a:lvl2pPr>
      <a:lvl3pPr marL="1286791" algn="l" defTabSz="1286791" rtl="0" eaLnBrk="1" latinLnBrk="0" hangingPunct="1">
        <a:defRPr sz="2532" kern="1200">
          <a:solidFill>
            <a:schemeClr val="tx1"/>
          </a:solidFill>
          <a:latin typeface="+mn-lt"/>
          <a:ea typeface="+mn-ea"/>
          <a:cs typeface="+mn-cs"/>
        </a:defRPr>
      </a:lvl3pPr>
      <a:lvl4pPr marL="1930188" algn="l" defTabSz="1286791" rtl="0" eaLnBrk="1" latinLnBrk="0" hangingPunct="1">
        <a:defRPr sz="2532" kern="1200">
          <a:solidFill>
            <a:schemeClr val="tx1"/>
          </a:solidFill>
          <a:latin typeface="+mn-lt"/>
          <a:ea typeface="+mn-ea"/>
          <a:cs typeface="+mn-cs"/>
        </a:defRPr>
      </a:lvl4pPr>
      <a:lvl5pPr marL="2573585" algn="l" defTabSz="1286791" rtl="0" eaLnBrk="1" latinLnBrk="0" hangingPunct="1">
        <a:defRPr sz="2532" kern="1200">
          <a:solidFill>
            <a:schemeClr val="tx1"/>
          </a:solidFill>
          <a:latin typeface="+mn-lt"/>
          <a:ea typeface="+mn-ea"/>
          <a:cs typeface="+mn-cs"/>
        </a:defRPr>
      </a:lvl5pPr>
      <a:lvl6pPr marL="3216980" algn="l" defTabSz="1286791" rtl="0" eaLnBrk="1" latinLnBrk="0" hangingPunct="1">
        <a:defRPr sz="2532" kern="1200">
          <a:solidFill>
            <a:schemeClr val="tx1"/>
          </a:solidFill>
          <a:latin typeface="+mn-lt"/>
          <a:ea typeface="+mn-ea"/>
          <a:cs typeface="+mn-cs"/>
        </a:defRPr>
      </a:lvl6pPr>
      <a:lvl7pPr marL="3860377" algn="l" defTabSz="1286791" rtl="0" eaLnBrk="1" latinLnBrk="0" hangingPunct="1">
        <a:defRPr sz="2532" kern="1200">
          <a:solidFill>
            <a:schemeClr val="tx1"/>
          </a:solidFill>
          <a:latin typeface="+mn-lt"/>
          <a:ea typeface="+mn-ea"/>
          <a:cs typeface="+mn-cs"/>
        </a:defRPr>
      </a:lvl7pPr>
      <a:lvl8pPr marL="4503772" algn="l" defTabSz="1286791" rtl="0" eaLnBrk="1" latinLnBrk="0" hangingPunct="1">
        <a:defRPr sz="2532" kern="1200">
          <a:solidFill>
            <a:schemeClr val="tx1"/>
          </a:solidFill>
          <a:latin typeface="+mn-lt"/>
          <a:ea typeface="+mn-ea"/>
          <a:cs typeface="+mn-cs"/>
        </a:defRPr>
      </a:lvl8pPr>
      <a:lvl9pPr marL="5147168" algn="l" defTabSz="1286791" rtl="0" eaLnBrk="1" latinLnBrk="0" hangingPunct="1">
        <a:defRPr sz="253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9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667416955"/>
              </p:ext>
            </p:extLst>
          </p:nvPr>
        </p:nvGraphicFramePr>
        <p:xfrm>
          <a:off x="2547" y="1919"/>
          <a:ext cx="2543" cy="19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2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1026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547" y="1919"/>
                        <a:ext cx="2543" cy="190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8" name="Picture 9" descr="PP balk"/>
          <p:cNvPicPr>
            <a:picLocks noChangeAspect="1" noChangeArrowheads="1"/>
          </p:cNvPicPr>
          <p:nvPr/>
        </p:nvPicPr>
        <p:blipFill rotWithShape="1">
          <a:blip r:embed="rId11" cstate="print"/>
          <a:srcRect l="4447" t="50000" r="3799" b="8558"/>
          <a:stretch/>
        </p:blipFill>
        <p:spPr bwMode="auto">
          <a:xfrm>
            <a:off x="197423" y="137295"/>
            <a:ext cx="14455203" cy="347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97433" y="711667"/>
            <a:ext cx="14293389" cy="4331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98956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Text</a:t>
            </a:r>
          </a:p>
        </p:txBody>
      </p:sp>
      <p:sp>
        <p:nvSpPr>
          <p:cNvPr id="1030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7431" y="1736960"/>
            <a:ext cx="14234164" cy="58810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77918" rIns="77918" bIns="7791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Text</a:t>
            </a:r>
          </a:p>
          <a:p>
            <a:pPr lvl="1"/>
            <a:r>
              <a:rPr lang="en-GB" dirty="0"/>
              <a:t>Text</a:t>
            </a:r>
          </a:p>
        </p:txBody>
      </p:sp>
      <p:sp>
        <p:nvSpPr>
          <p:cNvPr id="14336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3990563" y="201216"/>
            <a:ext cx="806402" cy="259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9478" rIns="98956" bIns="49478" numCol="1" anchor="t" anchorCtr="0" compatLnSpc="1">
            <a:prstTxWarp prst="textNoShape">
              <a:avLst/>
            </a:prstTxWarp>
          </a:bodyPr>
          <a:lstStyle>
            <a:lvl1pPr algn="l">
              <a:defRPr sz="1544" b="1">
                <a:solidFill>
                  <a:schemeClr val="bg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A8358216-6C67-4A53-8449-5CF810184076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43366" name="Rectangle 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33423" y="201216"/>
            <a:ext cx="5766927" cy="259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8956" tIns="49478" rIns="98956" bIns="49478" numCol="1" anchor="t" anchorCtr="0" compatLnSpc="1">
            <a:prstTxWarp prst="textNoShape">
              <a:avLst/>
            </a:prstTxWarp>
          </a:bodyPr>
          <a:lstStyle>
            <a:lvl1pPr algn="l">
              <a:defRPr sz="1544" b="1">
                <a:solidFill>
                  <a:schemeClr val="bg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43367" name="Text Box 7"/>
          <p:cNvSpPr txBox="1">
            <a:spLocks noChangeArrowheads="1"/>
          </p:cNvSpPr>
          <p:nvPr/>
        </p:nvSpPr>
        <p:spPr bwMode="auto">
          <a:xfrm>
            <a:off x="12264508" y="201216"/>
            <a:ext cx="1615351" cy="259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138872" tIns="69437" rIns="0" bIns="69437"/>
          <a:lstStyle/>
          <a:p>
            <a:pPr algn="r">
              <a:spcBef>
                <a:spcPct val="50000"/>
              </a:spcBef>
              <a:defRPr/>
            </a:pPr>
            <a:r>
              <a:rPr lang="en-GB" sz="1544" b="1" dirty="0">
                <a:solidFill>
                  <a:schemeClr val="bg1"/>
                </a:solidFill>
                <a:latin typeface="Arial" charset="0"/>
                <a:cs typeface="Arial" charset="0"/>
              </a:rPr>
              <a:t>Slide</a:t>
            </a:r>
          </a:p>
        </p:txBody>
      </p:sp>
      <p:sp>
        <p:nvSpPr>
          <p:cNvPr id="143368" name="Text Box 8"/>
          <p:cNvSpPr txBox="1">
            <a:spLocks noChangeArrowheads="1"/>
          </p:cNvSpPr>
          <p:nvPr/>
        </p:nvSpPr>
        <p:spPr bwMode="auto">
          <a:xfrm>
            <a:off x="6598777" y="201216"/>
            <a:ext cx="1465263" cy="259530"/>
          </a:xfrm>
          <a:prstGeom prst="rect">
            <a:avLst/>
          </a:prstGeom>
          <a:noFill/>
          <a:ln w="19050" algn="ctr">
            <a:noFill/>
            <a:prstDash val="sysDot"/>
            <a:miter lim="800000"/>
            <a:headEnd/>
            <a:tailEnd/>
          </a:ln>
          <a:effectLst/>
        </p:spPr>
        <p:txBody>
          <a:bodyPr wrap="none" lIns="0" tIns="71077" rIns="0" bIns="71077"/>
          <a:lstStyle/>
          <a:p>
            <a:pPr algn="ctr">
              <a:spcBef>
                <a:spcPct val="50000"/>
              </a:spcBef>
              <a:defRPr/>
            </a:pPr>
            <a:r>
              <a:rPr lang="en-GB" sz="1544" b="1" dirty="0">
                <a:solidFill>
                  <a:schemeClr val="bg1"/>
                </a:solidFill>
                <a:latin typeface="Arial" charset="0"/>
                <a:cs typeface="Arial" charset="0"/>
              </a:rPr>
              <a:t>Tata Steel</a:t>
            </a:r>
          </a:p>
        </p:txBody>
      </p:sp>
    </p:spTree>
    <p:extLst>
      <p:ext uri="{BB962C8B-B14F-4D97-AF65-F5344CB8AC3E}">
        <p14:creationId xmlns:p14="http://schemas.microsoft.com/office/powerpoint/2010/main" val="14966766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55" r:id="rId1"/>
    <p:sldLayoutId id="2147484956" r:id="rId2"/>
    <p:sldLayoutId id="2147484957" r:id="rId3"/>
    <p:sldLayoutId id="2147484958" r:id="rId4"/>
    <p:sldLayoutId id="2147484959" r:id="rId5"/>
  </p:sldLayoutIdLst>
  <p:transition>
    <p:fade/>
  </p:transition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7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368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368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368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368" b="1">
          <a:solidFill>
            <a:schemeClr val="tx2"/>
          </a:solidFill>
          <a:latin typeface="Arial" charset="0"/>
          <a:cs typeface="Arial" charset="0"/>
        </a:defRPr>
      </a:lvl5pPr>
      <a:lvl6pPr marL="694339" algn="l" rtl="0" eaLnBrk="1" fontAlgn="base" hangingPunct="1">
        <a:spcBef>
          <a:spcPct val="0"/>
        </a:spcBef>
        <a:spcAft>
          <a:spcPct val="0"/>
        </a:spcAft>
        <a:defRPr sz="3368" b="1">
          <a:solidFill>
            <a:schemeClr val="tx2"/>
          </a:solidFill>
          <a:latin typeface="Arial" charset="0"/>
          <a:cs typeface="Arial" charset="0"/>
        </a:defRPr>
      </a:lvl6pPr>
      <a:lvl7pPr marL="1388678" algn="l" rtl="0" eaLnBrk="1" fontAlgn="base" hangingPunct="1">
        <a:spcBef>
          <a:spcPct val="0"/>
        </a:spcBef>
        <a:spcAft>
          <a:spcPct val="0"/>
        </a:spcAft>
        <a:defRPr sz="3368" b="1">
          <a:solidFill>
            <a:schemeClr val="tx2"/>
          </a:solidFill>
          <a:latin typeface="Arial" charset="0"/>
          <a:cs typeface="Arial" charset="0"/>
        </a:defRPr>
      </a:lvl7pPr>
      <a:lvl8pPr marL="2083018" algn="l" rtl="0" eaLnBrk="1" fontAlgn="base" hangingPunct="1">
        <a:spcBef>
          <a:spcPct val="0"/>
        </a:spcBef>
        <a:spcAft>
          <a:spcPct val="0"/>
        </a:spcAft>
        <a:defRPr sz="3368" b="1">
          <a:solidFill>
            <a:schemeClr val="tx2"/>
          </a:solidFill>
          <a:latin typeface="Arial" charset="0"/>
          <a:cs typeface="Arial" charset="0"/>
        </a:defRPr>
      </a:lvl8pPr>
      <a:lvl9pPr marL="2777356" algn="l" rtl="0" eaLnBrk="1" fontAlgn="base" hangingPunct="1">
        <a:spcBef>
          <a:spcPct val="0"/>
        </a:spcBef>
        <a:spcAft>
          <a:spcPct val="0"/>
        </a:spcAft>
        <a:defRPr sz="3368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72433" indent="-272433" algn="l" rtl="0" eaLnBrk="0" fontAlgn="base" hangingPunct="0">
        <a:spcBef>
          <a:spcPts val="1311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sz="2245">
          <a:solidFill>
            <a:schemeClr val="tx1"/>
          </a:solidFill>
          <a:latin typeface="+mn-lt"/>
          <a:ea typeface="+mn-ea"/>
          <a:cs typeface="+mn-cs"/>
        </a:defRPr>
      </a:lvl1pPr>
      <a:lvl2pPr marL="544863" indent="-272433" algn="l" rtl="0" eaLnBrk="0" fontAlgn="base" hangingPunct="0">
        <a:spcBef>
          <a:spcPts val="1311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sz="2245">
          <a:solidFill>
            <a:schemeClr val="tx1"/>
          </a:solidFill>
          <a:latin typeface="+mn-lt"/>
          <a:cs typeface="+mn-cs"/>
        </a:defRPr>
      </a:lvl2pPr>
      <a:lvl3pPr marL="1875680" indent="-347169" algn="l" rtl="0" eaLnBrk="0" fontAlgn="base" hangingPunct="0">
        <a:spcBef>
          <a:spcPct val="20000"/>
        </a:spcBef>
        <a:spcAft>
          <a:spcPct val="0"/>
        </a:spcAft>
        <a:buChar char="•"/>
        <a:defRPr sz="3087">
          <a:solidFill>
            <a:schemeClr val="tx1"/>
          </a:solidFill>
          <a:latin typeface="+mn-lt"/>
          <a:cs typeface="+mn-cs"/>
        </a:defRPr>
      </a:lvl3pPr>
      <a:lvl4pPr marL="2495282" indent="-347169" algn="l" rtl="0" eaLnBrk="0" fontAlgn="base" hangingPunct="0">
        <a:spcBef>
          <a:spcPct val="20000"/>
        </a:spcBef>
        <a:spcAft>
          <a:spcPct val="0"/>
        </a:spcAft>
        <a:buChar char="–"/>
        <a:defRPr sz="3087">
          <a:solidFill>
            <a:schemeClr val="tx1"/>
          </a:solidFill>
          <a:latin typeface="+mn-lt"/>
          <a:cs typeface="+mn-cs"/>
        </a:defRPr>
      </a:lvl4pPr>
      <a:lvl5pPr marL="3124525" indent="-347169" algn="l" rtl="0" eaLnBrk="0" fontAlgn="base" hangingPunct="0">
        <a:spcBef>
          <a:spcPct val="20000"/>
        </a:spcBef>
        <a:spcAft>
          <a:spcPct val="0"/>
        </a:spcAft>
        <a:buChar char="»"/>
        <a:defRPr sz="3087">
          <a:solidFill>
            <a:schemeClr val="tx1"/>
          </a:solidFill>
          <a:latin typeface="+mn-lt"/>
          <a:cs typeface="+mn-cs"/>
        </a:defRPr>
      </a:lvl5pPr>
      <a:lvl6pPr marL="3818864" indent="-347169" algn="l" rtl="0" eaLnBrk="1" fontAlgn="base" hangingPunct="1">
        <a:spcBef>
          <a:spcPct val="20000"/>
        </a:spcBef>
        <a:spcAft>
          <a:spcPct val="0"/>
        </a:spcAft>
        <a:buChar char="»"/>
        <a:defRPr sz="3087">
          <a:solidFill>
            <a:schemeClr val="tx1"/>
          </a:solidFill>
          <a:latin typeface="+mn-lt"/>
          <a:cs typeface="+mn-cs"/>
        </a:defRPr>
      </a:lvl6pPr>
      <a:lvl7pPr marL="4513203" indent="-347169" algn="l" rtl="0" eaLnBrk="1" fontAlgn="base" hangingPunct="1">
        <a:spcBef>
          <a:spcPct val="20000"/>
        </a:spcBef>
        <a:spcAft>
          <a:spcPct val="0"/>
        </a:spcAft>
        <a:buChar char="»"/>
        <a:defRPr sz="3087">
          <a:solidFill>
            <a:schemeClr val="tx1"/>
          </a:solidFill>
          <a:latin typeface="+mn-lt"/>
          <a:cs typeface="+mn-cs"/>
        </a:defRPr>
      </a:lvl7pPr>
      <a:lvl8pPr marL="5207544" indent="-347169" algn="l" rtl="0" eaLnBrk="1" fontAlgn="base" hangingPunct="1">
        <a:spcBef>
          <a:spcPct val="20000"/>
        </a:spcBef>
        <a:spcAft>
          <a:spcPct val="0"/>
        </a:spcAft>
        <a:buChar char="»"/>
        <a:defRPr sz="3087">
          <a:solidFill>
            <a:schemeClr val="tx1"/>
          </a:solidFill>
          <a:latin typeface="+mn-lt"/>
          <a:cs typeface="+mn-cs"/>
        </a:defRPr>
      </a:lvl8pPr>
      <a:lvl9pPr marL="5901883" indent="-347169" algn="l" rtl="0" eaLnBrk="1" fontAlgn="base" hangingPunct="1">
        <a:spcBef>
          <a:spcPct val="20000"/>
        </a:spcBef>
        <a:spcAft>
          <a:spcPct val="0"/>
        </a:spcAft>
        <a:buChar char="»"/>
        <a:defRPr sz="3087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nl-NL"/>
      </a:defPPr>
      <a:lvl1pPr marL="0" algn="l" defTabSz="1388678" rtl="0" eaLnBrk="1" latinLnBrk="0" hangingPunct="1">
        <a:defRPr sz="2667" kern="1200">
          <a:solidFill>
            <a:schemeClr val="tx1"/>
          </a:solidFill>
          <a:latin typeface="+mn-lt"/>
          <a:ea typeface="+mn-ea"/>
          <a:cs typeface="+mn-cs"/>
        </a:defRPr>
      </a:lvl1pPr>
      <a:lvl2pPr marL="694339" algn="l" defTabSz="1388678" rtl="0" eaLnBrk="1" latinLnBrk="0" hangingPunct="1">
        <a:defRPr sz="2667" kern="1200">
          <a:solidFill>
            <a:schemeClr val="tx1"/>
          </a:solidFill>
          <a:latin typeface="+mn-lt"/>
          <a:ea typeface="+mn-ea"/>
          <a:cs typeface="+mn-cs"/>
        </a:defRPr>
      </a:lvl2pPr>
      <a:lvl3pPr marL="1388678" algn="l" defTabSz="1388678" rtl="0" eaLnBrk="1" latinLnBrk="0" hangingPunct="1">
        <a:defRPr sz="2667" kern="1200">
          <a:solidFill>
            <a:schemeClr val="tx1"/>
          </a:solidFill>
          <a:latin typeface="+mn-lt"/>
          <a:ea typeface="+mn-ea"/>
          <a:cs typeface="+mn-cs"/>
        </a:defRPr>
      </a:lvl3pPr>
      <a:lvl4pPr marL="2083018" algn="l" defTabSz="1388678" rtl="0" eaLnBrk="1" latinLnBrk="0" hangingPunct="1"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77356" algn="l" defTabSz="1388678" rtl="0" eaLnBrk="1" latinLnBrk="0" hangingPunct="1"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471695" algn="l" defTabSz="1388678" rtl="0" eaLnBrk="1" latinLnBrk="0" hangingPunct="1"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4166034" algn="l" defTabSz="1388678" rtl="0" eaLnBrk="1" latinLnBrk="0" hangingPunct="1"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860374" algn="l" defTabSz="1388678" rtl="0" eaLnBrk="1" latinLnBrk="0" hangingPunct="1"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554713" algn="l" defTabSz="1388678" rtl="0" eaLnBrk="1" latinLnBrk="0" hangingPunct="1"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9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871655545"/>
              </p:ext>
            </p:extLst>
          </p:nvPr>
        </p:nvGraphicFramePr>
        <p:xfrm>
          <a:off x="2547" y="1920"/>
          <a:ext cx="2543" cy="19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0" name="think-cell Slide" r:id="rId10" imgW="360" imgH="360" progId="TCLayout.ActiveDocument.1">
                  <p:embed/>
                </p:oleObj>
              </mc:Choice>
              <mc:Fallback>
                <p:oleObj name="think-cell Slide" r:id="rId10" imgW="360" imgH="360" progId="TCLayout.ActiveDocument.1">
                  <p:embed/>
                  <p:pic>
                    <p:nvPicPr>
                      <p:cNvPr id="1026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547" y="1920"/>
                        <a:ext cx="2543" cy="190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8" name="Picture 9" descr="PP balk"/>
          <p:cNvPicPr>
            <a:picLocks noChangeAspect="1" noChangeArrowheads="1"/>
          </p:cNvPicPr>
          <p:nvPr/>
        </p:nvPicPr>
        <p:blipFill rotWithShape="1">
          <a:blip r:embed="rId12" cstate="print"/>
          <a:srcRect l="4447" t="50000" r="3799" b="8558"/>
          <a:stretch/>
        </p:blipFill>
        <p:spPr bwMode="auto">
          <a:xfrm>
            <a:off x="197424" y="137295"/>
            <a:ext cx="14455203" cy="347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97433" y="711667"/>
            <a:ext cx="14293389" cy="4331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98956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Text</a:t>
            </a:r>
          </a:p>
        </p:txBody>
      </p:sp>
      <p:sp>
        <p:nvSpPr>
          <p:cNvPr id="1030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7431" y="1736960"/>
            <a:ext cx="14234164" cy="58810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77918" rIns="77918" bIns="7791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Text</a:t>
            </a:r>
          </a:p>
          <a:p>
            <a:pPr lvl="1"/>
            <a:r>
              <a:rPr lang="en-GB" dirty="0"/>
              <a:t>Text</a:t>
            </a:r>
          </a:p>
        </p:txBody>
      </p:sp>
      <p:sp>
        <p:nvSpPr>
          <p:cNvPr id="14336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3990563" y="201216"/>
            <a:ext cx="806402" cy="259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9478" rIns="98956" bIns="49478" numCol="1" anchor="t" anchorCtr="0" compatLnSpc="1">
            <a:prstTxWarp prst="textNoShape">
              <a:avLst/>
            </a:prstTxWarp>
          </a:bodyPr>
          <a:lstStyle>
            <a:lvl1pPr algn="l">
              <a:defRPr sz="1317" b="1">
                <a:solidFill>
                  <a:schemeClr val="bg1"/>
                </a:solidFill>
                <a:latin typeface="Arial" charset="0"/>
                <a:cs typeface="Arial" charset="0"/>
              </a:defRPr>
            </a:lvl1pPr>
          </a:lstStyle>
          <a:p>
            <a:pPr defTabSz="1095856"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 defTabSz="1095856"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43366" name="Rectangle 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33424" y="201216"/>
            <a:ext cx="5766927" cy="259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8956" tIns="49478" rIns="98956" bIns="49478" numCol="1" anchor="t" anchorCtr="0" compatLnSpc="1">
            <a:prstTxWarp prst="textNoShape">
              <a:avLst/>
            </a:prstTxWarp>
          </a:bodyPr>
          <a:lstStyle>
            <a:lvl1pPr algn="l">
              <a:defRPr sz="1317" b="1">
                <a:solidFill>
                  <a:schemeClr val="bg1"/>
                </a:solidFill>
                <a:latin typeface="Arial" charset="0"/>
                <a:cs typeface="Arial" charset="0"/>
              </a:defRPr>
            </a:lvl1pPr>
          </a:lstStyle>
          <a:p>
            <a:pPr defTabSz="1095856">
              <a:defRPr/>
            </a:pP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43367" name="Text Box 7"/>
          <p:cNvSpPr txBox="1">
            <a:spLocks noChangeArrowheads="1"/>
          </p:cNvSpPr>
          <p:nvPr/>
        </p:nvSpPr>
        <p:spPr bwMode="auto">
          <a:xfrm>
            <a:off x="12264508" y="201216"/>
            <a:ext cx="1615351" cy="259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118597" tIns="59299" rIns="0" bIns="59299"/>
          <a:lstStyle/>
          <a:p>
            <a:pPr marL="0" marR="0" lvl="0" indent="0" algn="r" defTabSz="109585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17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Slide</a:t>
            </a:r>
          </a:p>
        </p:txBody>
      </p:sp>
      <p:sp>
        <p:nvSpPr>
          <p:cNvPr id="143368" name="Text Box 8"/>
          <p:cNvSpPr txBox="1">
            <a:spLocks noChangeArrowheads="1"/>
          </p:cNvSpPr>
          <p:nvPr/>
        </p:nvSpPr>
        <p:spPr bwMode="auto">
          <a:xfrm>
            <a:off x="6598778" y="201216"/>
            <a:ext cx="1465263" cy="259530"/>
          </a:xfrm>
          <a:prstGeom prst="rect">
            <a:avLst/>
          </a:prstGeom>
          <a:noFill/>
          <a:ln w="19050" algn="ctr">
            <a:noFill/>
            <a:prstDash val="sysDot"/>
            <a:miter lim="800000"/>
            <a:headEnd/>
            <a:tailEnd/>
          </a:ln>
          <a:effectLst/>
        </p:spPr>
        <p:txBody>
          <a:bodyPr wrap="none" lIns="0" tIns="60700" rIns="0" bIns="60700"/>
          <a:lstStyle/>
          <a:p>
            <a:pPr marL="0" marR="0" lvl="0" indent="0" algn="ctr" defTabSz="109585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17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Tata Steel</a:t>
            </a:r>
          </a:p>
        </p:txBody>
      </p:sp>
    </p:spTree>
    <p:extLst>
      <p:ext uri="{BB962C8B-B14F-4D97-AF65-F5344CB8AC3E}">
        <p14:creationId xmlns:p14="http://schemas.microsoft.com/office/powerpoint/2010/main" val="24288964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61" r:id="rId1"/>
    <p:sldLayoutId id="2147484962" r:id="rId2"/>
    <p:sldLayoutId id="2147484963" r:id="rId3"/>
    <p:sldLayoutId id="2147484964" r:id="rId4"/>
    <p:sldLayoutId id="2147484965" r:id="rId5"/>
    <p:sldLayoutId id="2147484966" r:id="rId6"/>
  </p:sldLayoutIdLst>
  <p:transition>
    <p:fade/>
  </p:transition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397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75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75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75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75" b="1">
          <a:solidFill>
            <a:schemeClr val="tx2"/>
          </a:solidFill>
          <a:latin typeface="Arial" charset="0"/>
          <a:cs typeface="Arial" charset="0"/>
        </a:defRPr>
      </a:lvl5pPr>
      <a:lvl6pPr marL="592967" algn="l" rtl="0" eaLnBrk="1" fontAlgn="base" hangingPunct="1">
        <a:spcBef>
          <a:spcPct val="0"/>
        </a:spcBef>
        <a:spcAft>
          <a:spcPct val="0"/>
        </a:spcAft>
        <a:defRPr sz="2875" b="1">
          <a:solidFill>
            <a:schemeClr val="tx2"/>
          </a:solidFill>
          <a:latin typeface="Arial" charset="0"/>
          <a:cs typeface="Arial" charset="0"/>
        </a:defRPr>
      </a:lvl6pPr>
      <a:lvl7pPr marL="1185935" algn="l" rtl="0" eaLnBrk="1" fontAlgn="base" hangingPunct="1">
        <a:spcBef>
          <a:spcPct val="0"/>
        </a:spcBef>
        <a:spcAft>
          <a:spcPct val="0"/>
        </a:spcAft>
        <a:defRPr sz="2875" b="1">
          <a:solidFill>
            <a:schemeClr val="tx2"/>
          </a:solidFill>
          <a:latin typeface="Arial" charset="0"/>
          <a:cs typeface="Arial" charset="0"/>
        </a:defRPr>
      </a:lvl7pPr>
      <a:lvl8pPr marL="1778902" algn="l" rtl="0" eaLnBrk="1" fontAlgn="base" hangingPunct="1">
        <a:spcBef>
          <a:spcPct val="0"/>
        </a:spcBef>
        <a:spcAft>
          <a:spcPct val="0"/>
        </a:spcAft>
        <a:defRPr sz="2875" b="1">
          <a:solidFill>
            <a:schemeClr val="tx2"/>
          </a:solidFill>
          <a:latin typeface="Arial" charset="0"/>
          <a:cs typeface="Arial" charset="0"/>
        </a:defRPr>
      </a:lvl8pPr>
      <a:lvl9pPr marL="2371866" algn="l" rtl="0" eaLnBrk="1" fontAlgn="base" hangingPunct="1">
        <a:spcBef>
          <a:spcPct val="0"/>
        </a:spcBef>
        <a:spcAft>
          <a:spcPct val="0"/>
        </a:spcAft>
        <a:defRPr sz="2875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32658" indent="-232658" algn="l" rtl="0" eaLnBrk="0" fontAlgn="base" hangingPunct="0">
        <a:spcBef>
          <a:spcPts val="1118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sz="1919">
          <a:solidFill>
            <a:schemeClr val="tx1"/>
          </a:solidFill>
          <a:latin typeface="+mn-lt"/>
          <a:ea typeface="+mn-ea"/>
          <a:cs typeface="+mn-cs"/>
        </a:defRPr>
      </a:lvl1pPr>
      <a:lvl2pPr marL="465314" indent="-232658" algn="l" rtl="0" eaLnBrk="0" fontAlgn="base" hangingPunct="0">
        <a:spcBef>
          <a:spcPts val="1118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sz="1919">
          <a:solidFill>
            <a:schemeClr val="tx1"/>
          </a:solidFill>
          <a:latin typeface="+mn-lt"/>
          <a:cs typeface="+mn-cs"/>
        </a:defRPr>
      </a:lvl2pPr>
      <a:lvl3pPr marL="1601835" indent="-296483" algn="l" rtl="0" eaLnBrk="0" fontAlgn="base" hangingPunct="0">
        <a:spcBef>
          <a:spcPct val="20000"/>
        </a:spcBef>
        <a:spcAft>
          <a:spcPct val="0"/>
        </a:spcAft>
        <a:buChar char="•"/>
        <a:defRPr sz="2637">
          <a:solidFill>
            <a:schemeClr val="tx1"/>
          </a:solidFill>
          <a:latin typeface="+mn-lt"/>
          <a:cs typeface="+mn-cs"/>
        </a:defRPr>
      </a:lvl3pPr>
      <a:lvl4pPr marL="2130976" indent="-296483" algn="l" rtl="0" eaLnBrk="0" fontAlgn="base" hangingPunct="0">
        <a:spcBef>
          <a:spcPct val="20000"/>
        </a:spcBef>
        <a:spcAft>
          <a:spcPct val="0"/>
        </a:spcAft>
        <a:buChar char="–"/>
        <a:defRPr sz="2637">
          <a:solidFill>
            <a:schemeClr val="tx1"/>
          </a:solidFill>
          <a:latin typeface="+mn-lt"/>
          <a:cs typeface="+mn-cs"/>
        </a:defRPr>
      </a:lvl4pPr>
      <a:lvl5pPr marL="2668351" indent="-296483" algn="l" rtl="0" eaLnBrk="0" fontAlgn="base" hangingPunct="0">
        <a:spcBef>
          <a:spcPct val="20000"/>
        </a:spcBef>
        <a:spcAft>
          <a:spcPct val="0"/>
        </a:spcAft>
        <a:buChar char="»"/>
        <a:defRPr sz="2637">
          <a:solidFill>
            <a:schemeClr val="tx1"/>
          </a:solidFill>
          <a:latin typeface="+mn-lt"/>
          <a:cs typeface="+mn-cs"/>
        </a:defRPr>
      </a:lvl5pPr>
      <a:lvl6pPr marL="3261319" indent="-296483" algn="l" rtl="0" eaLnBrk="1" fontAlgn="base" hangingPunct="1">
        <a:spcBef>
          <a:spcPct val="20000"/>
        </a:spcBef>
        <a:spcAft>
          <a:spcPct val="0"/>
        </a:spcAft>
        <a:buChar char="»"/>
        <a:defRPr sz="2637">
          <a:solidFill>
            <a:schemeClr val="tx1"/>
          </a:solidFill>
          <a:latin typeface="+mn-lt"/>
          <a:cs typeface="+mn-cs"/>
        </a:defRPr>
      </a:lvl6pPr>
      <a:lvl7pPr marL="3854286" indent="-296483" algn="l" rtl="0" eaLnBrk="1" fontAlgn="base" hangingPunct="1">
        <a:spcBef>
          <a:spcPct val="20000"/>
        </a:spcBef>
        <a:spcAft>
          <a:spcPct val="0"/>
        </a:spcAft>
        <a:buChar char="»"/>
        <a:defRPr sz="2637">
          <a:solidFill>
            <a:schemeClr val="tx1"/>
          </a:solidFill>
          <a:latin typeface="+mn-lt"/>
          <a:cs typeface="+mn-cs"/>
        </a:defRPr>
      </a:lvl7pPr>
      <a:lvl8pPr marL="4447254" indent="-296483" algn="l" rtl="0" eaLnBrk="1" fontAlgn="base" hangingPunct="1">
        <a:spcBef>
          <a:spcPct val="20000"/>
        </a:spcBef>
        <a:spcAft>
          <a:spcPct val="0"/>
        </a:spcAft>
        <a:buChar char="»"/>
        <a:defRPr sz="2637">
          <a:solidFill>
            <a:schemeClr val="tx1"/>
          </a:solidFill>
          <a:latin typeface="+mn-lt"/>
          <a:cs typeface="+mn-cs"/>
        </a:defRPr>
      </a:lvl8pPr>
      <a:lvl9pPr marL="5040220" indent="-296483" algn="l" rtl="0" eaLnBrk="1" fontAlgn="base" hangingPunct="1">
        <a:spcBef>
          <a:spcPct val="20000"/>
        </a:spcBef>
        <a:spcAft>
          <a:spcPct val="0"/>
        </a:spcAft>
        <a:buChar char="»"/>
        <a:defRPr sz="2637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nl-NL"/>
      </a:defPPr>
      <a:lvl1pPr marL="0" algn="l" defTabSz="1185935" rtl="0" eaLnBrk="1" latinLnBrk="0" hangingPunct="1">
        <a:defRPr sz="2277" kern="1200">
          <a:solidFill>
            <a:schemeClr val="tx1"/>
          </a:solidFill>
          <a:latin typeface="+mn-lt"/>
          <a:ea typeface="+mn-ea"/>
          <a:cs typeface="+mn-cs"/>
        </a:defRPr>
      </a:lvl1pPr>
      <a:lvl2pPr marL="592967" algn="l" defTabSz="1185935" rtl="0" eaLnBrk="1" latinLnBrk="0" hangingPunct="1">
        <a:defRPr sz="2277" kern="1200">
          <a:solidFill>
            <a:schemeClr val="tx1"/>
          </a:solidFill>
          <a:latin typeface="+mn-lt"/>
          <a:ea typeface="+mn-ea"/>
          <a:cs typeface="+mn-cs"/>
        </a:defRPr>
      </a:lvl2pPr>
      <a:lvl3pPr marL="1185935" algn="l" defTabSz="1185935" rtl="0" eaLnBrk="1" latinLnBrk="0" hangingPunct="1">
        <a:defRPr sz="2277" kern="1200">
          <a:solidFill>
            <a:schemeClr val="tx1"/>
          </a:solidFill>
          <a:latin typeface="+mn-lt"/>
          <a:ea typeface="+mn-ea"/>
          <a:cs typeface="+mn-cs"/>
        </a:defRPr>
      </a:lvl3pPr>
      <a:lvl4pPr marL="1778902" algn="l" defTabSz="1185935" rtl="0" eaLnBrk="1" latinLnBrk="0" hangingPunct="1">
        <a:defRPr sz="2277" kern="1200">
          <a:solidFill>
            <a:schemeClr val="tx1"/>
          </a:solidFill>
          <a:latin typeface="+mn-lt"/>
          <a:ea typeface="+mn-ea"/>
          <a:cs typeface="+mn-cs"/>
        </a:defRPr>
      </a:lvl4pPr>
      <a:lvl5pPr marL="2371866" algn="l" defTabSz="1185935" rtl="0" eaLnBrk="1" latinLnBrk="0" hangingPunct="1">
        <a:defRPr sz="2277" kern="1200">
          <a:solidFill>
            <a:schemeClr val="tx1"/>
          </a:solidFill>
          <a:latin typeface="+mn-lt"/>
          <a:ea typeface="+mn-ea"/>
          <a:cs typeface="+mn-cs"/>
        </a:defRPr>
      </a:lvl5pPr>
      <a:lvl6pPr marL="2964834" algn="l" defTabSz="1185935" rtl="0" eaLnBrk="1" latinLnBrk="0" hangingPunct="1">
        <a:defRPr sz="2277" kern="1200">
          <a:solidFill>
            <a:schemeClr val="tx1"/>
          </a:solidFill>
          <a:latin typeface="+mn-lt"/>
          <a:ea typeface="+mn-ea"/>
          <a:cs typeface="+mn-cs"/>
        </a:defRPr>
      </a:lvl6pPr>
      <a:lvl7pPr marL="3557802" algn="l" defTabSz="1185935" rtl="0" eaLnBrk="1" latinLnBrk="0" hangingPunct="1">
        <a:defRPr sz="2277" kern="1200">
          <a:solidFill>
            <a:schemeClr val="tx1"/>
          </a:solidFill>
          <a:latin typeface="+mn-lt"/>
          <a:ea typeface="+mn-ea"/>
          <a:cs typeface="+mn-cs"/>
        </a:defRPr>
      </a:lvl7pPr>
      <a:lvl8pPr marL="4150769" algn="l" defTabSz="1185935" rtl="0" eaLnBrk="1" latinLnBrk="0" hangingPunct="1">
        <a:defRPr sz="2277" kern="1200">
          <a:solidFill>
            <a:schemeClr val="tx1"/>
          </a:solidFill>
          <a:latin typeface="+mn-lt"/>
          <a:ea typeface="+mn-ea"/>
          <a:cs typeface="+mn-cs"/>
        </a:defRPr>
      </a:lvl8pPr>
      <a:lvl9pPr marL="4743736" algn="l" defTabSz="1185935" rtl="0" eaLnBrk="1" latinLnBrk="0" hangingPunct="1">
        <a:defRPr sz="227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2B5B934-FC84-4720-B4EF-A5D0DF2BDF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203066959"/>
              </p:ext>
            </p:extLst>
          </p:nvPr>
        </p:nvGraphicFramePr>
        <p:xfrm>
          <a:off x="1903" y="1903"/>
          <a:ext cx="1903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8" name="think-cell Slide" r:id="rId10" imgW="473" imgH="473" progId="TCLayout.ActiveDocument.1">
                  <p:embed/>
                </p:oleObj>
              </mc:Choice>
              <mc:Fallback>
                <p:oleObj name="think-cell Slide" r:id="rId10" imgW="473" imgH="4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2B5B934-FC84-4720-B4EF-A5D0DF2BDF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903" y="1903"/>
                        <a:ext cx="1903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5"/>
          <p:cNvSpPr txBox="1">
            <a:spLocks noChangeArrowheads="1"/>
          </p:cNvSpPr>
          <p:nvPr userDrawn="1"/>
        </p:nvSpPr>
        <p:spPr bwMode="auto">
          <a:xfrm>
            <a:off x="14071655" y="198463"/>
            <a:ext cx="806401" cy="259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52424" rIns="104845" bIns="52424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000" b="1" kern="1200">
                <a:solidFill>
                  <a:schemeClr val="bg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48438" fontAlgn="base">
              <a:spcBef>
                <a:spcPct val="0"/>
              </a:spcBef>
              <a:spcAft>
                <a:spcPct val="0"/>
              </a:spcAft>
              <a:defRPr/>
            </a:pPr>
            <a:fld id="{A8358216-6C67-4A53-8449-5CF810184076}" type="slidenum">
              <a:rPr lang="en-GB" sz="1322" smtClean="0">
                <a:solidFill>
                  <a:srgbClr val="FFFFFF"/>
                </a:solidFill>
              </a:rPr>
              <a:pPr defTabSz="1048438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322" dirty="0">
              <a:solidFill>
                <a:srgbClr val="FFFFFF"/>
              </a:solidFill>
            </a:endParaRPr>
          </a:p>
        </p:txBody>
      </p:sp>
      <p:sp>
        <p:nvSpPr>
          <p:cNvPr id="8" name="Text Box 7"/>
          <p:cNvSpPr txBox="1">
            <a:spLocks noChangeArrowheads="1"/>
          </p:cNvSpPr>
          <p:nvPr userDrawn="1"/>
        </p:nvSpPr>
        <p:spPr bwMode="auto">
          <a:xfrm>
            <a:off x="12345577" y="198463"/>
            <a:ext cx="1615351" cy="259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104845" tIns="52424" rIns="0" bIns="52424" anchor="ctr"/>
          <a:lstStyle/>
          <a:p>
            <a:pPr algn="r" defTabSz="1048438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GB" sz="1322" b="1" dirty="0">
                <a:solidFill>
                  <a:srgbClr val="FFFFFF"/>
                </a:solidFill>
              </a:rPr>
              <a:t>Slide</a:t>
            </a:r>
          </a:p>
        </p:txBody>
      </p:sp>
      <p:sp>
        <p:nvSpPr>
          <p:cNvPr id="9" name="Text Box 8"/>
          <p:cNvSpPr txBox="1">
            <a:spLocks noChangeArrowheads="1"/>
          </p:cNvSpPr>
          <p:nvPr userDrawn="1"/>
        </p:nvSpPr>
        <p:spPr bwMode="auto">
          <a:xfrm>
            <a:off x="6424613" y="198463"/>
            <a:ext cx="1465263" cy="259530"/>
          </a:xfrm>
          <a:prstGeom prst="rect">
            <a:avLst/>
          </a:prstGeom>
          <a:noFill/>
          <a:ln w="19050" algn="ctr">
            <a:noFill/>
            <a:prstDash val="sysDot"/>
            <a:miter lim="800000"/>
            <a:headEnd/>
            <a:tailEnd/>
          </a:ln>
          <a:effectLst/>
        </p:spPr>
        <p:txBody>
          <a:bodyPr wrap="none" lIns="0" tIns="53662" rIns="0" bIns="53662" anchor="ctr"/>
          <a:lstStyle/>
          <a:p>
            <a:pPr algn="ctr" defTabSz="1048438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GB" sz="1322" b="1" dirty="0">
                <a:solidFill>
                  <a:srgbClr val="FFFFFF"/>
                </a:solidFill>
              </a:rPr>
              <a:t>Tata Steel</a:t>
            </a:r>
          </a:p>
        </p:txBody>
      </p:sp>
    </p:spTree>
    <p:extLst>
      <p:ext uri="{BB962C8B-B14F-4D97-AF65-F5344CB8AC3E}">
        <p14:creationId xmlns:p14="http://schemas.microsoft.com/office/powerpoint/2010/main" val="37164252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75" r:id="rId1"/>
    <p:sldLayoutId id="2147484976" r:id="rId2"/>
    <p:sldLayoutId id="2147484977" r:id="rId3"/>
    <p:sldLayoutId id="2147484978" r:id="rId4"/>
    <p:sldLayoutId id="2147484979" r:id="rId5"/>
    <p:sldLayoutId id="2147484981" r:id="rId6"/>
  </p:sldLayoutIdLst>
  <p:hf sldNum="0" hd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524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524" b="1">
          <a:solidFill>
            <a:schemeClr val="tx2"/>
          </a:solidFill>
          <a:latin typeface="Arial" pitchFamily="34" charset="0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524" b="1">
          <a:solidFill>
            <a:schemeClr val="tx2"/>
          </a:solidFill>
          <a:latin typeface="Arial" pitchFamily="34" charset="0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524" b="1">
          <a:solidFill>
            <a:schemeClr val="tx2"/>
          </a:solidFill>
          <a:latin typeface="Arial" pitchFamily="34" charset="0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524" b="1">
          <a:solidFill>
            <a:schemeClr val="tx2"/>
          </a:solidFill>
          <a:latin typeface="Arial" pitchFamily="34" charset="0"/>
          <a:cs typeface="Arial" pitchFamily="34" charset="0"/>
        </a:defRPr>
      </a:lvl5pPr>
      <a:lvl6pPr marL="524241" algn="l" rtl="0" fontAlgn="base">
        <a:spcBef>
          <a:spcPct val="0"/>
        </a:spcBef>
        <a:spcAft>
          <a:spcPct val="0"/>
        </a:spcAft>
        <a:defRPr sz="2524" b="1">
          <a:solidFill>
            <a:schemeClr val="tx2"/>
          </a:solidFill>
          <a:latin typeface="Arial" pitchFamily="34" charset="0"/>
          <a:cs typeface="Arial" pitchFamily="34" charset="0"/>
        </a:defRPr>
      </a:lvl6pPr>
      <a:lvl7pPr marL="1048484" algn="l" rtl="0" fontAlgn="base">
        <a:spcBef>
          <a:spcPct val="0"/>
        </a:spcBef>
        <a:spcAft>
          <a:spcPct val="0"/>
        </a:spcAft>
        <a:defRPr sz="2524" b="1">
          <a:solidFill>
            <a:schemeClr val="tx2"/>
          </a:solidFill>
          <a:latin typeface="Arial" pitchFamily="34" charset="0"/>
          <a:cs typeface="Arial" pitchFamily="34" charset="0"/>
        </a:defRPr>
      </a:lvl7pPr>
      <a:lvl8pPr marL="1572724" algn="l" rtl="0" fontAlgn="base">
        <a:spcBef>
          <a:spcPct val="0"/>
        </a:spcBef>
        <a:spcAft>
          <a:spcPct val="0"/>
        </a:spcAft>
        <a:defRPr sz="2524" b="1">
          <a:solidFill>
            <a:schemeClr val="tx2"/>
          </a:solidFill>
          <a:latin typeface="Arial" pitchFamily="34" charset="0"/>
          <a:cs typeface="Arial" pitchFamily="34" charset="0"/>
        </a:defRPr>
      </a:lvl8pPr>
      <a:lvl9pPr marL="2096965" algn="l" rtl="0" fontAlgn="base">
        <a:spcBef>
          <a:spcPct val="0"/>
        </a:spcBef>
        <a:spcAft>
          <a:spcPct val="0"/>
        </a:spcAft>
        <a:defRPr sz="2524" b="1">
          <a:solidFill>
            <a:schemeClr val="tx2"/>
          </a:solidFill>
          <a:latin typeface="Arial" pitchFamily="34" charset="0"/>
          <a:cs typeface="Arial" pitchFamily="34" charset="0"/>
        </a:defRPr>
      </a:lvl9pPr>
    </p:titleStyle>
    <p:bodyStyle>
      <a:lvl1pPr marL="331291" indent="-331291" algn="l" rtl="0" eaLnBrk="0" fontAlgn="base" hangingPunct="0">
        <a:spcBef>
          <a:spcPct val="0"/>
        </a:spcBef>
        <a:spcAft>
          <a:spcPct val="60000"/>
        </a:spcAft>
        <a:buClr>
          <a:schemeClr val="accent1"/>
        </a:buClr>
        <a:buFont typeface="Wingdings" pitchFamily="2" charset="2"/>
        <a:buChar char="§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655300" indent="-322192" algn="l" rtl="0" eaLnBrk="0" fontAlgn="base" hangingPunct="0">
        <a:spcBef>
          <a:spcPct val="0"/>
        </a:spcBef>
        <a:spcAft>
          <a:spcPct val="30000"/>
        </a:spcAft>
        <a:buClr>
          <a:schemeClr val="tx2"/>
        </a:buClr>
        <a:buFont typeface="Wingdings" pitchFamily="2" charset="2"/>
        <a:buChar char="§"/>
        <a:defRPr sz="1922">
          <a:solidFill>
            <a:schemeClr val="tx1"/>
          </a:solidFill>
          <a:latin typeface="+mn-lt"/>
          <a:cs typeface="+mn-cs"/>
        </a:defRPr>
      </a:lvl2pPr>
      <a:lvl3pPr marL="961108" indent="-303988" algn="l" rtl="0" eaLnBrk="0" fontAlgn="base" hangingPunct="0">
        <a:spcBef>
          <a:spcPct val="0"/>
        </a:spcBef>
        <a:spcAft>
          <a:spcPct val="30000"/>
        </a:spcAft>
        <a:buClr>
          <a:schemeClr val="tx1"/>
        </a:buClr>
        <a:buSzPct val="90000"/>
        <a:buFont typeface="Arial" charset="0"/>
        <a:buChar char="─"/>
        <a:defRPr sz="1683">
          <a:solidFill>
            <a:schemeClr val="tx1"/>
          </a:solidFill>
          <a:latin typeface="+mn-lt"/>
          <a:cs typeface="+mn-cs"/>
        </a:defRPr>
      </a:lvl3pPr>
      <a:lvl4pPr marL="1170443" indent="-207512" algn="l" rtl="0" eaLnBrk="0" fontAlgn="base" hangingPunct="0">
        <a:spcBef>
          <a:spcPct val="0"/>
        </a:spcBef>
        <a:spcAft>
          <a:spcPct val="30000"/>
        </a:spcAft>
        <a:buClr>
          <a:schemeClr val="tx1"/>
        </a:buClr>
        <a:buSzPct val="90000"/>
        <a:buFont typeface="Arial" charset="0"/>
        <a:buChar char="•"/>
        <a:defRPr sz="1683">
          <a:solidFill>
            <a:schemeClr val="tx1"/>
          </a:solidFill>
          <a:latin typeface="+mn-lt"/>
          <a:cs typeface="+mn-cs"/>
        </a:defRPr>
      </a:lvl4pPr>
      <a:lvl5pPr marL="1521756" indent="-285786" algn="l" rtl="0" eaLnBrk="0" fontAlgn="base" hangingPunct="0">
        <a:spcBef>
          <a:spcPct val="0"/>
        </a:spcBef>
        <a:spcAft>
          <a:spcPct val="65000"/>
        </a:spcAft>
        <a:buChar char="»"/>
        <a:defRPr sz="1683">
          <a:solidFill>
            <a:schemeClr val="tx1"/>
          </a:solidFill>
          <a:latin typeface="+mn-lt"/>
          <a:cs typeface="+mn-cs"/>
        </a:defRPr>
      </a:lvl5pPr>
      <a:lvl6pPr marL="2045998" indent="-285786" algn="l" rtl="0" fontAlgn="base">
        <a:spcBef>
          <a:spcPct val="0"/>
        </a:spcBef>
        <a:spcAft>
          <a:spcPct val="65000"/>
        </a:spcAft>
        <a:buChar char="»"/>
        <a:defRPr sz="1683">
          <a:solidFill>
            <a:schemeClr val="tx1"/>
          </a:solidFill>
          <a:latin typeface="+mn-lt"/>
          <a:cs typeface="+mn-cs"/>
        </a:defRPr>
      </a:lvl6pPr>
      <a:lvl7pPr marL="2570242" indent="-285786" algn="l" rtl="0" fontAlgn="base">
        <a:spcBef>
          <a:spcPct val="0"/>
        </a:spcBef>
        <a:spcAft>
          <a:spcPct val="65000"/>
        </a:spcAft>
        <a:buChar char="»"/>
        <a:defRPr sz="1683">
          <a:solidFill>
            <a:schemeClr val="tx1"/>
          </a:solidFill>
          <a:latin typeface="+mn-lt"/>
          <a:cs typeface="+mn-cs"/>
        </a:defRPr>
      </a:lvl7pPr>
      <a:lvl8pPr marL="3094483" indent="-285786" algn="l" rtl="0" fontAlgn="base">
        <a:spcBef>
          <a:spcPct val="0"/>
        </a:spcBef>
        <a:spcAft>
          <a:spcPct val="65000"/>
        </a:spcAft>
        <a:buChar char="»"/>
        <a:defRPr sz="1683">
          <a:solidFill>
            <a:schemeClr val="tx1"/>
          </a:solidFill>
          <a:latin typeface="+mn-lt"/>
          <a:cs typeface="+mn-cs"/>
        </a:defRPr>
      </a:lvl8pPr>
      <a:lvl9pPr marL="3618721" indent="-285786" algn="l" rtl="0" fontAlgn="base">
        <a:spcBef>
          <a:spcPct val="0"/>
        </a:spcBef>
        <a:spcAft>
          <a:spcPct val="65000"/>
        </a:spcAft>
        <a:buChar char="»"/>
        <a:defRPr sz="1683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1048484" rtl="0" eaLnBrk="1" latinLnBrk="0" hangingPunct="1">
        <a:defRPr sz="2043" kern="1200">
          <a:solidFill>
            <a:schemeClr val="tx1"/>
          </a:solidFill>
          <a:latin typeface="+mn-lt"/>
          <a:ea typeface="+mn-ea"/>
          <a:cs typeface="+mn-cs"/>
        </a:defRPr>
      </a:lvl1pPr>
      <a:lvl2pPr marL="524241" algn="l" defTabSz="1048484" rtl="0" eaLnBrk="1" latinLnBrk="0" hangingPunct="1">
        <a:defRPr sz="2043" kern="1200">
          <a:solidFill>
            <a:schemeClr val="tx1"/>
          </a:solidFill>
          <a:latin typeface="+mn-lt"/>
          <a:ea typeface="+mn-ea"/>
          <a:cs typeface="+mn-cs"/>
        </a:defRPr>
      </a:lvl2pPr>
      <a:lvl3pPr marL="1048484" algn="l" defTabSz="1048484" rtl="0" eaLnBrk="1" latinLnBrk="0" hangingPunct="1">
        <a:defRPr sz="2043" kern="1200">
          <a:solidFill>
            <a:schemeClr val="tx1"/>
          </a:solidFill>
          <a:latin typeface="+mn-lt"/>
          <a:ea typeface="+mn-ea"/>
          <a:cs typeface="+mn-cs"/>
        </a:defRPr>
      </a:lvl3pPr>
      <a:lvl4pPr marL="1572724" algn="l" defTabSz="1048484" rtl="0" eaLnBrk="1" latinLnBrk="0" hangingPunct="1">
        <a:defRPr sz="2043" kern="1200">
          <a:solidFill>
            <a:schemeClr val="tx1"/>
          </a:solidFill>
          <a:latin typeface="+mn-lt"/>
          <a:ea typeface="+mn-ea"/>
          <a:cs typeface="+mn-cs"/>
        </a:defRPr>
      </a:lvl4pPr>
      <a:lvl5pPr marL="2096965" algn="l" defTabSz="1048484" rtl="0" eaLnBrk="1" latinLnBrk="0" hangingPunct="1">
        <a:defRPr sz="2043" kern="1200">
          <a:solidFill>
            <a:schemeClr val="tx1"/>
          </a:solidFill>
          <a:latin typeface="+mn-lt"/>
          <a:ea typeface="+mn-ea"/>
          <a:cs typeface="+mn-cs"/>
        </a:defRPr>
      </a:lvl5pPr>
      <a:lvl6pPr marL="2621207" algn="l" defTabSz="1048484" rtl="0" eaLnBrk="1" latinLnBrk="0" hangingPunct="1">
        <a:defRPr sz="2043" kern="1200">
          <a:solidFill>
            <a:schemeClr val="tx1"/>
          </a:solidFill>
          <a:latin typeface="+mn-lt"/>
          <a:ea typeface="+mn-ea"/>
          <a:cs typeface="+mn-cs"/>
        </a:defRPr>
      </a:lvl6pPr>
      <a:lvl7pPr marL="3145449" algn="l" defTabSz="1048484" rtl="0" eaLnBrk="1" latinLnBrk="0" hangingPunct="1">
        <a:defRPr sz="2043" kern="1200">
          <a:solidFill>
            <a:schemeClr val="tx1"/>
          </a:solidFill>
          <a:latin typeface="+mn-lt"/>
          <a:ea typeface="+mn-ea"/>
          <a:cs typeface="+mn-cs"/>
        </a:defRPr>
      </a:lvl7pPr>
      <a:lvl8pPr marL="3669691" algn="l" defTabSz="1048484" rtl="0" eaLnBrk="1" latinLnBrk="0" hangingPunct="1">
        <a:defRPr sz="2043" kern="1200">
          <a:solidFill>
            <a:schemeClr val="tx1"/>
          </a:solidFill>
          <a:latin typeface="+mn-lt"/>
          <a:ea typeface="+mn-ea"/>
          <a:cs typeface="+mn-cs"/>
        </a:defRPr>
      </a:lvl8pPr>
      <a:lvl9pPr marL="4193933" algn="l" defTabSz="1048484" rtl="0" eaLnBrk="1" latinLnBrk="0" hangingPunct="1">
        <a:defRPr sz="204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9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372695574"/>
              </p:ext>
            </p:extLst>
          </p:nvPr>
        </p:nvGraphicFramePr>
        <p:xfrm>
          <a:off x="2554" y="1920"/>
          <a:ext cx="2543" cy="19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1026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554" y="1920"/>
                        <a:ext cx="2543" cy="190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8" name="Picture 9" descr="PP balk"/>
          <p:cNvPicPr>
            <a:picLocks noChangeAspect="1" noChangeArrowheads="1"/>
          </p:cNvPicPr>
          <p:nvPr/>
        </p:nvPicPr>
        <p:blipFill rotWithShape="1">
          <a:blip r:embed="rId11" cstate="print"/>
          <a:srcRect l="4447" t="50000" r="3799" b="8558"/>
          <a:stretch/>
        </p:blipFill>
        <p:spPr bwMode="auto">
          <a:xfrm>
            <a:off x="197423" y="137295"/>
            <a:ext cx="14455203" cy="347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97433" y="711667"/>
            <a:ext cx="14293389" cy="4331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91435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Text</a:t>
            </a:r>
          </a:p>
        </p:txBody>
      </p:sp>
      <p:sp>
        <p:nvSpPr>
          <p:cNvPr id="1030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7431" y="1736960"/>
            <a:ext cx="14234164" cy="58810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71996" rIns="71996" bIns="7199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Text</a:t>
            </a:r>
          </a:p>
          <a:p>
            <a:pPr lvl="1"/>
            <a:r>
              <a:rPr lang="en-GB" dirty="0"/>
              <a:t>Text</a:t>
            </a:r>
          </a:p>
        </p:txBody>
      </p:sp>
      <p:sp>
        <p:nvSpPr>
          <p:cNvPr id="14336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3990566" y="201216"/>
            <a:ext cx="806402" cy="259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18" rIns="91435" bIns="45718" numCol="1" anchor="t" anchorCtr="0" compatLnSpc="1">
            <a:prstTxWarp prst="textNoShape">
              <a:avLst/>
            </a:prstTxWarp>
          </a:bodyPr>
          <a:lstStyle>
            <a:lvl1pPr algn="l">
              <a:defRPr sz="1407" b="1">
                <a:solidFill>
                  <a:schemeClr val="bg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A8358216-6C67-4A53-8449-5CF810184076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43366" name="Rectangle 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33423" y="201216"/>
            <a:ext cx="5766927" cy="259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5" tIns="45718" rIns="91435" bIns="45718" numCol="1" anchor="t" anchorCtr="0" compatLnSpc="1">
            <a:prstTxWarp prst="textNoShape">
              <a:avLst/>
            </a:prstTxWarp>
          </a:bodyPr>
          <a:lstStyle>
            <a:lvl1pPr algn="l">
              <a:defRPr sz="1407" b="1">
                <a:solidFill>
                  <a:schemeClr val="bg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43367" name="Text Box 7"/>
          <p:cNvSpPr txBox="1">
            <a:spLocks noChangeArrowheads="1"/>
          </p:cNvSpPr>
          <p:nvPr/>
        </p:nvSpPr>
        <p:spPr bwMode="auto">
          <a:xfrm>
            <a:off x="12264509" y="201216"/>
            <a:ext cx="1615351" cy="259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128675" tIns="64338" rIns="0" bIns="64338"/>
          <a:lstStyle/>
          <a:p>
            <a:pPr algn="r">
              <a:spcBef>
                <a:spcPct val="50000"/>
              </a:spcBef>
              <a:defRPr/>
            </a:pPr>
            <a:r>
              <a:rPr lang="en-GB" sz="1407" b="1" dirty="0">
                <a:solidFill>
                  <a:srgbClr val="FFFFFF"/>
                </a:solidFill>
                <a:latin typeface="Arial"/>
                <a:cs typeface="Arial"/>
              </a:rPr>
              <a:t>Slide</a:t>
            </a:r>
          </a:p>
        </p:txBody>
      </p:sp>
      <p:sp>
        <p:nvSpPr>
          <p:cNvPr id="143368" name="Text Box 8"/>
          <p:cNvSpPr txBox="1">
            <a:spLocks noChangeArrowheads="1"/>
          </p:cNvSpPr>
          <p:nvPr/>
        </p:nvSpPr>
        <p:spPr bwMode="auto">
          <a:xfrm>
            <a:off x="6598778" y="201216"/>
            <a:ext cx="1465263" cy="259530"/>
          </a:xfrm>
          <a:prstGeom prst="rect">
            <a:avLst/>
          </a:prstGeom>
          <a:noFill/>
          <a:ln w="19050" algn="ctr">
            <a:noFill/>
            <a:prstDash val="sysDot"/>
            <a:miter lim="800000"/>
            <a:headEnd/>
            <a:tailEnd/>
          </a:ln>
          <a:effectLst/>
        </p:spPr>
        <p:txBody>
          <a:bodyPr wrap="none" lIns="0" tIns="65858" rIns="0" bIns="65858"/>
          <a:lstStyle/>
          <a:p>
            <a:pPr algn="ctr">
              <a:spcBef>
                <a:spcPct val="50000"/>
              </a:spcBef>
              <a:defRPr/>
            </a:pPr>
            <a:r>
              <a:rPr lang="en-GB" sz="1407" b="1" dirty="0">
                <a:solidFill>
                  <a:srgbClr val="FFFFFF"/>
                </a:solidFill>
                <a:latin typeface="Arial"/>
                <a:cs typeface="Arial"/>
              </a:rPr>
              <a:t>Tata Steel</a:t>
            </a:r>
          </a:p>
        </p:txBody>
      </p:sp>
    </p:spTree>
    <p:extLst>
      <p:ext uri="{BB962C8B-B14F-4D97-AF65-F5344CB8AC3E}">
        <p14:creationId xmlns:p14="http://schemas.microsoft.com/office/powerpoint/2010/main" val="167502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09" r:id="rId1"/>
    <p:sldLayoutId id="2147484810" r:id="rId2"/>
    <p:sldLayoutId id="2147484811" r:id="rId3"/>
    <p:sldLayoutId id="2147484812" r:id="rId4"/>
    <p:sldLayoutId id="2147484813" r:id="rId5"/>
  </p:sldLayoutIdLst>
  <p:transition>
    <p:fade/>
  </p:transition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532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96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96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96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96" b="1">
          <a:solidFill>
            <a:schemeClr val="tx2"/>
          </a:solidFill>
          <a:latin typeface="Arial" charset="0"/>
          <a:cs typeface="Arial" charset="0"/>
        </a:defRPr>
      </a:lvl5pPr>
      <a:lvl6pPr marL="643367" algn="l" rtl="0" eaLnBrk="1" fontAlgn="base" hangingPunct="1">
        <a:spcBef>
          <a:spcPct val="0"/>
        </a:spcBef>
        <a:spcAft>
          <a:spcPct val="0"/>
        </a:spcAft>
        <a:defRPr sz="3096" b="1">
          <a:solidFill>
            <a:schemeClr val="tx2"/>
          </a:solidFill>
          <a:latin typeface="Arial" charset="0"/>
          <a:cs typeface="Arial" charset="0"/>
        </a:defRPr>
      </a:lvl6pPr>
      <a:lvl7pPr marL="1286731" algn="l" rtl="0" eaLnBrk="1" fontAlgn="base" hangingPunct="1">
        <a:spcBef>
          <a:spcPct val="0"/>
        </a:spcBef>
        <a:spcAft>
          <a:spcPct val="0"/>
        </a:spcAft>
        <a:defRPr sz="3096" b="1">
          <a:solidFill>
            <a:schemeClr val="tx2"/>
          </a:solidFill>
          <a:latin typeface="Arial" charset="0"/>
          <a:cs typeface="Arial" charset="0"/>
        </a:defRPr>
      </a:lvl7pPr>
      <a:lvl8pPr marL="1930098" algn="l" rtl="0" eaLnBrk="1" fontAlgn="base" hangingPunct="1">
        <a:spcBef>
          <a:spcPct val="0"/>
        </a:spcBef>
        <a:spcAft>
          <a:spcPct val="0"/>
        </a:spcAft>
        <a:defRPr sz="3096" b="1">
          <a:solidFill>
            <a:schemeClr val="tx2"/>
          </a:solidFill>
          <a:latin typeface="Arial" charset="0"/>
          <a:cs typeface="Arial" charset="0"/>
        </a:defRPr>
      </a:lvl8pPr>
      <a:lvl9pPr marL="2573461" algn="l" rtl="0" eaLnBrk="1" fontAlgn="base" hangingPunct="1">
        <a:spcBef>
          <a:spcPct val="0"/>
        </a:spcBef>
        <a:spcAft>
          <a:spcPct val="0"/>
        </a:spcAft>
        <a:defRPr sz="3096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52433" indent="-252433" algn="l" rtl="0" eaLnBrk="0" fontAlgn="base" hangingPunct="0">
        <a:spcBef>
          <a:spcPts val="1214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sz="2111">
          <a:solidFill>
            <a:schemeClr val="tx1"/>
          </a:solidFill>
          <a:latin typeface="+mn-lt"/>
          <a:ea typeface="+mn-ea"/>
          <a:cs typeface="+mn-cs"/>
        </a:defRPr>
      </a:lvl1pPr>
      <a:lvl2pPr marL="504863" indent="-252433" algn="l" rtl="0" eaLnBrk="0" fontAlgn="base" hangingPunct="0">
        <a:spcBef>
          <a:spcPts val="1214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sz="2111">
          <a:solidFill>
            <a:schemeClr val="tx1"/>
          </a:solidFill>
          <a:latin typeface="+mn-lt"/>
          <a:cs typeface="+mn-cs"/>
        </a:defRPr>
      </a:lvl2pPr>
      <a:lvl3pPr marL="1737981" indent="-321682" algn="l" rtl="0" eaLnBrk="0" fontAlgn="base" hangingPunct="0">
        <a:spcBef>
          <a:spcPct val="20000"/>
        </a:spcBef>
        <a:spcAft>
          <a:spcPct val="0"/>
        </a:spcAft>
        <a:buChar char="•"/>
        <a:defRPr sz="2815">
          <a:solidFill>
            <a:schemeClr val="tx1"/>
          </a:solidFill>
          <a:latin typeface="+mn-lt"/>
          <a:cs typeface="+mn-cs"/>
        </a:defRPr>
      </a:lvl3pPr>
      <a:lvl4pPr marL="2312096" indent="-321682" algn="l" rtl="0" eaLnBrk="0" fontAlgn="base" hangingPunct="0">
        <a:spcBef>
          <a:spcPct val="20000"/>
        </a:spcBef>
        <a:spcAft>
          <a:spcPct val="0"/>
        </a:spcAft>
        <a:buChar char="–"/>
        <a:defRPr sz="2815">
          <a:solidFill>
            <a:schemeClr val="tx1"/>
          </a:solidFill>
          <a:latin typeface="+mn-lt"/>
          <a:cs typeface="+mn-cs"/>
        </a:defRPr>
      </a:lvl4pPr>
      <a:lvl5pPr marL="2895145" indent="-321682" algn="l" rtl="0" eaLnBrk="0" fontAlgn="base" hangingPunct="0">
        <a:spcBef>
          <a:spcPct val="20000"/>
        </a:spcBef>
        <a:spcAft>
          <a:spcPct val="0"/>
        </a:spcAft>
        <a:buChar char="»"/>
        <a:defRPr sz="2815">
          <a:solidFill>
            <a:schemeClr val="tx1"/>
          </a:solidFill>
          <a:latin typeface="+mn-lt"/>
          <a:cs typeface="+mn-cs"/>
        </a:defRPr>
      </a:lvl5pPr>
      <a:lvl6pPr marL="3538511" indent="-321682" algn="l" rtl="0" eaLnBrk="1" fontAlgn="base" hangingPunct="1">
        <a:spcBef>
          <a:spcPct val="20000"/>
        </a:spcBef>
        <a:spcAft>
          <a:spcPct val="0"/>
        </a:spcAft>
        <a:buChar char="»"/>
        <a:defRPr sz="2815">
          <a:solidFill>
            <a:schemeClr val="tx1"/>
          </a:solidFill>
          <a:latin typeface="+mn-lt"/>
          <a:cs typeface="+mn-cs"/>
        </a:defRPr>
      </a:lvl6pPr>
      <a:lvl7pPr marL="4181878" indent="-321682" algn="l" rtl="0" eaLnBrk="1" fontAlgn="base" hangingPunct="1">
        <a:spcBef>
          <a:spcPct val="20000"/>
        </a:spcBef>
        <a:spcAft>
          <a:spcPct val="0"/>
        </a:spcAft>
        <a:buChar char="»"/>
        <a:defRPr sz="2815">
          <a:solidFill>
            <a:schemeClr val="tx1"/>
          </a:solidFill>
          <a:latin typeface="+mn-lt"/>
          <a:cs typeface="+mn-cs"/>
        </a:defRPr>
      </a:lvl7pPr>
      <a:lvl8pPr marL="4825242" indent="-321682" algn="l" rtl="0" eaLnBrk="1" fontAlgn="base" hangingPunct="1">
        <a:spcBef>
          <a:spcPct val="20000"/>
        </a:spcBef>
        <a:spcAft>
          <a:spcPct val="0"/>
        </a:spcAft>
        <a:buChar char="»"/>
        <a:defRPr sz="2815">
          <a:solidFill>
            <a:schemeClr val="tx1"/>
          </a:solidFill>
          <a:latin typeface="+mn-lt"/>
          <a:cs typeface="+mn-cs"/>
        </a:defRPr>
      </a:lvl8pPr>
      <a:lvl9pPr marL="5468609" indent="-321682" algn="l" rtl="0" eaLnBrk="1" fontAlgn="base" hangingPunct="1">
        <a:spcBef>
          <a:spcPct val="20000"/>
        </a:spcBef>
        <a:spcAft>
          <a:spcPct val="0"/>
        </a:spcAft>
        <a:buChar char="»"/>
        <a:defRPr sz="2815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nl-NL"/>
      </a:defPPr>
      <a:lvl1pPr marL="0" algn="l" defTabSz="1286731" rtl="0" eaLnBrk="1" latinLnBrk="0" hangingPunct="1">
        <a:defRPr sz="2532" kern="1200">
          <a:solidFill>
            <a:schemeClr val="tx1"/>
          </a:solidFill>
          <a:latin typeface="+mn-lt"/>
          <a:ea typeface="+mn-ea"/>
          <a:cs typeface="+mn-cs"/>
        </a:defRPr>
      </a:lvl1pPr>
      <a:lvl2pPr marL="643367" algn="l" defTabSz="1286731" rtl="0" eaLnBrk="1" latinLnBrk="0" hangingPunct="1">
        <a:defRPr sz="2532" kern="1200">
          <a:solidFill>
            <a:schemeClr val="tx1"/>
          </a:solidFill>
          <a:latin typeface="+mn-lt"/>
          <a:ea typeface="+mn-ea"/>
          <a:cs typeface="+mn-cs"/>
        </a:defRPr>
      </a:lvl2pPr>
      <a:lvl3pPr marL="1286731" algn="l" defTabSz="1286731" rtl="0" eaLnBrk="1" latinLnBrk="0" hangingPunct="1">
        <a:defRPr sz="2532" kern="1200">
          <a:solidFill>
            <a:schemeClr val="tx1"/>
          </a:solidFill>
          <a:latin typeface="+mn-lt"/>
          <a:ea typeface="+mn-ea"/>
          <a:cs typeface="+mn-cs"/>
        </a:defRPr>
      </a:lvl3pPr>
      <a:lvl4pPr marL="1930098" algn="l" defTabSz="1286731" rtl="0" eaLnBrk="1" latinLnBrk="0" hangingPunct="1">
        <a:defRPr sz="2532" kern="1200">
          <a:solidFill>
            <a:schemeClr val="tx1"/>
          </a:solidFill>
          <a:latin typeface="+mn-lt"/>
          <a:ea typeface="+mn-ea"/>
          <a:cs typeface="+mn-cs"/>
        </a:defRPr>
      </a:lvl4pPr>
      <a:lvl5pPr marL="2573461" algn="l" defTabSz="1286731" rtl="0" eaLnBrk="1" latinLnBrk="0" hangingPunct="1">
        <a:defRPr sz="2532" kern="1200">
          <a:solidFill>
            <a:schemeClr val="tx1"/>
          </a:solidFill>
          <a:latin typeface="+mn-lt"/>
          <a:ea typeface="+mn-ea"/>
          <a:cs typeface="+mn-cs"/>
        </a:defRPr>
      </a:lvl5pPr>
      <a:lvl6pPr marL="3216828" algn="l" defTabSz="1286731" rtl="0" eaLnBrk="1" latinLnBrk="0" hangingPunct="1">
        <a:defRPr sz="2532" kern="1200">
          <a:solidFill>
            <a:schemeClr val="tx1"/>
          </a:solidFill>
          <a:latin typeface="+mn-lt"/>
          <a:ea typeface="+mn-ea"/>
          <a:cs typeface="+mn-cs"/>
        </a:defRPr>
      </a:lvl6pPr>
      <a:lvl7pPr marL="3860194" algn="l" defTabSz="1286731" rtl="0" eaLnBrk="1" latinLnBrk="0" hangingPunct="1">
        <a:defRPr sz="2532" kern="1200">
          <a:solidFill>
            <a:schemeClr val="tx1"/>
          </a:solidFill>
          <a:latin typeface="+mn-lt"/>
          <a:ea typeface="+mn-ea"/>
          <a:cs typeface="+mn-cs"/>
        </a:defRPr>
      </a:lvl7pPr>
      <a:lvl8pPr marL="4503560" algn="l" defTabSz="1286731" rtl="0" eaLnBrk="1" latinLnBrk="0" hangingPunct="1">
        <a:defRPr sz="2532" kern="1200">
          <a:solidFill>
            <a:schemeClr val="tx1"/>
          </a:solidFill>
          <a:latin typeface="+mn-lt"/>
          <a:ea typeface="+mn-ea"/>
          <a:cs typeface="+mn-cs"/>
        </a:defRPr>
      </a:lvl8pPr>
      <a:lvl9pPr marL="5146927" algn="l" defTabSz="1286731" rtl="0" eaLnBrk="1" latinLnBrk="0" hangingPunct="1">
        <a:defRPr sz="253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9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509596992"/>
              </p:ext>
            </p:extLst>
          </p:nvPr>
        </p:nvGraphicFramePr>
        <p:xfrm>
          <a:off x="2547" y="1919"/>
          <a:ext cx="2543" cy="19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6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1026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547" y="1919"/>
                        <a:ext cx="2543" cy="190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8" name="Picture 9" descr="PP balk"/>
          <p:cNvPicPr>
            <a:picLocks noChangeAspect="1" noChangeArrowheads="1"/>
          </p:cNvPicPr>
          <p:nvPr/>
        </p:nvPicPr>
        <p:blipFill rotWithShape="1">
          <a:blip r:embed="rId11" cstate="print"/>
          <a:srcRect l="4447" t="50000" r="3799" b="8558"/>
          <a:stretch/>
        </p:blipFill>
        <p:spPr bwMode="auto">
          <a:xfrm>
            <a:off x="197423" y="137295"/>
            <a:ext cx="14455203" cy="347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97433" y="711667"/>
            <a:ext cx="14293389" cy="4331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98956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Text</a:t>
            </a:r>
          </a:p>
        </p:txBody>
      </p:sp>
      <p:sp>
        <p:nvSpPr>
          <p:cNvPr id="1030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7431" y="1736960"/>
            <a:ext cx="14234164" cy="58810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77918" rIns="77918" bIns="7791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Text</a:t>
            </a:r>
          </a:p>
          <a:p>
            <a:pPr lvl="1"/>
            <a:r>
              <a:rPr lang="en-GB" dirty="0"/>
              <a:t>Text</a:t>
            </a:r>
          </a:p>
        </p:txBody>
      </p:sp>
      <p:sp>
        <p:nvSpPr>
          <p:cNvPr id="14336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3990563" y="201216"/>
            <a:ext cx="806402" cy="259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9478" rIns="98956" bIns="49478" numCol="1" anchor="t" anchorCtr="0" compatLnSpc="1">
            <a:prstTxWarp prst="textNoShape">
              <a:avLst/>
            </a:prstTxWarp>
          </a:bodyPr>
          <a:lstStyle>
            <a:lvl1pPr algn="l">
              <a:defRPr sz="1544" b="1">
                <a:solidFill>
                  <a:schemeClr val="bg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A8358216-6C67-4A53-8449-5CF810184076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43366" name="Rectangle 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33423" y="201216"/>
            <a:ext cx="5766927" cy="259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8956" tIns="49478" rIns="98956" bIns="49478" numCol="1" anchor="t" anchorCtr="0" compatLnSpc="1">
            <a:prstTxWarp prst="textNoShape">
              <a:avLst/>
            </a:prstTxWarp>
          </a:bodyPr>
          <a:lstStyle>
            <a:lvl1pPr algn="l">
              <a:defRPr sz="1544" b="1">
                <a:solidFill>
                  <a:schemeClr val="bg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43367" name="Text Box 7"/>
          <p:cNvSpPr txBox="1">
            <a:spLocks noChangeArrowheads="1"/>
          </p:cNvSpPr>
          <p:nvPr/>
        </p:nvSpPr>
        <p:spPr bwMode="auto">
          <a:xfrm>
            <a:off x="12264508" y="201216"/>
            <a:ext cx="1615351" cy="259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138872" tIns="69437" rIns="0" bIns="69437"/>
          <a:lstStyle/>
          <a:p>
            <a:pPr algn="r">
              <a:spcBef>
                <a:spcPct val="50000"/>
              </a:spcBef>
              <a:defRPr/>
            </a:pPr>
            <a:r>
              <a:rPr lang="en-GB" sz="1544" b="1" dirty="0">
                <a:solidFill>
                  <a:srgbClr val="FFFFFF"/>
                </a:solidFill>
                <a:latin typeface="Arial" charset="0"/>
                <a:cs typeface="Arial" charset="0"/>
              </a:rPr>
              <a:t>Slide</a:t>
            </a:r>
          </a:p>
        </p:txBody>
      </p:sp>
      <p:sp>
        <p:nvSpPr>
          <p:cNvPr id="143368" name="Text Box 8"/>
          <p:cNvSpPr txBox="1">
            <a:spLocks noChangeArrowheads="1"/>
          </p:cNvSpPr>
          <p:nvPr/>
        </p:nvSpPr>
        <p:spPr bwMode="auto">
          <a:xfrm>
            <a:off x="6598777" y="201216"/>
            <a:ext cx="1465263" cy="259530"/>
          </a:xfrm>
          <a:prstGeom prst="rect">
            <a:avLst/>
          </a:prstGeom>
          <a:noFill/>
          <a:ln w="19050" algn="ctr">
            <a:noFill/>
            <a:prstDash val="sysDot"/>
            <a:miter lim="800000"/>
            <a:headEnd/>
            <a:tailEnd/>
          </a:ln>
          <a:effectLst/>
        </p:spPr>
        <p:txBody>
          <a:bodyPr wrap="none" lIns="0" tIns="71077" rIns="0" bIns="71077"/>
          <a:lstStyle/>
          <a:p>
            <a:pPr algn="ctr">
              <a:spcBef>
                <a:spcPct val="50000"/>
              </a:spcBef>
              <a:defRPr/>
            </a:pPr>
            <a:r>
              <a:rPr lang="en-GB" sz="1544" b="1" dirty="0">
                <a:solidFill>
                  <a:srgbClr val="FFFFFF"/>
                </a:solidFill>
                <a:latin typeface="Arial" charset="0"/>
                <a:cs typeface="Arial" charset="0"/>
              </a:rPr>
              <a:t>Tata Steel</a:t>
            </a:r>
          </a:p>
        </p:txBody>
      </p:sp>
    </p:spTree>
    <p:extLst>
      <p:ext uri="{BB962C8B-B14F-4D97-AF65-F5344CB8AC3E}">
        <p14:creationId xmlns:p14="http://schemas.microsoft.com/office/powerpoint/2010/main" val="10508692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16" r:id="rId1"/>
    <p:sldLayoutId id="2147484817" r:id="rId2"/>
    <p:sldLayoutId id="2147484818" r:id="rId3"/>
    <p:sldLayoutId id="2147484819" r:id="rId4"/>
    <p:sldLayoutId id="2147484820" r:id="rId5"/>
  </p:sldLayoutIdLst>
  <p:transition>
    <p:fade/>
  </p:transition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7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368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368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368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368" b="1">
          <a:solidFill>
            <a:schemeClr val="tx2"/>
          </a:solidFill>
          <a:latin typeface="Arial" charset="0"/>
          <a:cs typeface="Arial" charset="0"/>
        </a:defRPr>
      </a:lvl5pPr>
      <a:lvl6pPr marL="694339" algn="l" rtl="0" eaLnBrk="1" fontAlgn="base" hangingPunct="1">
        <a:spcBef>
          <a:spcPct val="0"/>
        </a:spcBef>
        <a:spcAft>
          <a:spcPct val="0"/>
        </a:spcAft>
        <a:defRPr sz="3368" b="1">
          <a:solidFill>
            <a:schemeClr val="tx2"/>
          </a:solidFill>
          <a:latin typeface="Arial" charset="0"/>
          <a:cs typeface="Arial" charset="0"/>
        </a:defRPr>
      </a:lvl6pPr>
      <a:lvl7pPr marL="1388678" algn="l" rtl="0" eaLnBrk="1" fontAlgn="base" hangingPunct="1">
        <a:spcBef>
          <a:spcPct val="0"/>
        </a:spcBef>
        <a:spcAft>
          <a:spcPct val="0"/>
        </a:spcAft>
        <a:defRPr sz="3368" b="1">
          <a:solidFill>
            <a:schemeClr val="tx2"/>
          </a:solidFill>
          <a:latin typeface="Arial" charset="0"/>
          <a:cs typeface="Arial" charset="0"/>
        </a:defRPr>
      </a:lvl7pPr>
      <a:lvl8pPr marL="2083018" algn="l" rtl="0" eaLnBrk="1" fontAlgn="base" hangingPunct="1">
        <a:spcBef>
          <a:spcPct val="0"/>
        </a:spcBef>
        <a:spcAft>
          <a:spcPct val="0"/>
        </a:spcAft>
        <a:defRPr sz="3368" b="1">
          <a:solidFill>
            <a:schemeClr val="tx2"/>
          </a:solidFill>
          <a:latin typeface="Arial" charset="0"/>
          <a:cs typeface="Arial" charset="0"/>
        </a:defRPr>
      </a:lvl8pPr>
      <a:lvl9pPr marL="2777356" algn="l" rtl="0" eaLnBrk="1" fontAlgn="base" hangingPunct="1">
        <a:spcBef>
          <a:spcPct val="0"/>
        </a:spcBef>
        <a:spcAft>
          <a:spcPct val="0"/>
        </a:spcAft>
        <a:defRPr sz="3368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72433" indent="-272433" algn="l" rtl="0" eaLnBrk="0" fontAlgn="base" hangingPunct="0">
        <a:spcBef>
          <a:spcPts val="1311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sz="2245">
          <a:solidFill>
            <a:schemeClr val="tx1"/>
          </a:solidFill>
          <a:latin typeface="+mn-lt"/>
          <a:ea typeface="+mn-ea"/>
          <a:cs typeface="+mn-cs"/>
        </a:defRPr>
      </a:lvl1pPr>
      <a:lvl2pPr marL="544863" indent="-272433" algn="l" rtl="0" eaLnBrk="0" fontAlgn="base" hangingPunct="0">
        <a:spcBef>
          <a:spcPts val="1311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sz="2245">
          <a:solidFill>
            <a:schemeClr val="tx1"/>
          </a:solidFill>
          <a:latin typeface="+mn-lt"/>
          <a:cs typeface="+mn-cs"/>
        </a:defRPr>
      </a:lvl2pPr>
      <a:lvl3pPr marL="1875680" indent="-347169" algn="l" rtl="0" eaLnBrk="0" fontAlgn="base" hangingPunct="0">
        <a:spcBef>
          <a:spcPct val="20000"/>
        </a:spcBef>
        <a:spcAft>
          <a:spcPct val="0"/>
        </a:spcAft>
        <a:buChar char="•"/>
        <a:defRPr sz="3087">
          <a:solidFill>
            <a:schemeClr val="tx1"/>
          </a:solidFill>
          <a:latin typeface="+mn-lt"/>
          <a:cs typeface="+mn-cs"/>
        </a:defRPr>
      </a:lvl3pPr>
      <a:lvl4pPr marL="2495282" indent="-347169" algn="l" rtl="0" eaLnBrk="0" fontAlgn="base" hangingPunct="0">
        <a:spcBef>
          <a:spcPct val="20000"/>
        </a:spcBef>
        <a:spcAft>
          <a:spcPct val="0"/>
        </a:spcAft>
        <a:buChar char="–"/>
        <a:defRPr sz="3087">
          <a:solidFill>
            <a:schemeClr val="tx1"/>
          </a:solidFill>
          <a:latin typeface="+mn-lt"/>
          <a:cs typeface="+mn-cs"/>
        </a:defRPr>
      </a:lvl4pPr>
      <a:lvl5pPr marL="3124525" indent="-347169" algn="l" rtl="0" eaLnBrk="0" fontAlgn="base" hangingPunct="0">
        <a:spcBef>
          <a:spcPct val="20000"/>
        </a:spcBef>
        <a:spcAft>
          <a:spcPct val="0"/>
        </a:spcAft>
        <a:buChar char="»"/>
        <a:defRPr sz="3087">
          <a:solidFill>
            <a:schemeClr val="tx1"/>
          </a:solidFill>
          <a:latin typeface="+mn-lt"/>
          <a:cs typeface="+mn-cs"/>
        </a:defRPr>
      </a:lvl5pPr>
      <a:lvl6pPr marL="3818864" indent="-347169" algn="l" rtl="0" eaLnBrk="1" fontAlgn="base" hangingPunct="1">
        <a:spcBef>
          <a:spcPct val="20000"/>
        </a:spcBef>
        <a:spcAft>
          <a:spcPct val="0"/>
        </a:spcAft>
        <a:buChar char="»"/>
        <a:defRPr sz="3087">
          <a:solidFill>
            <a:schemeClr val="tx1"/>
          </a:solidFill>
          <a:latin typeface="+mn-lt"/>
          <a:cs typeface="+mn-cs"/>
        </a:defRPr>
      </a:lvl6pPr>
      <a:lvl7pPr marL="4513203" indent="-347169" algn="l" rtl="0" eaLnBrk="1" fontAlgn="base" hangingPunct="1">
        <a:spcBef>
          <a:spcPct val="20000"/>
        </a:spcBef>
        <a:spcAft>
          <a:spcPct val="0"/>
        </a:spcAft>
        <a:buChar char="»"/>
        <a:defRPr sz="3087">
          <a:solidFill>
            <a:schemeClr val="tx1"/>
          </a:solidFill>
          <a:latin typeface="+mn-lt"/>
          <a:cs typeface="+mn-cs"/>
        </a:defRPr>
      </a:lvl7pPr>
      <a:lvl8pPr marL="5207544" indent="-347169" algn="l" rtl="0" eaLnBrk="1" fontAlgn="base" hangingPunct="1">
        <a:spcBef>
          <a:spcPct val="20000"/>
        </a:spcBef>
        <a:spcAft>
          <a:spcPct val="0"/>
        </a:spcAft>
        <a:buChar char="»"/>
        <a:defRPr sz="3087">
          <a:solidFill>
            <a:schemeClr val="tx1"/>
          </a:solidFill>
          <a:latin typeface="+mn-lt"/>
          <a:cs typeface="+mn-cs"/>
        </a:defRPr>
      </a:lvl8pPr>
      <a:lvl9pPr marL="5901883" indent="-347169" algn="l" rtl="0" eaLnBrk="1" fontAlgn="base" hangingPunct="1">
        <a:spcBef>
          <a:spcPct val="20000"/>
        </a:spcBef>
        <a:spcAft>
          <a:spcPct val="0"/>
        </a:spcAft>
        <a:buChar char="»"/>
        <a:defRPr sz="3087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nl-NL"/>
      </a:defPPr>
      <a:lvl1pPr marL="0" algn="l" defTabSz="1388678" rtl="0" eaLnBrk="1" latinLnBrk="0" hangingPunct="1">
        <a:defRPr sz="2667" kern="1200">
          <a:solidFill>
            <a:schemeClr val="tx1"/>
          </a:solidFill>
          <a:latin typeface="+mn-lt"/>
          <a:ea typeface="+mn-ea"/>
          <a:cs typeface="+mn-cs"/>
        </a:defRPr>
      </a:lvl1pPr>
      <a:lvl2pPr marL="694339" algn="l" defTabSz="1388678" rtl="0" eaLnBrk="1" latinLnBrk="0" hangingPunct="1">
        <a:defRPr sz="2667" kern="1200">
          <a:solidFill>
            <a:schemeClr val="tx1"/>
          </a:solidFill>
          <a:latin typeface="+mn-lt"/>
          <a:ea typeface="+mn-ea"/>
          <a:cs typeface="+mn-cs"/>
        </a:defRPr>
      </a:lvl2pPr>
      <a:lvl3pPr marL="1388678" algn="l" defTabSz="1388678" rtl="0" eaLnBrk="1" latinLnBrk="0" hangingPunct="1">
        <a:defRPr sz="2667" kern="1200">
          <a:solidFill>
            <a:schemeClr val="tx1"/>
          </a:solidFill>
          <a:latin typeface="+mn-lt"/>
          <a:ea typeface="+mn-ea"/>
          <a:cs typeface="+mn-cs"/>
        </a:defRPr>
      </a:lvl3pPr>
      <a:lvl4pPr marL="2083018" algn="l" defTabSz="1388678" rtl="0" eaLnBrk="1" latinLnBrk="0" hangingPunct="1"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77356" algn="l" defTabSz="1388678" rtl="0" eaLnBrk="1" latinLnBrk="0" hangingPunct="1"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471695" algn="l" defTabSz="1388678" rtl="0" eaLnBrk="1" latinLnBrk="0" hangingPunct="1"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4166034" algn="l" defTabSz="1388678" rtl="0" eaLnBrk="1" latinLnBrk="0" hangingPunct="1"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860374" algn="l" defTabSz="1388678" rtl="0" eaLnBrk="1" latinLnBrk="0" hangingPunct="1"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554713" algn="l" defTabSz="1388678" rtl="0" eaLnBrk="1" latinLnBrk="0" hangingPunct="1"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9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20954784"/>
              </p:ext>
            </p:extLst>
          </p:nvPr>
        </p:nvGraphicFramePr>
        <p:xfrm>
          <a:off x="2547" y="1919"/>
          <a:ext cx="2543" cy="19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4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1026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547" y="1919"/>
                        <a:ext cx="2543" cy="190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8" name="Picture 9" descr="PP balk"/>
          <p:cNvPicPr>
            <a:picLocks noChangeAspect="1" noChangeArrowheads="1"/>
          </p:cNvPicPr>
          <p:nvPr userDrawn="1"/>
        </p:nvPicPr>
        <p:blipFill rotWithShape="1">
          <a:blip r:embed="rId11" cstate="print"/>
          <a:srcRect l="4447" t="50000" r="3799" b="8558"/>
          <a:stretch/>
        </p:blipFill>
        <p:spPr bwMode="auto">
          <a:xfrm>
            <a:off x="197423" y="137295"/>
            <a:ext cx="14455203" cy="347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97433" y="711667"/>
            <a:ext cx="14293389" cy="4331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98956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Text</a:t>
            </a:r>
          </a:p>
        </p:txBody>
      </p:sp>
      <p:sp>
        <p:nvSpPr>
          <p:cNvPr id="1030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7431" y="1736960"/>
            <a:ext cx="14234164" cy="58810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77918" rIns="77918" bIns="7791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Text</a:t>
            </a:r>
          </a:p>
          <a:p>
            <a:pPr lvl="1"/>
            <a:r>
              <a:rPr lang="en-GB" dirty="0"/>
              <a:t>Text</a:t>
            </a:r>
          </a:p>
        </p:txBody>
      </p:sp>
      <p:sp>
        <p:nvSpPr>
          <p:cNvPr id="14336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3990563" y="201216"/>
            <a:ext cx="806402" cy="259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9478" rIns="98956" bIns="49478" numCol="1" anchor="t" anchorCtr="0" compatLnSpc="1">
            <a:prstTxWarp prst="textNoShape">
              <a:avLst/>
            </a:prstTxWarp>
          </a:bodyPr>
          <a:lstStyle>
            <a:lvl1pPr algn="l">
              <a:defRPr sz="1544" b="1">
                <a:solidFill>
                  <a:schemeClr val="bg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A8358216-6C67-4A53-8449-5CF810184076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43367" name="Text Box 7"/>
          <p:cNvSpPr txBox="1">
            <a:spLocks noChangeArrowheads="1"/>
          </p:cNvSpPr>
          <p:nvPr/>
        </p:nvSpPr>
        <p:spPr bwMode="auto">
          <a:xfrm>
            <a:off x="12264508" y="201216"/>
            <a:ext cx="1615351" cy="259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138872" tIns="69437" rIns="0" bIns="69437"/>
          <a:lstStyle/>
          <a:p>
            <a:pPr algn="r">
              <a:spcBef>
                <a:spcPct val="50000"/>
              </a:spcBef>
              <a:defRPr/>
            </a:pPr>
            <a:r>
              <a:rPr lang="en-GB" sz="1544" b="1" dirty="0">
                <a:solidFill>
                  <a:srgbClr val="FFFFFF"/>
                </a:solidFill>
                <a:latin typeface="Arial" charset="0"/>
                <a:cs typeface="Arial" charset="0"/>
              </a:rPr>
              <a:t>Slide</a:t>
            </a:r>
          </a:p>
        </p:txBody>
      </p:sp>
      <p:sp>
        <p:nvSpPr>
          <p:cNvPr id="143368" name="Text Box 8"/>
          <p:cNvSpPr txBox="1">
            <a:spLocks noChangeArrowheads="1"/>
          </p:cNvSpPr>
          <p:nvPr/>
        </p:nvSpPr>
        <p:spPr bwMode="auto">
          <a:xfrm>
            <a:off x="6598777" y="201216"/>
            <a:ext cx="1465263" cy="259530"/>
          </a:xfrm>
          <a:prstGeom prst="rect">
            <a:avLst/>
          </a:prstGeom>
          <a:noFill/>
          <a:ln w="19050" algn="ctr">
            <a:noFill/>
            <a:prstDash val="sysDot"/>
            <a:miter lim="800000"/>
            <a:headEnd/>
            <a:tailEnd/>
          </a:ln>
          <a:effectLst/>
        </p:spPr>
        <p:txBody>
          <a:bodyPr wrap="none" lIns="0" tIns="71077" rIns="0" bIns="71077"/>
          <a:lstStyle/>
          <a:p>
            <a:pPr algn="ctr">
              <a:spcBef>
                <a:spcPct val="50000"/>
              </a:spcBef>
              <a:defRPr/>
            </a:pPr>
            <a:r>
              <a:rPr lang="en-GB" sz="1544" b="1" dirty="0">
                <a:solidFill>
                  <a:srgbClr val="FFFFFF"/>
                </a:solidFill>
                <a:latin typeface="Arial" charset="0"/>
                <a:cs typeface="Arial" charset="0"/>
              </a:rPr>
              <a:t>Tata Steel</a:t>
            </a:r>
          </a:p>
        </p:txBody>
      </p:sp>
    </p:spTree>
    <p:extLst>
      <p:ext uri="{BB962C8B-B14F-4D97-AF65-F5344CB8AC3E}">
        <p14:creationId xmlns:p14="http://schemas.microsoft.com/office/powerpoint/2010/main" val="1672343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22" r:id="rId1"/>
    <p:sldLayoutId id="2147484823" r:id="rId2"/>
    <p:sldLayoutId id="2147484824" r:id="rId3"/>
    <p:sldLayoutId id="2147484825" r:id="rId4"/>
    <p:sldLayoutId id="2147484826" r:id="rId5"/>
  </p:sldLayoutIdLst>
  <p:transition>
    <p:fade/>
  </p:transition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7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368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368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368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368" b="1">
          <a:solidFill>
            <a:schemeClr val="tx2"/>
          </a:solidFill>
          <a:latin typeface="Arial" charset="0"/>
          <a:cs typeface="Arial" charset="0"/>
        </a:defRPr>
      </a:lvl5pPr>
      <a:lvl6pPr marL="694339" algn="l" rtl="0" eaLnBrk="1" fontAlgn="base" hangingPunct="1">
        <a:spcBef>
          <a:spcPct val="0"/>
        </a:spcBef>
        <a:spcAft>
          <a:spcPct val="0"/>
        </a:spcAft>
        <a:defRPr sz="3368" b="1">
          <a:solidFill>
            <a:schemeClr val="tx2"/>
          </a:solidFill>
          <a:latin typeface="Arial" charset="0"/>
          <a:cs typeface="Arial" charset="0"/>
        </a:defRPr>
      </a:lvl6pPr>
      <a:lvl7pPr marL="1388678" algn="l" rtl="0" eaLnBrk="1" fontAlgn="base" hangingPunct="1">
        <a:spcBef>
          <a:spcPct val="0"/>
        </a:spcBef>
        <a:spcAft>
          <a:spcPct val="0"/>
        </a:spcAft>
        <a:defRPr sz="3368" b="1">
          <a:solidFill>
            <a:schemeClr val="tx2"/>
          </a:solidFill>
          <a:latin typeface="Arial" charset="0"/>
          <a:cs typeface="Arial" charset="0"/>
        </a:defRPr>
      </a:lvl7pPr>
      <a:lvl8pPr marL="2083018" algn="l" rtl="0" eaLnBrk="1" fontAlgn="base" hangingPunct="1">
        <a:spcBef>
          <a:spcPct val="0"/>
        </a:spcBef>
        <a:spcAft>
          <a:spcPct val="0"/>
        </a:spcAft>
        <a:defRPr sz="3368" b="1">
          <a:solidFill>
            <a:schemeClr val="tx2"/>
          </a:solidFill>
          <a:latin typeface="Arial" charset="0"/>
          <a:cs typeface="Arial" charset="0"/>
        </a:defRPr>
      </a:lvl8pPr>
      <a:lvl9pPr marL="2777356" algn="l" rtl="0" eaLnBrk="1" fontAlgn="base" hangingPunct="1">
        <a:spcBef>
          <a:spcPct val="0"/>
        </a:spcBef>
        <a:spcAft>
          <a:spcPct val="0"/>
        </a:spcAft>
        <a:defRPr sz="3368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72433" indent="-272433" algn="l" rtl="0" eaLnBrk="0" fontAlgn="base" hangingPunct="0">
        <a:spcBef>
          <a:spcPts val="1311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sz="2245">
          <a:solidFill>
            <a:schemeClr val="tx1"/>
          </a:solidFill>
          <a:latin typeface="+mn-lt"/>
          <a:ea typeface="+mn-ea"/>
          <a:cs typeface="+mn-cs"/>
        </a:defRPr>
      </a:lvl1pPr>
      <a:lvl2pPr marL="544863" indent="-272433" algn="l" rtl="0" eaLnBrk="0" fontAlgn="base" hangingPunct="0">
        <a:spcBef>
          <a:spcPts val="1311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sz="2245">
          <a:solidFill>
            <a:schemeClr val="tx1"/>
          </a:solidFill>
          <a:latin typeface="+mn-lt"/>
          <a:cs typeface="+mn-cs"/>
        </a:defRPr>
      </a:lvl2pPr>
      <a:lvl3pPr marL="1875680" indent="-347169" algn="l" rtl="0" eaLnBrk="0" fontAlgn="base" hangingPunct="0">
        <a:spcBef>
          <a:spcPct val="20000"/>
        </a:spcBef>
        <a:spcAft>
          <a:spcPct val="0"/>
        </a:spcAft>
        <a:buChar char="•"/>
        <a:defRPr sz="3087">
          <a:solidFill>
            <a:schemeClr val="tx1"/>
          </a:solidFill>
          <a:latin typeface="+mn-lt"/>
          <a:cs typeface="+mn-cs"/>
        </a:defRPr>
      </a:lvl3pPr>
      <a:lvl4pPr marL="2495282" indent="-347169" algn="l" rtl="0" eaLnBrk="0" fontAlgn="base" hangingPunct="0">
        <a:spcBef>
          <a:spcPct val="20000"/>
        </a:spcBef>
        <a:spcAft>
          <a:spcPct val="0"/>
        </a:spcAft>
        <a:buChar char="–"/>
        <a:defRPr sz="3087">
          <a:solidFill>
            <a:schemeClr val="tx1"/>
          </a:solidFill>
          <a:latin typeface="+mn-lt"/>
          <a:cs typeface="+mn-cs"/>
        </a:defRPr>
      </a:lvl4pPr>
      <a:lvl5pPr marL="3124525" indent="-347169" algn="l" rtl="0" eaLnBrk="0" fontAlgn="base" hangingPunct="0">
        <a:spcBef>
          <a:spcPct val="20000"/>
        </a:spcBef>
        <a:spcAft>
          <a:spcPct val="0"/>
        </a:spcAft>
        <a:buChar char="»"/>
        <a:defRPr sz="3087">
          <a:solidFill>
            <a:schemeClr val="tx1"/>
          </a:solidFill>
          <a:latin typeface="+mn-lt"/>
          <a:cs typeface="+mn-cs"/>
        </a:defRPr>
      </a:lvl5pPr>
      <a:lvl6pPr marL="3818864" indent="-347169" algn="l" rtl="0" eaLnBrk="1" fontAlgn="base" hangingPunct="1">
        <a:spcBef>
          <a:spcPct val="20000"/>
        </a:spcBef>
        <a:spcAft>
          <a:spcPct val="0"/>
        </a:spcAft>
        <a:buChar char="»"/>
        <a:defRPr sz="3087">
          <a:solidFill>
            <a:schemeClr val="tx1"/>
          </a:solidFill>
          <a:latin typeface="+mn-lt"/>
          <a:cs typeface="+mn-cs"/>
        </a:defRPr>
      </a:lvl6pPr>
      <a:lvl7pPr marL="4513203" indent="-347169" algn="l" rtl="0" eaLnBrk="1" fontAlgn="base" hangingPunct="1">
        <a:spcBef>
          <a:spcPct val="20000"/>
        </a:spcBef>
        <a:spcAft>
          <a:spcPct val="0"/>
        </a:spcAft>
        <a:buChar char="»"/>
        <a:defRPr sz="3087">
          <a:solidFill>
            <a:schemeClr val="tx1"/>
          </a:solidFill>
          <a:latin typeface="+mn-lt"/>
          <a:cs typeface="+mn-cs"/>
        </a:defRPr>
      </a:lvl7pPr>
      <a:lvl8pPr marL="5207544" indent="-347169" algn="l" rtl="0" eaLnBrk="1" fontAlgn="base" hangingPunct="1">
        <a:spcBef>
          <a:spcPct val="20000"/>
        </a:spcBef>
        <a:spcAft>
          <a:spcPct val="0"/>
        </a:spcAft>
        <a:buChar char="»"/>
        <a:defRPr sz="3087">
          <a:solidFill>
            <a:schemeClr val="tx1"/>
          </a:solidFill>
          <a:latin typeface="+mn-lt"/>
          <a:cs typeface="+mn-cs"/>
        </a:defRPr>
      </a:lvl8pPr>
      <a:lvl9pPr marL="5901883" indent="-347169" algn="l" rtl="0" eaLnBrk="1" fontAlgn="base" hangingPunct="1">
        <a:spcBef>
          <a:spcPct val="20000"/>
        </a:spcBef>
        <a:spcAft>
          <a:spcPct val="0"/>
        </a:spcAft>
        <a:buChar char="»"/>
        <a:defRPr sz="3087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nl-NL"/>
      </a:defPPr>
      <a:lvl1pPr marL="0" algn="l" defTabSz="1388678" rtl="0" eaLnBrk="1" latinLnBrk="0" hangingPunct="1">
        <a:defRPr sz="2667" kern="1200">
          <a:solidFill>
            <a:schemeClr val="tx1"/>
          </a:solidFill>
          <a:latin typeface="+mn-lt"/>
          <a:ea typeface="+mn-ea"/>
          <a:cs typeface="+mn-cs"/>
        </a:defRPr>
      </a:lvl1pPr>
      <a:lvl2pPr marL="694339" algn="l" defTabSz="1388678" rtl="0" eaLnBrk="1" latinLnBrk="0" hangingPunct="1">
        <a:defRPr sz="2667" kern="1200">
          <a:solidFill>
            <a:schemeClr val="tx1"/>
          </a:solidFill>
          <a:latin typeface="+mn-lt"/>
          <a:ea typeface="+mn-ea"/>
          <a:cs typeface="+mn-cs"/>
        </a:defRPr>
      </a:lvl2pPr>
      <a:lvl3pPr marL="1388678" algn="l" defTabSz="1388678" rtl="0" eaLnBrk="1" latinLnBrk="0" hangingPunct="1">
        <a:defRPr sz="2667" kern="1200">
          <a:solidFill>
            <a:schemeClr val="tx1"/>
          </a:solidFill>
          <a:latin typeface="+mn-lt"/>
          <a:ea typeface="+mn-ea"/>
          <a:cs typeface="+mn-cs"/>
        </a:defRPr>
      </a:lvl3pPr>
      <a:lvl4pPr marL="2083018" algn="l" defTabSz="1388678" rtl="0" eaLnBrk="1" latinLnBrk="0" hangingPunct="1"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77356" algn="l" defTabSz="1388678" rtl="0" eaLnBrk="1" latinLnBrk="0" hangingPunct="1"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471695" algn="l" defTabSz="1388678" rtl="0" eaLnBrk="1" latinLnBrk="0" hangingPunct="1"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4166034" algn="l" defTabSz="1388678" rtl="0" eaLnBrk="1" latinLnBrk="0" hangingPunct="1"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860374" algn="l" defTabSz="1388678" rtl="0" eaLnBrk="1" latinLnBrk="0" hangingPunct="1"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554713" algn="l" defTabSz="1388678" rtl="0" eaLnBrk="1" latinLnBrk="0" hangingPunct="1"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9" hidden="1"/>
          <p:cNvGraphicFramePr>
            <a:graphicFrameLocks noChangeAspect="1"/>
          </p:cNvGraphicFramePr>
          <p:nvPr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4067192431"/>
              </p:ext>
            </p:extLst>
          </p:nvPr>
        </p:nvGraphicFramePr>
        <p:xfrm>
          <a:off x="2672" y="2150"/>
          <a:ext cx="2543" cy="19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6" name="think-cell Slide" r:id="rId35" imgW="360" imgH="360" progId="TCLayout.ActiveDocument.1">
                  <p:embed/>
                </p:oleObj>
              </mc:Choice>
              <mc:Fallback>
                <p:oleObj name="think-cell Slide" r:id="rId35" imgW="360" imgH="360" progId="TCLayout.ActiveDocument.1">
                  <p:embed/>
                  <p:pic>
                    <p:nvPicPr>
                      <p:cNvPr id="1026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672" y="2150"/>
                        <a:ext cx="2543" cy="190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8" name="Picture 9" descr="PP balk"/>
          <p:cNvPicPr>
            <a:picLocks noChangeAspect="1" noChangeArrowheads="1"/>
          </p:cNvPicPr>
          <p:nvPr/>
        </p:nvPicPr>
        <p:blipFill rotWithShape="1">
          <a:blip r:embed="rId37" cstate="print"/>
          <a:srcRect l="4447" t="50000" r="3799" b="8558"/>
          <a:stretch/>
        </p:blipFill>
        <p:spPr bwMode="auto">
          <a:xfrm>
            <a:off x="197423" y="137348"/>
            <a:ext cx="14455203" cy="347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97434" y="711848"/>
            <a:ext cx="14293389" cy="4331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91271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Text</a:t>
            </a:r>
          </a:p>
        </p:txBody>
      </p:sp>
      <p:sp>
        <p:nvSpPr>
          <p:cNvPr id="1030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7428" y="1736960"/>
            <a:ext cx="14234164" cy="58810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71868" rIns="71868" bIns="7186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Text</a:t>
            </a:r>
          </a:p>
          <a:p>
            <a:pPr lvl="1"/>
            <a:r>
              <a:rPr lang="en-GB" dirty="0"/>
              <a:t>Text</a:t>
            </a:r>
          </a:p>
        </p:txBody>
      </p:sp>
      <p:sp>
        <p:nvSpPr>
          <p:cNvPr id="14336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3990641" y="201216"/>
            <a:ext cx="806403" cy="259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633" rIns="91271" bIns="45633" numCol="1" anchor="t" anchorCtr="0" compatLnSpc="1">
            <a:prstTxWarp prst="textNoShape">
              <a:avLst/>
            </a:prstTxWarp>
          </a:bodyPr>
          <a:lstStyle>
            <a:lvl1pPr algn="l">
              <a:defRPr sz="1403" b="1">
                <a:solidFill>
                  <a:schemeClr val="bg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A8358216-6C67-4A53-8449-5CF810184076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43366" name="Rectangle 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33429" y="201216"/>
            <a:ext cx="5766927" cy="259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271" tIns="45633" rIns="91271" bIns="45633" numCol="1" anchor="t" anchorCtr="0" compatLnSpc="1">
            <a:prstTxWarp prst="textNoShape">
              <a:avLst/>
            </a:prstTxWarp>
          </a:bodyPr>
          <a:lstStyle>
            <a:lvl1pPr algn="l">
              <a:defRPr sz="1403" b="1">
                <a:solidFill>
                  <a:schemeClr val="bg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43367" name="Text Box 7"/>
          <p:cNvSpPr txBox="1">
            <a:spLocks noChangeArrowheads="1"/>
          </p:cNvSpPr>
          <p:nvPr/>
        </p:nvSpPr>
        <p:spPr bwMode="auto">
          <a:xfrm>
            <a:off x="12264635" y="201216"/>
            <a:ext cx="1615351" cy="259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128087" tIns="64041" rIns="0" bIns="64041"/>
          <a:lstStyle/>
          <a:p>
            <a:pPr algn="r">
              <a:spcBef>
                <a:spcPct val="50000"/>
              </a:spcBef>
              <a:defRPr/>
            </a:pPr>
            <a:r>
              <a:rPr lang="en-GB" sz="1403" b="1" dirty="0">
                <a:solidFill>
                  <a:srgbClr val="FFFFFF"/>
                </a:solidFill>
                <a:latin typeface="Arial"/>
                <a:cs typeface="Arial"/>
              </a:rPr>
              <a:t>Slide</a:t>
            </a:r>
          </a:p>
        </p:txBody>
      </p:sp>
      <p:sp>
        <p:nvSpPr>
          <p:cNvPr id="143368" name="Text Box 8"/>
          <p:cNvSpPr txBox="1">
            <a:spLocks noChangeArrowheads="1"/>
          </p:cNvSpPr>
          <p:nvPr/>
        </p:nvSpPr>
        <p:spPr bwMode="auto">
          <a:xfrm>
            <a:off x="6598782" y="201216"/>
            <a:ext cx="1465263" cy="259530"/>
          </a:xfrm>
          <a:prstGeom prst="rect">
            <a:avLst/>
          </a:prstGeom>
          <a:noFill/>
          <a:ln w="19050" algn="ctr">
            <a:noFill/>
            <a:prstDash val="sysDot"/>
            <a:miter lim="800000"/>
            <a:headEnd/>
            <a:tailEnd/>
          </a:ln>
          <a:effectLst/>
        </p:spPr>
        <p:txBody>
          <a:bodyPr wrap="none" lIns="0" tIns="65554" rIns="0" bIns="65554"/>
          <a:lstStyle/>
          <a:p>
            <a:pPr algn="ctr">
              <a:spcBef>
                <a:spcPct val="50000"/>
              </a:spcBef>
              <a:defRPr/>
            </a:pPr>
            <a:r>
              <a:rPr lang="en-GB" sz="1403" b="1" dirty="0">
                <a:solidFill>
                  <a:srgbClr val="FFFFFF"/>
                </a:solidFill>
                <a:latin typeface="Arial"/>
                <a:cs typeface="Arial"/>
              </a:rPr>
              <a:t>Tata Steel</a:t>
            </a:r>
          </a:p>
        </p:txBody>
      </p:sp>
    </p:spTree>
    <p:extLst>
      <p:ext uri="{BB962C8B-B14F-4D97-AF65-F5344CB8AC3E}">
        <p14:creationId xmlns:p14="http://schemas.microsoft.com/office/powerpoint/2010/main" val="21135805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28" r:id="rId1"/>
    <p:sldLayoutId id="2147484829" r:id="rId2"/>
    <p:sldLayoutId id="2147484830" r:id="rId3"/>
    <p:sldLayoutId id="2147484831" r:id="rId4"/>
    <p:sldLayoutId id="2147484832" r:id="rId5"/>
    <p:sldLayoutId id="2147484833" r:id="rId6"/>
    <p:sldLayoutId id="2147484834" r:id="rId7"/>
    <p:sldLayoutId id="2147484835" r:id="rId8"/>
    <p:sldLayoutId id="2147484836" r:id="rId9"/>
    <p:sldLayoutId id="2147484837" r:id="rId10"/>
    <p:sldLayoutId id="2147484838" r:id="rId11"/>
    <p:sldLayoutId id="2147484839" r:id="rId12"/>
    <p:sldLayoutId id="2147484840" r:id="rId13"/>
    <p:sldLayoutId id="2147484841" r:id="rId14"/>
    <p:sldLayoutId id="2147484842" r:id="rId15"/>
    <p:sldLayoutId id="2147484843" r:id="rId16"/>
    <p:sldLayoutId id="2147484844" r:id="rId17"/>
    <p:sldLayoutId id="2147484845" r:id="rId18"/>
    <p:sldLayoutId id="2147484846" r:id="rId19"/>
    <p:sldLayoutId id="2147484847" r:id="rId20"/>
    <p:sldLayoutId id="2147484848" r:id="rId21"/>
    <p:sldLayoutId id="2147484849" r:id="rId22"/>
    <p:sldLayoutId id="2147484850" r:id="rId23"/>
    <p:sldLayoutId id="2147484851" r:id="rId24"/>
    <p:sldLayoutId id="2147484852" r:id="rId25"/>
    <p:sldLayoutId id="2147484853" r:id="rId26"/>
    <p:sldLayoutId id="2147484854" r:id="rId27"/>
    <p:sldLayoutId id="2147484855" r:id="rId28"/>
    <p:sldLayoutId id="2147484856" r:id="rId29"/>
    <p:sldLayoutId id="2147484857" r:id="rId30"/>
    <p:sldLayoutId id="2147484858" r:id="rId31"/>
  </p:sldLayoutIdLst>
  <p:transition>
    <p:fade/>
  </p:transition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526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87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87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87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87" b="1">
          <a:solidFill>
            <a:schemeClr val="tx2"/>
          </a:solidFill>
          <a:latin typeface="Arial" charset="0"/>
          <a:cs typeface="Arial" charset="0"/>
        </a:defRPr>
      </a:lvl5pPr>
      <a:lvl6pPr marL="640397" algn="l" rtl="0" eaLnBrk="1" fontAlgn="base" hangingPunct="1">
        <a:spcBef>
          <a:spcPct val="0"/>
        </a:spcBef>
        <a:spcAft>
          <a:spcPct val="0"/>
        </a:spcAft>
        <a:defRPr sz="3087" b="1">
          <a:solidFill>
            <a:schemeClr val="tx2"/>
          </a:solidFill>
          <a:latin typeface="Arial" charset="0"/>
          <a:cs typeface="Arial" charset="0"/>
        </a:defRPr>
      </a:lvl6pPr>
      <a:lvl7pPr marL="1280803" algn="l" rtl="0" eaLnBrk="1" fontAlgn="base" hangingPunct="1">
        <a:spcBef>
          <a:spcPct val="0"/>
        </a:spcBef>
        <a:spcAft>
          <a:spcPct val="0"/>
        </a:spcAft>
        <a:defRPr sz="3087" b="1">
          <a:solidFill>
            <a:schemeClr val="tx2"/>
          </a:solidFill>
          <a:latin typeface="Arial" charset="0"/>
          <a:cs typeface="Arial" charset="0"/>
        </a:defRPr>
      </a:lvl7pPr>
      <a:lvl8pPr marL="1921204" algn="l" rtl="0" eaLnBrk="1" fontAlgn="base" hangingPunct="1">
        <a:spcBef>
          <a:spcPct val="0"/>
        </a:spcBef>
        <a:spcAft>
          <a:spcPct val="0"/>
        </a:spcAft>
        <a:defRPr sz="3087" b="1">
          <a:solidFill>
            <a:schemeClr val="tx2"/>
          </a:solidFill>
          <a:latin typeface="Arial" charset="0"/>
          <a:cs typeface="Arial" charset="0"/>
        </a:defRPr>
      </a:lvl8pPr>
      <a:lvl9pPr marL="2561604" algn="l" rtl="0" eaLnBrk="1" fontAlgn="base" hangingPunct="1">
        <a:spcBef>
          <a:spcPct val="0"/>
        </a:spcBef>
        <a:spcAft>
          <a:spcPct val="0"/>
        </a:spcAft>
        <a:defRPr sz="3087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51268" indent="-251268" algn="l" rtl="0" eaLnBrk="0" fontAlgn="base" hangingPunct="0">
        <a:spcBef>
          <a:spcPts val="121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sz="2105">
          <a:solidFill>
            <a:schemeClr val="tx1"/>
          </a:solidFill>
          <a:latin typeface="+mn-lt"/>
          <a:ea typeface="+mn-ea"/>
          <a:cs typeface="+mn-cs"/>
        </a:defRPr>
      </a:lvl1pPr>
      <a:lvl2pPr marL="502531" indent="-251268" algn="l" rtl="0" eaLnBrk="0" fontAlgn="base" hangingPunct="0">
        <a:spcBef>
          <a:spcPts val="121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sz="2105">
          <a:solidFill>
            <a:schemeClr val="tx1"/>
          </a:solidFill>
          <a:latin typeface="+mn-lt"/>
          <a:cs typeface="+mn-cs"/>
        </a:defRPr>
      </a:lvl2pPr>
      <a:lvl3pPr marL="1729972" indent="-320196" algn="l" rtl="0" eaLnBrk="0" fontAlgn="base" hangingPunct="0">
        <a:spcBef>
          <a:spcPct val="20000"/>
        </a:spcBef>
        <a:spcAft>
          <a:spcPct val="0"/>
        </a:spcAft>
        <a:buChar char="•"/>
        <a:defRPr sz="2807">
          <a:solidFill>
            <a:schemeClr val="tx1"/>
          </a:solidFill>
          <a:latin typeface="+mn-lt"/>
          <a:cs typeface="+mn-cs"/>
        </a:defRPr>
      </a:lvl3pPr>
      <a:lvl4pPr marL="2301442" indent="-320196" algn="l" rtl="0" eaLnBrk="0" fontAlgn="base" hangingPunct="0">
        <a:spcBef>
          <a:spcPct val="20000"/>
        </a:spcBef>
        <a:spcAft>
          <a:spcPct val="0"/>
        </a:spcAft>
        <a:buChar char="–"/>
        <a:defRPr sz="2807">
          <a:solidFill>
            <a:schemeClr val="tx1"/>
          </a:solidFill>
          <a:latin typeface="+mn-lt"/>
          <a:cs typeface="+mn-cs"/>
        </a:defRPr>
      </a:lvl4pPr>
      <a:lvl5pPr marL="2881799" indent="-320196" algn="l" rtl="0" eaLnBrk="0" fontAlgn="base" hangingPunct="0">
        <a:spcBef>
          <a:spcPct val="20000"/>
        </a:spcBef>
        <a:spcAft>
          <a:spcPct val="0"/>
        </a:spcAft>
        <a:buChar char="»"/>
        <a:defRPr sz="2807">
          <a:solidFill>
            <a:schemeClr val="tx1"/>
          </a:solidFill>
          <a:latin typeface="+mn-lt"/>
          <a:cs typeface="+mn-cs"/>
        </a:defRPr>
      </a:lvl5pPr>
      <a:lvl6pPr marL="3522201" indent="-320196" algn="l" rtl="0" eaLnBrk="1" fontAlgn="base" hangingPunct="1">
        <a:spcBef>
          <a:spcPct val="20000"/>
        </a:spcBef>
        <a:spcAft>
          <a:spcPct val="0"/>
        </a:spcAft>
        <a:buChar char="»"/>
        <a:defRPr sz="2807">
          <a:solidFill>
            <a:schemeClr val="tx1"/>
          </a:solidFill>
          <a:latin typeface="+mn-lt"/>
          <a:cs typeface="+mn-cs"/>
        </a:defRPr>
      </a:lvl6pPr>
      <a:lvl7pPr marL="4162606" indent="-320196" algn="l" rtl="0" eaLnBrk="1" fontAlgn="base" hangingPunct="1">
        <a:spcBef>
          <a:spcPct val="20000"/>
        </a:spcBef>
        <a:spcAft>
          <a:spcPct val="0"/>
        </a:spcAft>
        <a:buChar char="»"/>
        <a:defRPr sz="2807">
          <a:solidFill>
            <a:schemeClr val="tx1"/>
          </a:solidFill>
          <a:latin typeface="+mn-lt"/>
          <a:cs typeface="+mn-cs"/>
        </a:defRPr>
      </a:lvl7pPr>
      <a:lvl8pPr marL="4802998" indent="-320196" algn="l" rtl="0" eaLnBrk="1" fontAlgn="base" hangingPunct="1">
        <a:spcBef>
          <a:spcPct val="20000"/>
        </a:spcBef>
        <a:spcAft>
          <a:spcPct val="0"/>
        </a:spcAft>
        <a:buChar char="»"/>
        <a:defRPr sz="2807">
          <a:solidFill>
            <a:schemeClr val="tx1"/>
          </a:solidFill>
          <a:latin typeface="+mn-lt"/>
          <a:cs typeface="+mn-cs"/>
        </a:defRPr>
      </a:lvl8pPr>
      <a:lvl9pPr marL="5443414" indent="-320196" algn="l" rtl="0" eaLnBrk="1" fontAlgn="base" hangingPunct="1">
        <a:spcBef>
          <a:spcPct val="20000"/>
        </a:spcBef>
        <a:spcAft>
          <a:spcPct val="0"/>
        </a:spcAft>
        <a:buChar char="»"/>
        <a:defRPr sz="2807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nl-NL"/>
      </a:defPPr>
      <a:lvl1pPr marL="0" algn="l" defTabSz="1280803" rtl="0" eaLnBrk="1" latinLnBrk="0" hangingPunct="1">
        <a:defRPr sz="2526" kern="1200">
          <a:solidFill>
            <a:schemeClr val="tx1"/>
          </a:solidFill>
          <a:latin typeface="+mn-lt"/>
          <a:ea typeface="+mn-ea"/>
          <a:cs typeface="+mn-cs"/>
        </a:defRPr>
      </a:lvl1pPr>
      <a:lvl2pPr marL="640397" algn="l" defTabSz="1280803" rtl="0" eaLnBrk="1" latinLnBrk="0" hangingPunct="1">
        <a:defRPr sz="2526" kern="1200">
          <a:solidFill>
            <a:schemeClr val="tx1"/>
          </a:solidFill>
          <a:latin typeface="+mn-lt"/>
          <a:ea typeface="+mn-ea"/>
          <a:cs typeface="+mn-cs"/>
        </a:defRPr>
      </a:lvl2pPr>
      <a:lvl3pPr marL="1280803" algn="l" defTabSz="1280803" rtl="0" eaLnBrk="1" latinLnBrk="0" hangingPunct="1">
        <a:defRPr sz="2526" kern="1200">
          <a:solidFill>
            <a:schemeClr val="tx1"/>
          </a:solidFill>
          <a:latin typeface="+mn-lt"/>
          <a:ea typeface="+mn-ea"/>
          <a:cs typeface="+mn-cs"/>
        </a:defRPr>
      </a:lvl3pPr>
      <a:lvl4pPr marL="1921204" algn="l" defTabSz="1280803" rtl="0" eaLnBrk="1" latinLnBrk="0" hangingPunct="1">
        <a:defRPr sz="2526" kern="1200">
          <a:solidFill>
            <a:schemeClr val="tx1"/>
          </a:solidFill>
          <a:latin typeface="+mn-lt"/>
          <a:ea typeface="+mn-ea"/>
          <a:cs typeface="+mn-cs"/>
        </a:defRPr>
      </a:lvl4pPr>
      <a:lvl5pPr marL="2561604" algn="l" defTabSz="1280803" rtl="0" eaLnBrk="1" latinLnBrk="0" hangingPunct="1">
        <a:defRPr sz="2526" kern="1200">
          <a:solidFill>
            <a:schemeClr val="tx1"/>
          </a:solidFill>
          <a:latin typeface="+mn-lt"/>
          <a:ea typeface="+mn-ea"/>
          <a:cs typeface="+mn-cs"/>
        </a:defRPr>
      </a:lvl5pPr>
      <a:lvl6pPr marL="3201998" algn="l" defTabSz="1280803" rtl="0" eaLnBrk="1" latinLnBrk="0" hangingPunct="1">
        <a:defRPr sz="2526" kern="1200">
          <a:solidFill>
            <a:schemeClr val="tx1"/>
          </a:solidFill>
          <a:latin typeface="+mn-lt"/>
          <a:ea typeface="+mn-ea"/>
          <a:cs typeface="+mn-cs"/>
        </a:defRPr>
      </a:lvl6pPr>
      <a:lvl7pPr marL="3842402" algn="l" defTabSz="1280803" rtl="0" eaLnBrk="1" latinLnBrk="0" hangingPunct="1">
        <a:defRPr sz="2526" kern="1200">
          <a:solidFill>
            <a:schemeClr val="tx1"/>
          </a:solidFill>
          <a:latin typeface="+mn-lt"/>
          <a:ea typeface="+mn-ea"/>
          <a:cs typeface="+mn-cs"/>
        </a:defRPr>
      </a:lvl7pPr>
      <a:lvl8pPr marL="4482800" algn="l" defTabSz="1280803" rtl="0" eaLnBrk="1" latinLnBrk="0" hangingPunct="1">
        <a:defRPr sz="2526" kern="1200">
          <a:solidFill>
            <a:schemeClr val="tx1"/>
          </a:solidFill>
          <a:latin typeface="+mn-lt"/>
          <a:ea typeface="+mn-ea"/>
          <a:cs typeface="+mn-cs"/>
        </a:defRPr>
      </a:lvl8pPr>
      <a:lvl9pPr marL="5123208" algn="l" defTabSz="1280803" rtl="0" eaLnBrk="1" latinLnBrk="0" hangingPunct="1">
        <a:defRPr sz="252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9" hidden="1"/>
          <p:cNvGraphicFramePr>
            <a:graphicFrameLocks noChangeAspect="1"/>
          </p:cNvGraphicFramePr>
          <p:nvPr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4141622442"/>
              </p:ext>
            </p:extLst>
          </p:nvPr>
        </p:nvGraphicFramePr>
        <p:xfrm>
          <a:off x="2573" y="1964"/>
          <a:ext cx="2543" cy="19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4" name="think-cell Slide" r:id="rId31" imgW="360" imgH="360" progId="TCLayout.ActiveDocument.1">
                  <p:embed/>
                </p:oleObj>
              </mc:Choice>
              <mc:Fallback>
                <p:oleObj name="think-cell Slide" r:id="rId31" imgW="360" imgH="360" progId="TCLayout.ActiveDocument.1">
                  <p:embed/>
                  <p:pic>
                    <p:nvPicPr>
                      <p:cNvPr id="1026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573" y="1964"/>
                        <a:ext cx="2543" cy="190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8" name="Picture 9" descr="PP balk"/>
          <p:cNvPicPr>
            <a:picLocks noChangeAspect="1" noChangeArrowheads="1"/>
          </p:cNvPicPr>
          <p:nvPr/>
        </p:nvPicPr>
        <p:blipFill rotWithShape="1">
          <a:blip r:embed="rId33" cstate="print"/>
          <a:srcRect l="4447" t="50000" r="3799" b="8558"/>
          <a:stretch/>
        </p:blipFill>
        <p:spPr bwMode="auto">
          <a:xfrm>
            <a:off x="197435" y="137295"/>
            <a:ext cx="14455203" cy="347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97443" y="711716"/>
            <a:ext cx="14293389" cy="4331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97686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Text</a:t>
            </a:r>
          </a:p>
        </p:txBody>
      </p:sp>
      <p:sp>
        <p:nvSpPr>
          <p:cNvPr id="1030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7423" y="1736960"/>
            <a:ext cx="14234162" cy="58810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76920" rIns="76920" bIns="769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Text</a:t>
            </a:r>
          </a:p>
          <a:p>
            <a:pPr lvl="1"/>
            <a:r>
              <a:rPr lang="en-GB" dirty="0"/>
              <a:t>Text</a:t>
            </a:r>
          </a:p>
        </p:txBody>
      </p:sp>
      <p:sp>
        <p:nvSpPr>
          <p:cNvPr id="14336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3990592" y="201216"/>
            <a:ext cx="806402" cy="259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8844" rIns="97686" bIns="48844" numCol="1" anchor="t" anchorCtr="0" compatLnSpc="1">
            <a:prstTxWarp prst="textNoShape">
              <a:avLst/>
            </a:prstTxWarp>
          </a:bodyPr>
          <a:lstStyle>
            <a:lvl1pPr algn="l">
              <a:defRPr sz="1544" b="1">
                <a:solidFill>
                  <a:schemeClr val="bg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A8358216-6C67-4A53-8449-5CF810184076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43367" name="Text Box 7"/>
          <p:cNvSpPr txBox="1">
            <a:spLocks noChangeArrowheads="1"/>
          </p:cNvSpPr>
          <p:nvPr/>
        </p:nvSpPr>
        <p:spPr bwMode="auto">
          <a:xfrm>
            <a:off x="12264516" y="201216"/>
            <a:ext cx="1615351" cy="259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137090" tIns="68546" rIns="0" bIns="68546"/>
          <a:lstStyle/>
          <a:p>
            <a:pPr algn="r">
              <a:spcBef>
                <a:spcPct val="50000"/>
              </a:spcBef>
              <a:defRPr/>
            </a:pPr>
            <a:r>
              <a:rPr lang="en-GB" sz="1544" b="1" dirty="0">
                <a:solidFill>
                  <a:srgbClr val="FFFFFF"/>
                </a:solidFill>
                <a:latin typeface="Calibri"/>
              </a:rPr>
              <a:t>Slide</a:t>
            </a:r>
          </a:p>
        </p:txBody>
      </p:sp>
      <p:sp>
        <p:nvSpPr>
          <p:cNvPr id="143368" name="Text Box 8"/>
          <p:cNvSpPr txBox="1">
            <a:spLocks noChangeArrowheads="1"/>
          </p:cNvSpPr>
          <p:nvPr/>
        </p:nvSpPr>
        <p:spPr bwMode="auto">
          <a:xfrm>
            <a:off x="6598774" y="201216"/>
            <a:ext cx="1465262" cy="259530"/>
          </a:xfrm>
          <a:prstGeom prst="rect">
            <a:avLst/>
          </a:prstGeom>
          <a:noFill/>
          <a:ln w="19050" algn="ctr">
            <a:noFill/>
            <a:prstDash val="sysDot"/>
            <a:miter lim="800000"/>
            <a:headEnd/>
            <a:tailEnd/>
          </a:ln>
          <a:effectLst/>
        </p:spPr>
        <p:txBody>
          <a:bodyPr wrap="none" lIns="0" tIns="70166" rIns="0" bIns="70166"/>
          <a:lstStyle/>
          <a:p>
            <a:pPr algn="ctr">
              <a:spcBef>
                <a:spcPct val="50000"/>
              </a:spcBef>
              <a:defRPr/>
            </a:pPr>
            <a:r>
              <a:rPr lang="en-GB" sz="1544" b="1" dirty="0">
                <a:solidFill>
                  <a:srgbClr val="FFFFFF"/>
                </a:solidFill>
                <a:latin typeface="Calibri"/>
              </a:rPr>
              <a:t>Tata Steel</a:t>
            </a:r>
          </a:p>
        </p:txBody>
      </p:sp>
    </p:spTree>
    <p:extLst>
      <p:ext uri="{BB962C8B-B14F-4D97-AF65-F5344CB8AC3E}">
        <p14:creationId xmlns:p14="http://schemas.microsoft.com/office/powerpoint/2010/main" val="25649168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63" r:id="rId1"/>
    <p:sldLayoutId id="2147484864" r:id="rId2"/>
    <p:sldLayoutId id="2147484865" r:id="rId3"/>
    <p:sldLayoutId id="2147484866" r:id="rId4"/>
    <p:sldLayoutId id="2147484867" r:id="rId5"/>
    <p:sldLayoutId id="2147484868" r:id="rId6"/>
    <p:sldLayoutId id="2147484869" r:id="rId7"/>
    <p:sldLayoutId id="2147484870" r:id="rId8"/>
    <p:sldLayoutId id="2147484871" r:id="rId9"/>
    <p:sldLayoutId id="2147484872" r:id="rId10"/>
    <p:sldLayoutId id="2147484873" r:id="rId11"/>
    <p:sldLayoutId id="2147484874" r:id="rId12"/>
    <p:sldLayoutId id="2147484875" r:id="rId13"/>
    <p:sldLayoutId id="2147484876" r:id="rId14"/>
    <p:sldLayoutId id="2147484877" r:id="rId15"/>
    <p:sldLayoutId id="2147484878" r:id="rId16"/>
    <p:sldLayoutId id="2147484879" r:id="rId17"/>
    <p:sldLayoutId id="2147484880" r:id="rId18"/>
    <p:sldLayoutId id="2147484881" r:id="rId19"/>
    <p:sldLayoutId id="2147484882" r:id="rId20"/>
    <p:sldLayoutId id="2147484883" r:id="rId21"/>
    <p:sldLayoutId id="2147484884" r:id="rId22"/>
    <p:sldLayoutId id="2147484885" r:id="rId23"/>
    <p:sldLayoutId id="2147484886" r:id="rId24"/>
    <p:sldLayoutId id="2147484887" r:id="rId25"/>
    <p:sldLayoutId id="2147484888" r:id="rId26"/>
    <p:sldLayoutId id="2147484889" r:id="rId27"/>
  </p:sldLayoutIdLst>
  <p:transition>
    <p:fade/>
  </p:transition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7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368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368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368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368" b="1">
          <a:solidFill>
            <a:schemeClr val="tx2"/>
          </a:solidFill>
          <a:latin typeface="Arial" charset="0"/>
          <a:cs typeface="Arial" charset="0"/>
        </a:defRPr>
      </a:lvl5pPr>
      <a:lvl6pPr marL="685435" algn="l" rtl="0" eaLnBrk="1" fontAlgn="base" hangingPunct="1">
        <a:spcBef>
          <a:spcPct val="0"/>
        </a:spcBef>
        <a:spcAft>
          <a:spcPct val="0"/>
        </a:spcAft>
        <a:defRPr sz="3368" b="1">
          <a:solidFill>
            <a:schemeClr val="tx2"/>
          </a:solidFill>
          <a:latin typeface="Arial" charset="0"/>
          <a:cs typeface="Arial" charset="0"/>
        </a:defRPr>
      </a:lvl6pPr>
      <a:lvl7pPr marL="1370872" algn="l" rtl="0" eaLnBrk="1" fontAlgn="base" hangingPunct="1">
        <a:spcBef>
          <a:spcPct val="0"/>
        </a:spcBef>
        <a:spcAft>
          <a:spcPct val="0"/>
        </a:spcAft>
        <a:defRPr sz="3368" b="1">
          <a:solidFill>
            <a:schemeClr val="tx2"/>
          </a:solidFill>
          <a:latin typeface="Arial" charset="0"/>
          <a:cs typeface="Arial" charset="0"/>
        </a:defRPr>
      </a:lvl7pPr>
      <a:lvl8pPr marL="2056306" algn="l" rtl="0" eaLnBrk="1" fontAlgn="base" hangingPunct="1">
        <a:spcBef>
          <a:spcPct val="0"/>
        </a:spcBef>
        <a:spcAft>
          <a:spcPct val="0"/>
        </a:spcAft>
        <a:defRPr sz="3368" b="1">
          <a:solidFill>
            <a:schemeClr val="tx2"/>
          </a:solidFill>
          <a:latin typeface="Arial" charset="0"/>
          <a:cs typeface="Arial" charset="0"/>
        </a:defRPr>
      </a:lvl8pPr>
      <a:lvl9pPr marL="2741741" algn="l" rtl="0" eaLnBrk="1" fontAlgn="base" hangingPunct="1">
        <a:spcBef>
          <a:spcPct val="0"/>
        </a:spcBef>
        <a:spcAft>
          <a:spcPct val="0"/>
        </a:spcAft>
        <a:defRPr sz="3368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68939" indent="-268939" algn="l" rtl="0" eaLnBrk="0" fontAlgn="base" hangingPunct="0">
        <a:spcBef>
          <a:spcPts val="1294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sz="2245">
          <a:solidFill>
            <a:schemeClr val="tx1"/>
          </a:solidFill>
          <a:latin typeface="+mn-lt"/>
          <a:ea typeface="+mn-ea"/>
          <a:cs typeface="+mn-cs"/>
        </a:defRPr>
      </a:lvl1pPr>
      <a:lvl2pPr marL="537876" indent="-268939" algn="l" rtl="0" eaLnBrk="0" fontAlgn="base" hangingPunct="0">
        <a:spcBef>
          <a:spcPts val="1294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sz="2245">
          <a:solidFill>
            <a:schemeClr val="tx1"/>
          </a:solidFill>
          <a:latin typeface="+mn-lt"/>
          <a:cs typeface="+mn-cs"/>
        </a:defRPr>
      </a:lvl2pPr>
      <a:lvl3pPr marL="1851625" indent="-342717" algn="l" rtl="0" eaLnBrk="0" fontAlgn="base" hangingPunct="0">
        <a:spcBef>
          <a:spcPct val="20000"/>
        </a:spcBef>
        <a:spcAft>
          <a:spcPct val="0"/>
        </a:spcAft>
        <a:buChar char="•"/>
        <a:defRPr sz="3087">
          <a:solidFill>
            <a:schemeClr val="tx1"/>
          </a:solidFill>
          <a:latin typeface="+mn-lt"/>
          <a:cs typeface="+mn-cs"/>
        </a:defRPr>
      </a:lvl3pPr>
      <a:lvl4pPr marL="2463285" indent="-342717" algn="l" rtl="0" eaLnBrk="0" fontAlgn="base" hangingPunct="0">
        <a:spcBef>
          <a:spcPct val="20000"/>
        </a:spcBef>
        <a:spcAft>
          <a:spcPct val="0"/>
        </a:spcAft>
        <a:buChar char="–"/>
        <a:defRPr sz="3087">
          <a:solidFill>
            <a:schemeClr val="tx1"/>
          </a:solidFill>
          <a:latin typeface="+mn-lt"/>
          <a:cs typeface="+mn-cs"/>
        </a:defRPr>
      </a:lvl4pPr>
      <a:lvl5pPr marL="3084457" indent="-342717" algn="l" rtl="0" eaLnBrk="0" fontAlgn="base" hangingPunct="0">
        <a:spcBef>
          <a:spcPct val="20000"/>
        </a:spcBef>
        <a:spcAft>
          <a:spcPct val="0"/>
        </a:spcAft>
        <a:buChar char="»"/>
        <a:defRPr sz="3087">
          <a:solidFill>
            <a:schemeClr val="tx1"/>
          </a:solidFill>
          <a:latin typeface="+mn-lt"/>
          <a:cs typeface="+mn-cs"/>
        </a:defRPr>
      </a:lvl5pPr>
      <a:lvl6pPr marL="3769893" indent="-342717" algn="l" rtl="0" eaLnBrk="1" fontAlgn="base" hangingPunct="1">
        <a:spcBef>
          <a:spcPct val="20000"/>
        </a:spcBef>
        <a:spcAft>
          <a:spcPct val="0"/>
        </a:spcAft>
        <a:buChar char="»"/>
        <a:defRPr sz="3087">
          <a:solidFill>
            <a:schemeClr val="tx1"/>
          </a:solidFill>
          <a:latin typeface="+mn-lt"/>
          <a:cs typeface="+mn-cs"/>
        </a:defRPr>
      </a:lvl6pPr>
      <a:lvl7pPr marL="4455328" indent="-342717" algn="l" rtl="0" eaLnBrk="1" fontAlgn="base" hangingPunct="1">
        <a:spcBef>
          <a:spcPct val="20000"/>
        </a:spcBef>
        <a:spcAft>
          <a:spcPct val="0"/>
        </a:spcAft>
        <a:buChar char="»"/>
        <a:defRPr sz="3087">
          <a:solidFill>
            <a:schemeClr val="tx1"/>
          </a:solidFill>
          <a:latin typeface="+mn-lt"/>
          <a:cs typeface="+mn-cs"/>
        </a:defRPr>
      </a:lvl7pPr>
      <a:lvl8pPr marL="5140764" indent="-342717" algn="l" rtl="0" eaLnBrk="1" fontAlgn="base" hangingPunct="1">
        <a:spcBef>
          <a:spcPct val="20000"/>
        </a:spcBef>
        <a:spcAft>
          <a:spcPct val="0"/>
        </a:spcAft>
        <a:buChar char="»"/>
        <a:defRPr sz="3087">
          <a:solidFill>
            <a:schemeClr val="tx1"/>
          </a:solidFill>
          <a:latin typeface="+mn-lt"/>
          <a:cs typeface="+mn-cs"/>
        </a:defRPr>
      </a:lvl8pPr>
      <a:lvl9pPr marL="5826200" indent="-342717" algn="l" rtl="0" eaLnBrk="1" fontAlgn="base" hangingPunct="1">
        <a:spcBef>
          <a:spcPct val="20000"/>
        </a:spcBef>
        <a:spcAft>
          <a:spcPct val="0"/>
        </a:spcAft>
        <a:buChar char="»"/>
        <a:defRPr sz="3087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nl-NL"/>
      </a:defPPr>
      <a:lvl1pPr marL="0" algn="l" defTabSz="1370872" rtl="0" eaLnBrk="1" latinLnBrk="0" hangingPunct="1">
        <a:defRPr sz="2667" kern="1200">
          <a:solidFill>
            <a:schemeClr val="tx1"/>
          </a:solidFill>
          <a:latin typeface="+mn-lt"/>
          <a:ea typeface="+mn-ea"/>
          <a:cs typeface="+mn-cs"/>
        </a:defRPr>
      </a:lvl1pPr>
      <a:lvl2pPr marL="685435" algn="l" defTabSz="1370872" rtl="0" eaLnBrk="1" latinLnBrk="0" hangingPunct="1">
        <a:defRPr sz="2667" kern="1200">
          <a:solidFill>
            <a:schemeClr val="tx1"/>
          </a:solidFill>
          <a:latin typeface="+mn-lt"/>
          <a:ea typeface="+mn-ea"/>
          <a:cs typeface="+mn-cs"/>
        </a:defRPr>
      </a:lvl2pPr>
      <a:lvl3pPr marL="1370872" algn="l" defTabSz="1370872" rtl="0" eaLnBrk="1" latinLnBrk="0" hangingPunct="1">
        <a:defRPr sz="2667" kern="1200">
          <a:solidFill>
            <a:schemeClr val="tx1"/>
          </a:solidFill>
          <a:latin typeface="+mn-lt"/>
          <a:ea typeface="+mn-ea"/>
          <a:cs typeface="+mn-cs"/>
        </a:defRPr>
      </a:lvl3pPr>
      <a:lvl4pPr marL="2056306" algn="l" defTabSz="1370872" rtl="0" eaLnBrk="1" latinLnBrk="0" hangingPunct="1"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1741" algn="l" defTabSz="1370872" rtl="0" eaLnBrk="1" latinLnBrk="0" hangingPunct="1"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427174" algn="l" defTabSz="1370872" rtl="0" eaLnBrk="1" latinLnBrk="0" hangingPunct="1"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4112611" algn="l" defTabSz="1370872" rtl="0" eaLnBrk="1" latinLnBrk="0" hangingPunct="1"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798046" algn="l" defTabSz="1370872" rtl="0" eaLnBrk="1" latinLnBrk="0" hangingPunct="1"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483480" algn="l" defTabSz="1370872" rtl="0" eaLnBrk="1" latinLnBrk="0" hangingPunct="1"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9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303155107"/>
              </p:ext>
            </p:extLst>
          </p:nvPr>
        </p:nvGraphicFramePr>
        <p:xfrm>
          <a:off x="2547" y="1919"/>
          <a:ext cx="2543" cy="19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8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1026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547" y="1919"/>
                        <a:ext cx="2543" cy="190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8" name="Picture 9" descr="PP balk"/>
          <p:cNvPicPr>
            <a:picLocks noChangeAspect="1" noChangeArrowheads="1"/>
          </p:cNvPicPr>
          <p:nvPr/>
        </p:nvPicPr>
        <p:blipFill rotWithShape="1">
          <a:blip r:embed="rId11" cstate="print"/>
          <a:srcRect l="4447" t="50000" r="3799" b="8558"/>
          <a:stretch/>
        </p:blipFill>
        <p:spPr bwMode="auto">
          <a:xfrm>
            <a:off x="197423" y="137295"/>
            <a:ext cx="14455203" cy="347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97433" y="711667"/>
            <a:ext cx="14293389" cy="4331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98956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Text</a:t>
            </a:r>
          </a:p>
        </p:txBody>
      </p:sp>
      <p:sp>
        <p:nvSpPr>
          <p:cNvPr id="1030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7431" y="1736960"/>
            <a:ext cx="14234164" cy="58810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77918" rIns="77918" bIns="7791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Text</a:t>
            </a:r>
          </a:p>
          <a:p>
            <a:pPr lvl="1"/>
            <a:r>
              <a:rPr lang="en-GB" dirty="0"/>
              <a:t>Text</a:t>
            </a:r>
          </a:p>
        </p:txBody>
      </p:sp>
      <p:sp>
        <p:nvSpPr>
          <p:cNvPr id="14336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3990563" y="201216"/>
            <a:ext cx="806402" cy="259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9478" rIns="98956" bIns="49478" numCol="1" anchor="t" anchorCtr="0" compatLnSpc="1">
            <a:prstTxWarp prst="textNoShape">
              <a:avLst/>
            </a:prstTxWarp>
          </a:bodyPr>
          <a:lstStyle>
            <a:lvl1pPr algn="l">
              <a:defRPr sz="1544" b="1">
                <a:solidFill>
                  <a:schemeClr val="bg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A8358216-6C67-4A53-8449-5CF810184076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43366" name="Rectangle 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33423" y="201216"/>
            <a:ext cx="5766927" cy="259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8956" tIns="49478" rIns="98956" bIns="49478" numCol="1" anchor="t" anchorCtr="0" compatLnSpc="1">
            <a:prstTxWarp prst="textNoShape">
              <a:avLst/>
            </a:prstTxWarp>
          </a:bodyPr>
          <a:lstStyle>
            <a:lvl1pPr algn="l">
              <a:defRPr sz="1544" b="1">
                <a:solidFill>
                  <a:schemeClr val="bg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43367" name="Text Box 7"/>
          <p:cNvSpPr txBox="1">
            <a:spLocks noChangeArrowheads="1"/>
          </p:cNvSpPr>
          <p:nvPr/>
        </p:nvSpPr>
        <p:spPr bwMode="auto">
          <a:xfrm>
            <a:off x="12264508" y="201216"/>
            <a:ext cx="1615351" cy="259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138872" tIns="69437" rIns="0" bIns="69437"/>
          <a:lstStyle/>
          <a:p>
            <a:pPr algn="r">
              <a:spcBef>
                <a:spcPct val="50000"/>
              </a:spcBef>
              <a:defRPr/>
            </a:pPr>
            <a:r>
              <a:rPr lang="en-GB" sz="1544" b="1" dirty="0">
                <a:solidFill>
                  <a:schemeClr val="bg1"/>
                </a:solidFill>
                <a:latin typeface="Arial" charset="0"/>
                <a:cs typeface="Arial" charset="0"/>
              </a:rPr>
              <a:t>Slide</a:t>
            </a:r>
          </a:p>
        </p:txBody>
      </p:sp>
      <p:sp>
        <p:nvSpPr>
          <p:cNvPr id="143368" name="Text Box 8"/>
          <p:cNvSpPr txBox="1">
            <a:spLocks noChangeArrowheads="1"/>
          </p:cNvSpPr>
          <p:nvPr/>
        </p:nvSpPr>
        <p:spPr bwMode="auto">
          <a:xfrm>
            <a:off x="6598777" y="201216"/>
            <a:ext cx="1465263" cy="259530"/>
          </a:xfrm>
          <a:prstGeom prst="rect">
            <a:avLst/>
          </a:prstGeom>
          <a:noFill/>
          <a:ln w="19050" algn="ctr">
            <a:noFill/>
            <a:prstDash val="sysDot"/>
            <a:miter lim="800000"/>
            <a:headEnd/>
            <a:tailEnd/>
          </a:ln>
          <a:effectLst/>
        </p:spPr>
        <p:txBody>
          <a:bodyPr wrap="none" lIns="0" tIns="71077" rIns="0" bIns="71077"/>
          <a:lstStyle/>
          <a:p>
            <a:pPr algn="ctr">
              <a:spcBef>
                <a:spcPct val="50000"/>
              </a:spcBef>
              <a:defRPr/>
            </a:pPr>
            <a:r>
              <a:rPr lang="en-GB" sz="1544" b="1" dirty="0">
                <a:solidFill>
                  <a:schemeClr val="bg1"/>
                </a:solidFill>
                <a:latin typeface="Arial" charset="0"/>
                <a:cs typeface="Arial" charset="0"/>
              </a:rPr>
              <a:t>Tata Steel</a:t>
            </a:r>
          </a:p>
        </p:txBody>
      </p:sp>
    </p:spTree>
    <p:extLst>
      <p:ext uri="{BB962C8B-B14F-4D97-AF65-F5344CB8AC3E}">
        <p14:creationId xmlns:p14="http://schemas.microsoft.com/office/powerpoint/2010/main" val="40426424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91" r:id="rId1"/>
    <p:sldLayoutId id="2147484892" r:id="rId2"/>
    <p:sldLayoutId id="2147484893" r:id="rId3"/>
    <p:sldLayoutId id="2147484894" r:id="rId4"/>
    <p:sldLayoutId id="2147484895" r:id="rId5"/>
  </p:sldLayoutIdLst>
  <p:transition>
    <p:fade/>
  </p:transition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7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368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368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368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368" b="1">
          <a:solidFill>
            <a:schemeClr val="tx2"/>
          </a:solidFill>
          <a:latin typeface="Arial" charset="0"/>
          <a:cs typeface="Arial" charset="0"/>
        </a:defRPr>
      </a:lvl5pPr>
      <a:lvl6pPr marL="694339" algn="l" rtl="0" eaLnBrk="1" fontAlgn="base" hangingPunct="1">
        <a:spcBef>
          <a:spcPct val="0"/>
        </a:spcBef>
        <a:spcAft>
          <a:spcPct val="0"/>
        </a:spcAft>
        <a:defRPr sz="3368" b="1">
          <a:solidFill>
            <a:schemeClr val="tx2"/>
          </a:solidFill>
          <a:latin typeface="Arial" charset="0"/>
          <a:cs typeface="Arial" charset="0"/>
        </a:defRPr>
      </a:lvl6pPr>
      <a:lvl7pPr marL="1388678" algn="l" rtl="0" eaLnBrk="1" fontAlgn="base" hangingPunct="1">
        <a:spcBef>
          <a:spcPct val="0"/>
        </a:spcBef>
        <a:spcAft>
          <a:spcPct val="0"/>
        </a:spcAft>
        <a:defRPr sz="3368" b="1">
          <a:solidFill>
            <a:schemeClr val="tx2"/>
          </a:solidFill>
          <a:latin typeface="Arial" charset="0"/>
          <a:cs typeface="Arial" charset="0"/>
        </a:defRPr>
      </a:lvl7pPr>
      <a:lvl8pPr marL="2083018" algn="l" rtl="0" eaLnBrk="1" fontAlgn="base" hangingPunct="1">
        <a:spcBef>
          <a:spcPct val="0"/>
        </a:spcBef>
        <a:spcAft>
          <a:spcPct val="0"/>
        </a:spcAft>
        <a:defRPr sz="3368" b="1">
          <a:solidFill>
            <a:schemeClr val="tx2"/>
          </a:solidFill>
          <a:latin typeface="Arial" charset="0"/>
          <a:cs typeface="Arial" charset="0"/>
        </a:defRPr>
      </a:lvl8pPr>
      <a:lvl9pPr marL="2777356" algn="l" rtl="0" eaLnBrk="1" fontAlgn="base" hangingPunct="1">
        <a:spcBef>
          <a:spcPct val="0"/>
        </a:spcBef>
        <a:spcAft>
          <a:spcPct val="0"/>
        </a:spcAft>
        <a:defRPr sz="3368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72433" indent="-272433" algn="l" rtl="0" eaLnBrk="0" fontAlgn="base" hangingPunct="0">
        <a:spcBef>
          <a:spcPts val="1311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sz="2245">
          <a:solidFill>
            <a:schemeClr val="tx1"/>
          </a:solidFill>
          <a:latin typeface="+mn-lt"/>
          <a:ea typeface="+mn-ea"/>
          <a:cs typeface="+mn-cs"/>
        </a:defRPr>
      </a:lvl1pPr>
      <a:lvl2pPr marL="544863" indent="-272433" algn="l" rtl="0" eaLnBrk="0" fontAlgn="base" hangingPunct="0">
        <a:spcBef>
          <a:spcPts val="1311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sz="2245">
          <a:solidFill>
            <a:schemeClr val="tx1"/>
          </a:solidFill>
          <a:latin typeface="+mn-lt"/>
          <a:cs typeface="+mn-cs"/>
        </a:defRPr>
      </a:lvl2pPr>
      <a:lvl3pPr marL="1875680" indent="-347169" algn="l" rtl="0" eaLnBrk="0" fontAlgn="base" hangingPunct="0">
        <a:spcBef>
          <a:spcPct val="20000"/>
        </a:spcBef>
        <a:spcAft>
          <a:spcPct val="0"/>
        </a:spcAft>
        <a:buChar char="•"/>
        <a:defRPr sz="3087">
          <a:solidFill>
            <a:schemeClr val="tx1"/>
          </a:solidFill>
          <a:latin typeface="+mn-lt"/>
          <a:cs typeface="+mn-cs"/>
        </a:defRPr>
      </a:lvl3pPr>
      <a:lvl4pPr marL="2495282" indent="-347169" algn="l" rtl="0" eaLnBrk="0" fontAlgn="base" hangingPunct="0">
        <a:spcBef>
          <a:spcPct val="20000"/>
        </a:spcBef>
        <a:spcAft>
          <a:spcPct val="0"/>
        </a:spcAft>
        <a:buChar char="–"/>
        <a:defRPr sz="3087">
          <a:solidFill>
            <a:schemeClr val="tx1"/>
          </a:solidFill>
          <a:latin typeface="+mn-lt"/>
          <a:cs typeface="+mn-cs"/>
        </a:defRPr>
      </a:lvl4pPr>
      <a:lvl5pPr marL="3124525" indent="-347169" algn="l" rtl="0" eaLnBrk="0" fontAlgn="base" hangingPunct="0">
        <a:spcBef>
          <a:spcPct val="20000"/>
        </a:spcBef>
        <a:spcAft>
          <a:spcPct val="0"/>
        </a:spcAft>
        <a:buChar char="»"/>
        <a:defRPr sz="3087">
          <a:solidFill>
            <a:schemeClr val="tx1"/>
          </a:solidFill>
          <a:latin typeface="+mn-lt"/>
          <a:cs typeface="+mn-cs"/>
        </a:defRPr>
      </a:lvl5pPr>
      <a:lvl6pPr marL="3818864" indent="-347169" algn="l" rtl="0" eaLnBrk="1" fontAlgn="base" hangingPunct="1">
        <a:spcBef>
          <a:spcPct val="20000"/>
        </a:spcBef>
        <a:spcAft>
          <a:spcPct val="0"/>
        </a:spcAft>
        <a:buChar char="»"/>
        <a:defRPr sz="3087">
          <a:solidFill>
            <a:schemeClr val="tx1"/>
          </a:solidFill>
          <a:latin typeface="+mn-lt"/>
          <a:cs typeface="+mn-cs"/>
        </a:defRPr>
      </a:lvl6pPr>
      <a:lvl7pPr marL="4513203" indent="-347169" algn="l" rtl="0" eaLnBrk="1" fontAlgn="base" hangingPunct="1">
        <a:spcBef>
          <a:spcPct val="20000"/>
        </a:spcBef>
        <a:spcAft>
          <a:spcPct val="0"/>
        </a:spcAft>
        <a:buChar char="»"/>
        <a:defRPr sz="3087">
          <a:solidFill>
            <a:schemeClr val="tx1"/>
          </a:solidFill>
          <a:latin typeface="+mn-lt"/>
          <a:cs typeface="+mn-cs"/>
        </a:defRPr>
      </a:lvl7pPr>
      <a:lvl8pPr marL="5207544" indent="-347169" algn="l" rtl="0" eaLnBrk="1" fontAlgn="base" hangingPunct="1">
        <a:spcBef>
          <a:spcPct val="20000"/>
        </a:spcBef>
        <a:spcAft>
          <a:spcPct val="0"/>
        </a:spcAft>
        <a:buChar char="»"/>
        <a:defRPr sz="3087">
          <a:solidFill>
            <a:schemeClr val="tx1"/>
          </a:solidFill>
          <a:latin typeface="+mn-lt"/>
          <a:cs typeface="+mn-cs"/>
        </a:defRPr>
      </a:lvl8pPr>
      <a:lvl9pPr marL="5901883" indent="-347169" algn="l" rtl="0" eaLnBrk="1" fontAlgn="base" hangingPunct="1">
        <a:spcBef>
          <a:spcPct val="20000"/>
        </a:spcBef>
        <a:spcAft>
          <a:spcPct val="0"/>
        </a:spcAft>
        <a:buChar char="»"/>
        <a:defRPr sz="3087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nl-NL"/>
      </a:defPPr>
      <a:lvl1pPr marL="0" algn="l" defTabSz="1388678" rtl="0" eaLnBrk="1" latinLnBrk="0" hangingPunct="1">
        <a:defRPr sz="2667" kern="1200">
          <a:solidFill>
            <a:schemeClr val="tx1"/>
          </a:solidFill>
          <a:latin typeface="+mn-lt"/>
          <a:ea typeface="+mn-ea"/>
          <a:cs typeface="+mn-cs"/>
        </a:defRPr>
      </a:lvl1pPr>
      <a:lvl2pPr marL="694339" algn="l" defTabSz="1388678" rtl="0" eaLnBrk="1" latinLnBrk="0" hangingPunct="1">
        <a:defRPr sz="2667" kern="1200">
          <a:solidFill>
            <a:schemeClr val="tx1"/>
          </a:solidFill>
          <a:latin typeface="+mn-lt"/>
          <a:ea typeface="+mn-ea"/>
          <a:cs typeface="+mn-cs"/>
        </a:defRPr>
      </a:lvl2pPr>
      <a:lvl3pPr marL="1388678" algn="l" defTabSz="1388678" rtl="0" eaLnBrk="1" latinLnBrk="0" hangingPunct="1">
        <a:defRPr sz="2667" kern="1200">
          <a:solidFill>
            <a:schemeClr val="tx1"/>
          </a:solidFill>
          <a:latin typeface="+mn-lt"/>
          <a:ea typeface="+mn-ea"/>
          <a:cs typeface="+mn-cs"/>
        </a:defRPr>
      </a:lvl3pPr>
      <a:lvl4pPr marL="2083018" algn="l" defTabSz="1388678" rtl="0" eaLnBrk="1" latinLnBrk="0" hangingPunct="1"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77356" algn="l" defTabSz="1388678" rtl="0" eaLnBrk="1" latinLnBrk="0" hangingPunct="1"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471695" algn="l" defTabSz="1388678" rtl="0" eaLnBrk="1" latinLnBrk="0" hangingPunct="1"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4166034" algn="l" defTabSz="1388678" rtl="0" eaLnBrk="1" latinLnBrk="0" hangingPunct="1"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860374" algn="l" defTabSz="1388678" rtl="0" eaLnBrk="1" latinLnBrk="0" hangingPunct="1"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554713" algn="l" defTabSz="1388678" rtl="0" eaLnBrk="1" latinLnBrk="0" hangingPunct="1"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9" hidden="1"/>
          <p:cNvGraphicFramePr>
            <a:graphicFrameLocks noChangeAspect="1"/>
          </p:cNvGraphicFramePr>
          <p:nvPr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355354657"/>
              </p:ext>
            </p:extLst>
          </p:nvPr>
        </p:nvGraphicFramePr>
        <p:xfrm>
          <a:off x="2548" y="1918"/>
          <a:ext cx="2543" cy="19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6" name="think-cell Slide" r:id="rId30" imgW="360" imgH="360" progId="TCLayout.ActiveDocument.1">
                  <p:embed/>
                </p:oleObj>
              </mc:Choice>
              <mc:Fallback>
                <p:oleObj name="think-cell Slide" r:id="rId30" imgW="360" imgH="360" progId="TCLayout.ActiveDocument.1">
                  <p:embed/>
                  <p:pic>
                    <p:nvPicPr>
                      <p:cNvPr id="1026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548" y="1918"/>
                        <a:ext cx="2543" cy="190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8" name="Picture 9" descr="PP balk"/>
          <p:cNvPicPr>
            <a:picLocks noChangeAspect="1" noChangeArrowheads="1"/>
          </p:cNvPicPr>
          <p:nvPr/>
        </p:nvPicPr>
        <p:blipFill rotWithShape="1">
          <a:blip r:embed="rId32" cstate="print"/>
          <a:srcRect l="4447" t="50000" r="3799" b="8558"/>
          <a:stretch/>
        </p:blipFill>
        <p:spPr bwMode="auto">
          <a:xfrm>
            <a:off x="197423" y="137295"/>
            <a:ext cx="14455204" cy="347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97426" y="711669"/>
            <a:ext cx="14293389" cy="4331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91422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Text</a:t>
            </a:r>
          </a:p>
        </p:txBody>
      </p:sp>
      <p:sp>
        <p:nvSpPr>
          <p:cNvPr id="1030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7423" y="1736960"/>
            <a:ext cx="14234162" cy="58810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71987" rIns="71987" bIns="7198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Text</a:t>
            </a:r>
          </a:p>
          <a:p>
            <a:pPr lvl="1"/>
            <a:r>
              <a:rPr lang="en-GB" dirty="0"/>
              <a:t>Text</a:t>
            </a:r>
          </a:p>
        </p:txBody>
      </p:sp>
      <p:sp>
        <p:nvSpPr>
          <p:cNvPr id="14336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3990568" y="201216"/>
            <a:ext cx="806402" cy="259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12" rIns="91422" bIns="45712" numCol="1" anchor="t" anchorCtr="0" compatLnSpc="1">
            <a:prstTxWarp prst="textNoShape">
              <a:avLst/>
            </a:prstTxWarp>
          </a:bodyPr>
          <a:lstStyle>
            <a:lvl1pPr algn="l">
              <a:defRPr sz="1407" b="1">
                <a:solidFill>
                  <a:schemeClr val="bg1"/>
                </a:solidFill>
                <a:latin typeface="Arial" charset="0"/>
                <a:cs typeface="Arial" charset="0"/>
              </a:defRPr>
            </a:lvl1pPr>
          </a:lstStyle>
          <a:p>
            <a:pPr defTabSz="1286610">
              <a:defRPr/>
            </a:pPr>
            <a:fld id="{A8358216-6C67-4A53-8449-5CF810184076}" type="slidenum">
              <a:rPr lang="en-GB" smtClean="0">
                <a:solidFill>
                  <a:srgbClr val="FFFFFF"/>
                </a:solidFill>
              </a:rPr>
              <a:pPr defTabSz="1286610"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43366" name="Rectangle 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33425" y="201216"/>
            <a:ext cx="5766928" cy="259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2" tIns="45712" rIns="91422" bIns="45712" numCol="1" anchor="t" anchorCtr="0" compatLnSpc="1">
            <a:prstTxWarp prst="textNoShape">
              <a:avLst/>
            </a:prstTxWarp>
          </a:bodyPr>
          <a:lstStyle>
            <a:lvl1pPr algn="l">
              <a:defRPr sz="1407" b="1">
                <a:solidFill>
                  <a:schemeClr val="bg1"/>
                </a:solidFill>
                <a:latin typeface="Arial" charset="0"/>
                <a:cs typeface="Arial" charset="0"/>
              </a:defRPr>
            </a:lvl1pPr>
          </a:lstStyle>
          <a:p>
            <a:pPr defTabSz="1286610">
              <a:defRPr/>
            </a:pP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43367" name="Text Box 7"/>
          <p:cNvSpPr txBox="1">
            <a:spLocks noChangeArrowheads="1"/>
          </p:cNvSpPr>
          <p:nvPr/>
        </p:nvSpPr>
        <p:spPr bwMode="auto">
          <a:xfrm>
            <a:off x="12264508" y="201216"/>
            <a:ext cx="1615351" cy="259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128655" tIns="64330" rIns="0" bIns="64330"/>
          <a:lstStyle/>
          <a:p>
            <a:pPr algn="r" defTabSz="1286610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GB" sz="1407" b="1" dirty="0">
                <a:solidFill>
                  <a:srgbClr val="FFFFFF"/>
                </a:solidFill>
              </a:rPr>
              <a:t>Slide</a:t>
            </a:r>
          </a:p>
        </p:txBody>
      </p:sp>
      <p:sp>
        <p:nvSpPr>
          <p:cNvPr id="143368" name="Text Box 8"/>
          <p:cNvSpPr txBox="1">
            <a:spLocks noChangeArrowheads="1"/>
          </p:cNvSpPr>
          <p:nvPr/>
        </p:nvSpPr>
        <p:spPr bwMode="auto">
          <a:xfrm>
            <a:off x="6598771" y="201216"/>
            <a:ext cx="1465263" cy="259530"/>
          </a:xfrm>
          <a:prstGeom prst="rect">
            <a:avLst/>
          </a:prstGeom>
          <a:noFill/>
          <a:ln w="19050" algn="ctr">
            <a:noFill/>
            <a:prstDash val="sysDot"/>
            <a:miter lim="800000"/>
            <a:headEnd/>
            <a:tailEnd/>
          </a:ln>
          <a:effectLst/>
        </p:spPr>
        <p:txBody>
          <a:bodyPr wrap="none" lIns="0" tIns="65848" rIns="0" bIns="65848"/>
          <a:lstStyle/>
          <a:p>
            <a:pPr algn="ctr" defTabSz="1286610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GB" sz="1407" b="1" dirty="0">
                <a:solidFill>
                  <a:srgbClr val="FFFFFF"/>
                </a:solidFill>
              </a:rPr>
              <a:t>Tata Steel</a:t>
            </a:r>
          </a:p>
        </p:txBody>
      </p:sp>
    </p:spTree>
    <p:extLst>
      <p:ext uri="{BB962C8B-B14F-4D97-AF65-F5344CB8AC3E}">
        <p14:creationId xmlns:p14="http://schemas.microsoft.com/office/powerpoint/2010/main" val="8762617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98" r:id="rId1"/>
    <p:sldLayoutId id="2147484899" r:id="rId2"/>
    <p:sldLayoutId id="2147484900" r:id="rId3"/>
    <p:sldLayoutId id="2147484901" r:id="rId4"/>
    <p:sldLayoutId id="2147484902" r:id="rId5"/>
    <p:sldLayoutId id="2147484903" r:id="rId6"/>
    <p:sldLayoutId id="2147484904" r:id="rId7"/>
    <p:sldLayoutId id="2147484905" r:id="rId8"/>
    <p:sldLayoutId id="2147484906" r:id="rId9"/>
    <p:sldLayoutId id="2147484907" r:id="rId10"/>
    <p:sldLayoutId id="2147484908" r:id="rId11"/>
    <p:sldLayoutId id="2147484909" r:id="rId12"/>
    <p:sldLayoutId id="2147484910" r:id="rId13"/>
    <p:sldLayoutId id="2147484911" r:id="rId14"/>
    <p:sldLayoutId id="2147484912" r:id="rId15"/>
    <p:sldLayoutId id="2147484913" r:id="rId16"/>
    <p:sldLayoutId id="2147484914" r:id="rId17"/>
    <p:sldLayoutId id="2147484915" r:id="rId18"/>
    <p:sldLayoutId id="2147484916" r:id="rId19"/>
    <p:sldLayoutId id="2147484917" r:id="rId20"/>
    <p:sldLayoutId id="2147484918" r:id="rId21"/>
    <p:sldLayoutId id="2147484919" r:id="rId22"/>
    <p:sldLayoutId id="2147484920" r:id="rId23"/>
    <p:sldLayoutId id="2147484921" r:id="rId24"/>
    <p:sldLayoutId id="2147484922" r:id="rId25"/>
    <p:sldLayoutId id="2147484923" r:id="rId26"/>
  </p:sldLayoutIdLst>
  <p:transition>
    <p:fade/>
  </p:transition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532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96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96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96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96" b="1">
          <a:solidFill>
            <a:schemeClr val="tx2"/>
          </a:solidFill>
          <a:latin typeface="Arial" charset="0"/>
          <a:cs typeface="Arial" charset="0"/>
        </a:defRPr>
      </a:lvl5pPr>
      <a:lvl6pPr marL="643273" algn="l" rtl="0" eaLnBrk="1" fontAlgn="base" hangingPunct="1">
        <a:spcBef>
          <a:spcPct val="0"/>
        </a:spcBef>
        <a:spcAft>
          <a:spcPct val="0"/>
        </a:spcAft>
        <a:defRPr sz="3096" b="1">
          <a:solidFill>
            <a:schemeClr val="tx2"/>
          </a:solidFill>
          <a:latin typeface="Arial" charset="0"/>
          <a:cs typeface="Arial" charset="0"/>
        </a:defRPr>
      </a:lvl6pPr>
      <a:lvl7pPr marL="1286550" algn="l" rtl="0" eaLnBrk="1" fontAlgn="base" hangingPunct="1">
        <a:spcBef>
          <a:spcPct val="0"/>
        </a:spcBef>
        <a:spcAft>
          <a:spcPct val="0"/>
        </a:spcAft>
        <a:defRPr sz="3096" b="1">
          <a:solidFill>
            <a:schemeClr val="tx2"/>
          </a:solidFill>
          <a:latin typeface="Arial" charset="0"/>
          <a:cs typeface="Arial" charset="0"/>
        </a:defRPr>
      </a:lvl7pPr>
      <a:lvl8pPr marL="1929826" algn="l" rtl="0" eaLnBrk="1" fontAlgn="base" hangingPunct="1">
        <a:spcBef>
          <a:spcPct val="0"/>
        </a:spcBef>
        <a:spcAft>
          <a:spcPct val="0"/>
        </a:spcAft>
        <a:defRPr sz="3096" b="1">
          <a:solidFill>
            <a:schemeClr val="tx2"/>
          </a:solidFill>
          <a:latin typeface="Arial" charset="0"/>
          <a:cs typeface="Arial" charset="0"/>
        </a:defRPr>
      </a:lvl8pPr>
      <a:lvl9pPr marL="2573098" algn="l" rtl="0" eaLnBrk="1" fontAlgn="base" hangingPunct="1">
        <a:spcBef>
          <a:spcPct val="0"/>
        </a:spcBef>
        <a:spcAft>
          <a:spcPct val="0"/>
        </a:spcAft>
        <a:defRPr sz="3096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52398" indent="-252398" algn="l" rtl="0" eaLnBrk="0" fontAlgn="base" hangingPunct="0">
        <a:spcBef>
          <a:spcPts val="1214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sz="2111">
          <a:solidFill>
            <a:schemeClr val="tx1"/>
          </a:solidFill>
          <a:latin typeface="+mn-lt"/>
          <a:ea typeface="+mn-ea"/>
          <a:cs typeface="+mn-cs"/>
        </a:defRPr>
      </a:lvl1pPr>
      <a:lvl2pPr marL="504793" indent="-252398" algn="l" rtl="0" eaLnBrk="0" fontAlgn="base" hangingPunct="0">
        <a:spcBef>
          <a:spcPts val="1214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sz="2111">
          <a:solidFill>
            <a:schemeClr val="tx1"/>
          </a:solidFill>
          <a:latin typeface="+mn-lt"/>
          <a:cs typeface="+mn-cs"/>
        </a:defRPr>
      </a:lvl2pPr>
      <a:lvl3pPr marL="1737735" indent="-321637" algn="l" rtl="0" eaLnBrk="0" fontAlgn="base" hangingPunct="0">
        <a:spcBef>
          <a:spcPct val="20000"/>
        </a:spcBef>
        <a:spcAft>
          <a:spcPct val="0"/>
        </a:spcAft>
        <a:buChar char="•"/>
        <a:defRPr sz="2815">
          <a:solidFill>
            <a:schemeClr val="tx1"/>
          </a:solidFill>
          <a:latin typeface="+mn-lt"/>
          <a:cs typeface="+mn-cs"/>
        </a:defRPr>
      </a:lvl3pPr>
      <a:lvl4pPr marL="2311770" indent="-321637" algn="l" rtl="0" eaLnBrk="0" fontAlgn="base" hangingPunct="0">
        <a:spcBef>
          <a:spcPct val="20000"/>
        </a:spcBef>
        <a:spcAft>
          <a:spcPct val="0"/>
        </a:spcAft>
        <a:buChar char="–"/>
        <a:defRPr sz="2815">
          <a:solidFill>
            <a:schemeClr val="tx1"/>
          </a:solidFill>
          <a:latin typeface="+mn-lt"/>
          <a:cs typeface="+mn-cs"/>
        </a:defRPr>
      </a:lvl4pPr>
      <a:lvl5pPr marL="2894737" indent="-321637" algn="l" rtl="0" eaLnBrk="0" fontAlgn="base" hangingPunct="0">
        <a:spcBef>
          <a:spcPct val="20000"/>
        </a:spcBef>
        <a:spcAft>
          <a:spcPct val="0"/>
        </a:spcAft>
        <a:buChar char="»"/>
        <a:defRPr sz="2815">
          <a:solidFill>
            <a:schemeClr val="tx1"/>
          </a:solidFill>
          <a:latin typeface="+mn-lt"/>
          <a:cs typeface="+mn-cs"/>
        </a:defRPr>
      </a:lvl5pPr>
      <a:lvl6pPr marL="3538010" indent="-321637" algn="l" rtl="0" eaLnBrk="1" fontAlgn="base" hangingPunct="1">
        <a:spcBef>
          <a:spcPct val="20000"/>
        </a:spcBef>
        <a:spcAft>
          <a:spcPct val="0"/>
        </a:spcAft>
        <a:buChar char="»"/>
        <a:defRPr sz="2815">
          <a:solidFill>
            <a:schemeClr val="tx1"/>
          </a:solidFill>
          <a:latin typeface="+mn-lt"/>
          <a:cs typeface="+mn-cs"/>
        </a:defRPr>
      </a:lvl6pPr>
      <a:lvl7pPr marL="4181282" indent="-321637" algn="l" rtl="0" eaLnBrk="1" fontAlgn="base" hangingPunct="1">
        <a:spcBef>
          <a:spcPct val="20000"/>
        </a:spcBef>
        <a:spcAft>
          <a:spcPct val="0"/>
        </a:spcAft>
        <a:buChar char="»"/>
        <a:defRPr sz="2815">
          <a:solidFill>
            <a:schemeClr val="tx1"/>
          </a:solidFill>
          <a:latin typeface="+mn-lt"/>
          <a:cs typeface="+mn-cs"/>
        </a:defRPr>
      </a:lvl7pPr>
      <a:lvl8pPr marL="4824558" indent="-321637" algn="l" rtl="0" eaLnBrk="1" fontAlgn="base" hangingPunct="1">
        <a:spcBef>
          <a:spcPct val="20000"/>
        </a:spcBef>
        <a:spcAft>
          <a:spcPct val="0"/>
        </a:spcAft>
        <a:buChar char="»"/>
        <a:defRPr sz="2815">
          <a:solidFill>
            <a:schemeClr val="tx1"/>
          </a:solidFill>
          <a:latin typeface="+mn-lt"/>
          <a:cs typeface="+mn-cs"/>
        </a:defRPr>
      </a:lvl8pPr>
      <a:lvl9pPr marL="5467836" indent="-321637" algn="l" rtl="0" eaLnBrk="1" fontAlgn="base" hangingPunct="1">
        <a:spcBef>
          <a:spcPct val="20000"/>
        </a:spcBef>
        <a:spcAft>
          <a:spcPct val="0"/>
        </a:spcAft>
        <a:buChar char="»"/>
        <a:defRPr sz="2815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nl-NL"/>
      </a:defPPr>
      <a:lvl1pPr marL="0" algn="l" defTabSz="1286550" rtl="0" eaLnBrk="1" latinLnBrk="0" hangingPunct="1">
        <a:defRPr sz="2532" kern="1200">
          <a:solidFill>
            <a:schemeClr val="tx1"/>
          </a:solidFill>
          <a:latin typeface="+mn-lt"/>
          <a:ea typeface="+mn-ea"/>
          <a:cs typeface="+mn-cs"/>
        </a:defRPr>
      </a:lvl1pPr>
      <a:lvl2pPr marL="643273" algn="l" defTabSz="1286550" rtl="0" eaLnBrk="1" latinLnBrk="0" hangingPunct="1">
        <a:defRPr sz="2532" kern="1200">
          <a:solidFill>
            <a:schemeClr val="tx1"/>
          </a:solidFill>
          <a:latin typeface="+mn-lt"/>
          <a:ea typeface="+mn-ea"/>
          <a:cs typeface="+mn-cs"/>
        </a:defRPr>
      </a:lvl2pPr>
      <a:lvl3pPr marL="1286550" algn="l" defTabSz="1286550" rtl="0" eaLnBrk="1" latinLnBrk="0" hangingPunct="1">
        <a:defRPr sz="2532" kern="1200">
          <a:solidFill>
            <a:schemeClr val="tx1"/>
          </a:solidFill>
          <a:latin typeface="+mn-lt"/>
          <a:ea typeface="+mn-ea"/>
          <a:cs typeface="+mn-cs"/>
        </a:defRPr>
      </a:lvl3pPr>
      <a:lvl4pPr marL="1929826" algn="l" defTabSz="1286550" rtl="0" eaLnBrk="1" latinLnBrk="0" hangingPunct="1">
        <a:defRPr sz="2532" kern="1200">
          <a:solidFill>
            <a:schemeClr val="tx1"/>
          </a:solidFill>
          <a:latin typeface="+mn-lt"/>
          <a:ea typeface="+mn-ea"/>
          <a:cs typeface="+mn-cs"/>
        </a:defRPr>
      </a:lvl4pPr>
      <a:lvl5pPr marL="2573098" algn="l" defTabSz="1286550" rtl="0" eaLnBrk="1" latinLnBrk="0" hangingPunct="1">
        <a:defRPr sz="2532" kern="1200">
          <a:solidFill>
            <a:schemeClr val="tx1"/>
          </a:solidFill>
          <a:latin typeface="+mn-lt"/>
          <a:ea typeface="+mn-ea"/>
          <a:cs typeface="+mn-cs"/>
        </a:defRPr>
      </a:lvl5pPr>
      <a:lvl6pPr marL="3216375" algn="l" defTabSz="1286550" rtl="0" eaLnBrk="1" latinLnBrk="0" hangingPunct="1">
        <a:defRPr sz="2532" kern="1200">
          <a:solidFill>
            <a:schemeClr val="tx1"/>
          </a:solidFill>
          <a:latin typeface="+mn-lt"/>
          <a:ea typeface="+mn-ea"/>
          <a:cs typeface="+mn-cs"/>
        </a:defRPr>
      </a:lvl6pPr>
      <a:lvl7pPr marL="3859647" algn="l" defTabSz="1286550" rtl="0" eaLnBrk="1" latinLnBrk="0" hangingPunct="1">
        <a:defRPr sz="2532" kern="1200">
          <a:solidFill>
            <a:schemeClr val="tx1"/>
          </a:solidFill>
          <a:latin typeface="+mn-lt"/>
          <a:ea typeface="+mn-ea"/>
          <a:cs typeface="+mn-cs"/>
        </a:defRPr>
      </a:lvl7pPr>
      <a:lvl8pPr marL="4502922" algn="l" defTabSz="1286550" rtl="0" eaLnBrk="1" latinLnBrk="0" hangingPunct="1">
        <a:defRPr sz="2532" kern="1200">
          <a:solidFill>
            <a:schemeClr val="tx1"/>
          </a:solidFill>
          <a:latin typeface="+mn-lt"/>
          <a:ea typeface="+mn-ea"/>
          <a:cs typeface="+mn-cs"/>
        </a:defRPr>
      </a:lvl8pPr>
      <a:lvl9pPr marL="5146197" algn="l" defTabSz="1286550" rtl="0" eaLnBrk="1" latinLnBrk="0" hangingPunct="1">
        <a:defRPr sz="253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8DFB9FF-A28C-40A1-ADF3-9114360EF9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067815571"/>
              </p:ext>
            </p:extLst>
          </p:nvPr>
        </p:nvGraphicFramePr>
        <p:xfrm>
          <a:off x="1903" y="1903"/>
          <a:ext cx="1903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0" name="think-cell Slide" r:id="rId18" imgW="442" imgH="442" progId="TCLayout.ActiveDocument.1">
                  <p:embed/>
                </p:oleObj>
              </mc:Choice>
              <mc:Fallback>
                <p:oleObj name="think-cell Slide" r:id="rId18" imgW="442" imgH="44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8DFB9FF-A28C-40A1-ADF3-9114360EF9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903" y="1903"/>
                        <a:ext cx="1903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B679944-66AA-4A7B-A5A0-54739FC88BD0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90269" cy="19030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096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26" name="Picture 28" descr="Tata_Blue_RGB_A4"/>
          <p:cNvPicPr>
            <a:picLocks noChangeAspect="1" noChangeArrowheads="1"/>
          </p:cNvPicPr>
          <p:nvPr/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12752367" y="263349"/>
            <a:ext cx="1366051" cy="915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7" name="Picture 29" descr="TataSteel_Blue_RGB_A4"/>
          <p:cNvPicPr>
            <a:picLocks noChangeAspect="1" noChangeArrowheads="1"/>
          </p:cNvPicPr>
          <p:nvPr/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404477" y="7532094"/>
            <a:ext cx="2734647" cy="61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43598" y="358765"/>
            <a:ext cx="12207976" cy="421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71579" y="1572447"/>
            <a:ext cx="13322188" cy="58699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1808595" y="7783986"/>
            <a:ext cx="1696753" cy="2165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ctr">
              <a:defRPr sz="1407">
                <a:latin typeface="Arial" charset="0"/>
                <a:cs typeface="+mn-cs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IN" dirty="0">
              <a:solidFill>
                <a:prstClr val="black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194562" y="7816427"/>
            <a:ext cx="5199647" cy="2165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ctr">
              <a:defRPr sz="1407" b="0">
                <a:latin typeface="Arial" charset="0"/>
                <a:cs typeface="+mn-cs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IN" dirty="0">
              <a:solidFill>
                <a:prstClr val="black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3774156" y="7783986"/>
            <a:ext cx="219612" cy="2165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defRPr sz="1407">
                <a:latin typeface="Arial" charset="0"/>
                <a:cs typeface="+mn-cs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83067129-5F27-481A-B47B-914711BE8CBE}" type="slidenum">
              <a:rPr lang="en-IN" smtClean="0">
                <a:solidFill>
                  <a:prstClr val="black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IN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63071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28" r:id="rId1"/>
    <p:sldLayoutId id="2147484929" r:id="rId2"/>
    <p:sldLayoutId id="2147484930" r:id="rId3"/>
    <p:sldLayoutId id="2147484931" r:id="rId4"/>
    <p:sldLayoutId id="2147484932" r:id="rId5"/>
    <p:sldLayoutId id="2147484933" r:id="rId6"/>
    <p:sldLayoutId id="2147484934" r:id="rId7"/>
    <p:sldLayoutId id="2147484935" r:id="rId8"/>
    <p:sldLayoutId id="2147484936" r:id="rId9"/>
    <p:sldLayoutId id="2147484937" r:id="rId10"/>
    <p:sldLayoutId id="2147484938" r:id="rId11"/>
    <p:sldLayoutId id="2147484939" r:id="rId12"/>
    <p:sldLayoutId id="2147484940" r:id="rId13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096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096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096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096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096" b="1">
          <a:solidFill>
            <a:schemeClr val="tx2"/>
          </a:solidFill>
          <a:latin typeface="Arial" charset="0"/>
          <a:cs typeface="Arial" charset="0"/>
        </a:defRPr>
      </a:lvl5pPr>
      <a:lvl6pPr marL="643396" algn="l" rtl="0" eaLnBrk="1" fontAlgn="base" hangingPunct="1">
        <a:spcBef>
          <a:spcPct val="0"/>
        </a:spcBef>
        <a:spcAft>
          <a:spcPct val="0"/>
        </a:spcAft>
        <a:defRPr sz="3096" b="1">
          <a:solidFill>
            <a:schemeClr val="tx2"/>
          </a:solidFill>
          <a:latin typeface="Arial" charset="0"/>
          <a:cs typeface="Arial" charset="0"/>
        </a:defRPr>
      </a:lvl6pPr>
      <a:lvl7pPr marL="1286791" algn="l" rtl="0" eaLnBrk="1" fontAlgn="base" hangingPunct="1">
        <a:spcBef>
          <a:spcPct val="0"/>
        </a:spcBef>
        <a:spcAft>
          <a:spcPct val="0"/>
        </a:spcAft>
        <a:defRPr sz="3096" b="1">
          <a:solidFill>
            <a:schemeClr val="tx2"/>
          </a:solidFill>
          <a:latin typeface="Arial" charset="0"/>
          <a:cs typeface="Arial" charset="0"/>
        </a:defRPr>
      </a:lvl7pPr>
      <a:lvl8pPr marL="1930188" algn="l" rtl="0" eaLnBrk="1" fontAlgn="base" hangingPunct="1">
        <a:spcBef>
          <a:spcPct val="0"/>
        </a:spcBef>
        <a:spcAft>
          <a:spcPct val="0"/>
        </a:spcAft>
        <a:defRPr sz="3096" b="1">
          <a:solidFill>
            <a:schemeClr val="tx2"/>
          </a:solidFill>
          <a:latin typeface="Arial" charset="0"/>
          <a:cs typeface="Arial" charset="0"/>
        </a:defRPr>
      </a:lvl8pPr>
      <a:lvl9pPr marL="2573585" algn="l" rtl="0" eaLnBrk="1" fontAlgn="base" hangingPunct="1">
        <a:spcBef>
          <a:spcPct val="0"/>
        </a:spcBef>
        <a:spcAft>
          <a:spcPct val="0"/>
        </a:spcAft>
        <a:defRPr sz="3096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406591" indent="-406591" algn="l" rtl="0" eaLnBrk="1" fontAlgn="base" hangingPunct="1">
        <a:spcBef>
          <a:spcPct val="0"/>
        </a:spcBef>
        <a:spcAft>
          <a:spcPct val="60000"/>
        </a:spcAft>
        <a:buClr>
          <a:schemeClr val="accent1"/>
        </a:buClr>
        <a:buChar char="•"/>
        <a:defRPr sz="2815">
          <a:solidFill>
            <a:schemeClr val="tx1"/>
          </a:solidFill>
          <a:latin typeface="+mn-lt"/>
          <a:ea typeface="+mn-ea"/>
          <a:cs typeface="+mn-cs"/>
        </a:defRPr>
      </a:lvl1pPr>
      <a:lvl2pPr marL="804245" indent="-395421" algn="l" rtl="0" eaLnBrk="1" fontAlgn="base" hangingPunct="1">
        <a:spcBef>
          <a:spcPct val="0"/>
        </a:spcBef>
        <a:spcAft>
          <a:spcPct val="30000"/>
        </a:spcAft>
        <a:buClr>
          <a:schemeClr val="tx2"/>
        </a:buClr>
        <a:buChar char="•"/>
        <a:defRPr>
          <a:solidFill>
            <a:schemeClr val="tx1"/>
          </a:solidFill>
          <a:latin typeface="+mn-lt"/>
          <a:cs typeface="+mn-cs"/>
        </a:defRPr>
      </a:lvl2pPr>
      <a:lvl3pPr marL="1179559" indent="-373081" algn="l" rtl="0" eaLnBrk="1" fontAlgn="base" hangingPunct="1">
        <a:spcBef>
          <a:spcPct val="0"/>
        </a:spcBef>
        <a:spcAft>
          <a:spcPct val="30000"/>
        </a:spcAft>
        <a:buClr>
          <a:schemeClr val="tx1"/>
        </a:buClr>
        <a:buSzPct val="90000"/>
        <a:buFont typeface="Arial" pitchFamily="34" charset="0"/>
        <a:buChar char="─"/>
        <a:defRPr sz="2251">
          <a:solidFill>
            <a:schemeClr val="tx1"/>
          </a:solidFill>
          <a:latin typeface="+mn-lt"/>
          <a:cs typeface="+mn-cs"/>
        </a:defRPr>
      </a:lvl3pPr>
      <a:lvl4pPr marL="1436472" indent="-254678" algn="l" rtl="0" eaLnBrk="1" fontAlgn="base" hangingPunct="1">
        <a:spcBef>
          <a:spcPct val="0"/>
        </a:spcBef>
        <a:spcAft>
          <a:spcPct val="30000"/>
        </a:spcAft>
        <a:buClr>
          <a:schemeClr val="tx1"/>
        </a:buClr>
        <a:buSzPct val="90000"/>
        <a:buFont typeface="Arial" pitchFamily="34" charset="0"/>
        <a:buChar char="•"/>
        <a:defRPr sz="1970">
          <a:solidFill>
            <a:schemeClr val="tx1"/>
          </a:solidFill>
          <a:latin typeface="+mn-lt"/>
          <a:cs typeface="+mn-cs"/>
        </a:defRPr>
      </a:lvl4pPr>
      <a:lvl5pPr marL="1867636" indent="-350741" algn="l" rtl="0" eaLnBrk="1" fontAlgn="base" hangingPunct="1">
        <a:spcBef>
          <a:spcPct val="0"/>
        </a:spcBef>
        <a:spcAft>
          <a:spcPct val="65000"/>
        </a:spcAft>
        <a:buChar char="»"/>
        <a:defRPr sz="1970">
          <a:solidFill>
            <a:schemeClr val="tx1"/>
          </a:solidFill>
          <a:latin typeface="+mn-lt"/>
          <a:cs typeface="+mn-cs"/>
        </a:defRPr>
      </a:lvl5pPr>
      <a:lvl6pPr marL="2511031" indent="-350741" algn="l" rtl="0" eaLnBrk="1" fontAlgn="base" hangingPunct="1">
        <a:spcBef>
          <a:spcPct val="0"/>
        </a:spcBef>
        <a:spcAft>
          <a:spcPct val="65000"/>
        </a:spcAft>
        <a:buChar char="»"/>
        <a:defRPr sz="1970">
          <a:solidFill>
            <a:schemeClr val="tx1"/>
          </a:solidFill>
          <a:latin typeface="+mn-lt"/>
          <a:cs typeface="+mn-cs"/>
        </a:defRPr>
      </a:lvl6pPr>
      <a:lvl7pPr marL="3154427" indent="-350741" algn="l" rtl="0" eaLnBrk="1" fontAlgn="base" hangingPunct="1">
        <a:spcBef>
          <a:spcPct val="0"/>
        </a:spcBef>
        <a:spcAft>
          <a:spcPct val="65000"/>
        </a:spcAft>
        <a:buChar char="»"/>
        <a:defRPr sz="1970">
          <a:solidFill>
            <a:schemeClr val="tx1"/>
          </a:solidFill>
          <a:latin typeface="+mn-lt"/>
          <a:cs typeface="+mn-cs"/>
        </a:defRPr>
      </a:lvl7pPr>
      <a:lvl8pPr marL="3797825" indent="-350741" algn="l" rtl="0" eaLnBrk="1" fontAlgn="base" hangingPunct="1">
        <a:spcBef>
          <a:spcPct val="0"/>
        </a:spcBef>
        <a:spcAft>
          <a:spcPct val="65000"/>
        </a:spcAft>
        <a:buChar char="»"/>
        <a:defRPr sz="1970">
          <a:solidFill>
            <a:schemeClr val="tx1"/>
          </a:solidFill>
          <a:latin typeface="+mn-lt"/>
          <a:cs typeface="+mn-cs"/>
        </a:defRPr>
      </a:lvl8pPr>
      <a:lvl9pPr marL="4441220" indent="-350741" algn="l" rtl="0" eaLnBrk="1" fontAlgn="base" hangingPunct="1">
        <a:spcBef>
          <a:spcPct val="0"/>
        </a:spcBef>
        <a:spcAft>
          <a:spcPct val="65000"/>
        </a:spcAft>
        <a:buChar char="»"/>
        <a:defRPr sz="197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1286791" rtl="0" eaLnBrk="1" latinLnBrk="0" hangingPunct="1">
        <a:defRPr sz="2532" kern="1200">
          <a:solidFill>
            <a:schemeClr val="tx1"/>
          </a:solidFill>
          <a:latin typeface="+mn-lt"/>
          <a:ea typeface="+mn-ea"/>
          <a:cs typeface="+mn-cs"/>
        </a:defRPr>
      </a:lvl1pPr>
      <a:lvl2pPr marL="643396" algn="l" defTabSz="1286791" rtl="0" eaLnBrk="1" latinLnBrk="0" hangingPunct="1">
        <a:defRPr sz="2532" kern="1200">
          <a:solidFill>
            <a:schemeClr val="tx1"/>
          </a:solidFill>
          <a:latin typeface="+mn-lt"/>
          <a:ea typeface="+mn-ea"/>
          <a:cs typeface="+mn-cs"/>
        </a:defRPr>
      </a:lvl2pPr>
      <a:lvl3pPr marL="1286791" algn="l" defTabSz="1286791" rtl="0" eaLnBrk="1" latinLnBrk="0" hangingPunct="1">
        <a:defRPr sz="2532" kern="1200">
          <a:solidFill>
            <a:schemeClr val="tx1"/>
          </a:solidFill>
          <a:latin typeface="+mn-lt"/>
          <a:ea typeface="+mn-ea"/>
          <a:cs typeface="+mn-cs"/>
        </a:defRPr>
      </a:lvl3pPr>
      <a:lvl4pPr marL="1930188" algn="l" defTabSz="1286791" rtl="0" eaLnBrk="1" latinLnBrk="0" hangingPunct="1">
        <a:defRPr sz="2532" kern="1200">
          <a:solidFill>
            <a:schemeClr val="tx1"/>
          </a:solidFill>
          <a:latin typeface="+mn-lt"/>
          <a:ea typeface="+mn-ea"/>
          <a:cs typeface="+mn-cs"/>
        </a:defRPr>
      </a:lvl4pPr>
      <a:lvl5pPr marL="2573585" algn="l" defTabSz="1286791" rtl="0" eaLnBrk="1" latinLnBrk="0" hangingPunct="1">
        <a:defRPr sz="2532" kern="1200">
          <a:solidFill>
            <a:schemeClr val="tx1"/>
          </a:solidFill>
          <a:latin typeface="+mn-lt"/>
          <a:ea typeface="+mn-ea"/>
          <a:cs typeface="+mn-cs"/>
        </a:defRPr>
      </a:lvl5pPr>
      <a:lvl6pPr marL="3216980" algn="l" defTabSz="1286791" rtl="0" eaLnBrk="1" latinLnBrk="0" hangingPunct="1">
        <a:defRPr sz="2532" kern="1200">
          <a:solidFill>
            <a:schemeClr val="tx1"/>
          </a:solidFill>
          <a:latin typeface="+mn-lt"/>
          <a:ea typeface="+mn-ea"/>
          <a:cs typeface="+mn-cs"/>
        </a:defRPr>
      </a:lvl6pPr>
      <a:lvl7pPr marL="3860377" algn="l" defTabSz="1286791" rtl="0" eaLnBrk="1" latinLnBrk="0" hangingPunct="1">
        <a:defRPr sz="2532" kern="1200">
          <a:solidFill>
            <a:schemeClr val="tx1"/>
          </a:solidFill>
          <a:latin typeface="+mn-lt"/>
          <a:ea typeface="+mn-ea"/>
          <a:cs typeface="+mn-cs"/>
        </a:defRPr>
      </a:lvl7pPr>
      <a:lvl8pPr marL="4503772" algn="l" defTabSz="1286791" rtl="0" eaLnBrk="1" latinLnBrk="0" hangingPunct="1">
        <a:defRPr sz="2532" kern="1200">
          <a:solidFill>
            <a:schemeClr val="tx1"/>
          </a:solidFill>
          <a:latin typeface="+mn-lt"/>
          <a:ea typeface="+mn-ea"/>
          <a:cs typeface="+mn-cs"/>
        </a:defRPr>
      </a:lvl8pPr>
      <a:lvl9pPr marL="5147168" algn="l" defTabSz="1286791" rtl="0" eaLnBrk="1" latinLnBrk="0" hangingPunct="1">
        <a:defRPr sz="253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14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7" Type="http://schemas.openxmlformats.org/officeDocument/2006/relationships/chart" Target="../charts/chart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2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4.bin"/><Relationship Id="rId3" Type="http://schemas.openxmlformats.org/officeDocument/2006/relationships/tags" Target="../tags/tag74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73.xml"/><Relationship Id="rId1" Type="http://schemas.openxmlformats.org/officeDocument/2006/relationships/vmlDrawing" Target="../drawings/vmlDrawing24.vml"/><Relationship Id="rId6" Type="http://schemas.openxmlformats.org/officeDocument/2006/relationships/tags" Target="../tags/tag77.xml"/><Relationship Id="rId5" Type="http://schemas.openxmlformats.org/officeDocument/2006/relationships/tags" Target="../tags/tag76.xml"/><Relationship Id="rId4" Type="http://schemas.openxmlformats.org/officeDocument/2006/relationships/tags" Target="../tags/tag75.xml"/><Relationship Id="rId9" Type="http://schemas.openxmlformats.org/officeDocument/2006/relationships/image" Target="../media/image3.emf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5D90419A-0235-43AB-88EB-83451B51C81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3" y="894"/>
            <a:ext cx="14649065" cy="8242101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694AEE1-A807-4B94-8F5D-F366CEBE1B53}"/>
              </a:ext>
            </a:extLst>
          </p:cNvPr>
          <p:cNvSpPr/>
          <p:nvPr/>
        </p:nvSpPr>
        <p:spPr>
          <a:xfrm>
            <a:off x="3662381" y="1207346"/>
            <a:ext cx="6832582" cy="11586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98867" fontAlgn="auto">
              <a:spcBef>
                <a:spcPts val="0"/>
              </a:spcBef>
              <a:spcAft>
                <a:spcPts val="0"/>
              </a:spcAft>
              <a:defRPr/>
            </a:pPr>
            <a:endParaRPr lang="en-IN" sz="2163">
              <a:solidFill>
                <a:prstClr val="white"/>
              </a:solidFill>
              <a:latin typeface="Times New Roman"/>
              <a:cs typeface="Arial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93048CC-87EE-4212-BF35-CEC90C6F3644}"/>
              </a:ext>
            </a:extLst>
          </p:cNvPr>
          <p:cNvSpPr/>
          <p:nvPr/>
        </p:nvSpPr>
        <p:spPr>
          <a:xfrm>
            <a:off x="8176180" y="4496843"/>
            <a:ext cx="7129738" cy="18200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098776" fontAlgn="auto">
              <a:spcBef>
                <a:spcPts val="721"/>
              </a:spcBef>
              <a:spcAft>
                <a:spcPts val="0"/>
              </a:spcAft>
              <a:defRPr/>
            </a:pPr>
            <a:endParaRPr lang="en-US" sz="2637" b="1" dirty="0">
              <a:solidFill>
                <a:srgbClr val="1F497D">
                  <a:lumMod val="60000"/>
                  <a:lumOff val="40000"/>
                </a:srgbClr>
              </a:solidFill>
              <a:latin typeface="Cambria" pitchFamily="18" charset="0"/>
              <a:cs typeface="Arial"/>
            </a:endParaRPr>
          </a:p>
          <a:p>
            <a:pPr defTabSz="1098776" fontAlgn="auto">
              <a:spcBef>
                <a:spcPts val="721"/>
              </a:spcBef>
              <a:spcAft>
                <a:spcPts val="0"/>
              </a:spcAft>
              <a:defRPr/>
            </a:pPr>
            <a:r>
              <a:rPr lang="en-US" sz="2637" b="1" dirty="0" smtClean="0">
                <a:solidFill>
                  <a:srgbClr val="1F497D">
                    <a:lumMod val="60000"/>
                    <a:lumOff val="40000"/>
                  </a:srgbClr>
                </a:solidFill>
                <a:latin typeface="Cambria" pitchFamily="18" charset="0"/>
                <a:cs typeface="Arial"/>
              </a:rPr>
              <a:t>Energy Efficiency Journey in Tata Steel </a:t>
            </a:r>
            <a:endParaRPr lang="en-US" sz="2637" b="1" dirty="0">
              <a:solidFill>
                <a:srgbClr val="1F497D">
                  <a:lumMod val="60000"/>
                  <a:lumOff val="40000"/>
                </a:srgbClr>
              </a:solidFill>
              <a:latin typeface="Cambria" pitchFamily="18" charset="0"/>
              <a:cs typeface="Arial"/>
            </a:endParaRPr>
          </a:p>
          <a:p>
            <a:pPr defTabSz="1098776" fontAlgn="auto">
              <a:spcBef>
                <a:spcPts val="721"/>
              </a:spcBef>
              <a:spcAft>
                <a:spcPts val="0"/>
              </a:spcAft>
              <a:defRPr/>
            </a:pPr>
            <a:r>
              <a:rPr lang="en-US" b="1" dirty="0" smtClean="0">
                <a:latin typeface="Cambria" pitchFamily="18" charset="0"/>
                <a:cs typeface="Arial"/>
              </a:rPr>
              <a:t>14 Dec </a:t>
            </a:r>
            <a:r>
              <a:rPr lang="en-US" b="1" dirty="0">
                <a:latin typeface="Cambria" pitchFamily="18" charset="0"/>
                <a:cs typeface="Arial"/>
              </a:rPr>
              <a:t>2022</a:t>
            </a:r>
          </a:p>
          <a:p>
            <a:pPr defTabSz="1098776" fontAlgn="auto">
              <a:spcBef>
                <a:spcPts val="721"/>
              </a:spcBef>
              <a:spcAft>
                <a:spcPts val="0"/>
              </a:spcAft>
              <a:defRPr/>
            </a:pPr>
            <a:endParaRPr lang="en-US" sz="2403" b="1" dirty="0">
              <a:solidFill>
                <a:srgbClr val="1F497D">
                  <a:lumMod val="60000"/>
                  <a:lumOff val="40000"/>
                </a:srgbClr>
              </a:solidFill>
              <a:latin typeface="Cambria" pitchFamily="18" charset="0"/>
              <a:cs typeface="Arial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85E8CB3-164A-4CDE-8F77-11E60E1255DF}"/>
              </a:ext>
            </a:extLst>
          </p:cNvPr>
          <p:cNvCxnSpPr>
            <a:cxnSpLocks/>
          </p:cNvCxnSpPr>
          <p:nvPr/>
        </p:nvCxnSpPr>
        <p:spPr>
          <a:xfrm>
            <a:off x="8053389" y="5485680"/>
            <a:ext cx="637867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99D0974D-237F-4849-B6A9-0955850CFC0B}"/>
              </a:ext>
            </a:extLst>
          </p:cNvPr>
          <p:cNvSpPr/>
          <p:nvPr/>
        </p:nvSpPr>
        <p:spPr>
          <a:xfrm>
            <a:off x="565880" y="2620606"/>
            <a:ext cx="4307231" cy="1238898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98867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163">
              <a:solidFill>
                <a:prstClr val="white"/>
              </a:solidFill>
              <a:latin typeface="Times New Roman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650764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D49DD5-21D7-4EDC-A865-58B5DB4EA4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543969" y="231025"/>
            <a:ext cx="392330" cy="263680"/>
          </a:xfrm>
        </p:spPr>
        <p:txBody>
          <a:bodyPr/>
          <a:lstStyle/>
          <a:p>
            <a:fld id="{7103653F-4628-4CCA-BBFC-10994C39EA7C}" type="slidenum">
              <a:rPr lang="en-US" smtClean="0">
                <a:solidFill>
                  <a:srgbClr val="FFFFFF"/>
                </a:solidFill>
              </a:rPr>
              <a:pPr/>
              <a:t>2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AEA72B5-16FE-4738-BB2D-F4F3FE938198}"/>
              </a:ext>
            </a:extLst>
          </p:cNvPr>
          <p:cNvSpPr/>
          <p:nvPr/>
        </p:nvSpPr>
        <p:spPr>
          <a:xfrm rot="16200000">
            <a:off x="2873767" y="3243217"/>
            <a:ext cx="2028121" cy="64603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1095791">
              <a:defRPr/>
            </a:pPr>
            <a:r>
              <a:rPr lang="en-US" altLang="ja-JP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lici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B171446-5C95-4F9D-9C7F-3E763AE49605}"/>
              </a:ext>
            </a:extLst>
          </p:cNvPr>
          <p:cNvSpPr/>
          <p:nvPr/>
        </p:nvSpPr>
        <p:spPr>
          <a:xfrm rot="16200000">
            <a:off x="2484936" y="817470"/>
            <a:ext cx="3382879" cy="6993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1095791">
              <a:defRPr/>
            </a:pPr>
            <a:r>
              <a:rPr lang="en-US" altLang="ja-JP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tainability Pillar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F89E740-B5FB-41A4-AD14-31662234E5A7}"/>
              </a:ext>
            </a:extLst>
          </p:cNvPr>
          <p:cNvSpPr/>
          <p:nvPr/>
        </p:nvSpPr>
        <p:spPr>
          <a:xfrm rot="16200000">
            <a:off x="3030128" y="-1209308"/>
            <a:ext cx="1233440" cy="59339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1095791">
              <a:defRPr/>
            </a:pPr>
            <a:r>
              <a:rPr lang="en-US" altLang="ja-JP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ion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BBA0540-0D45-41D6-BBB6-BAC5BFBCE847}"/>
              </a:ext>
            </a:extLst>
          </p:cNvPr>
          <p:cNvSpPr txBox="1"/>
          <p:nvPr/>
        </p:nvSpPr>
        <p:spPr>
          <a:xfrm>
            <a:off x="458769" y="7427467"/>
            <a:ext cx="13795145" cy="597590"/>
          </a:xfrm>
          <a:prstGeom prst="rect">
            <a:avLst/>
          </a:prstGeom>
          <a:noFill/>
        </p:spPr>
        <p:txBody>
          <a:bodyPr wrap="square" lIns="0" tIns="40191" rIns="80376" bIns="40191" rtlCol="0">
            <a:spAutoFit/>
          </a:bodyPr>
          <a:lstStyle/>
          <a:p>
            <a:r>
              <a:rPr lang="en-US" sz="1678" dirty="0"/>
              <a:t>CSR: Corporate Social Responsibility, HR: Human Resource, POSH: Prevention of sexual harassment, SC: Supply Chain, </a:t>
            </a:r>
          </a:p>
          <a:p>
            <a:r>
              <a:rPr lang="en-US" sz="1678" dirty="0"/>
              <a:t>ABAC: Anti-Bribery and Anti-Corruption , AML: Anti-Money Laundering; Material issues were identified based on a third-party study in 2018 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6B97AD67-5A4D-4A50-ABF1-DED8BB341B05}"/>
              </a:ext>
            </a:extLst>
          </p:cNvPr>
          <p:cNvSpPr/>
          <p:nvPr/>
        </p:nvSpPr>
        <p:spPr>
          <a:xfrm>
            <a:off x="1112957" y="1341343"/>
            <a:ext cx="6225540" cy="1080013"/>
          </a:xfrm>
          <a:prstGeom prst="roundRect">
            <a:avLst>
              <a:gd name="adj" fmla="val 50000"/>
            </a:avLst>
          </a:prstGeom>
          <a:noFill/>
          <a:ln w="19050">
            <a:solidFill>
              <a:srgbClr val="FFA1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1095791">
              <a:defRPr/>
            </a:pPr>
            <a:r>
              <a:rPr lang="en-US" altLang="ja-JP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aspire to be the global steel industry benchmark for </a:t>
            </a:r>
          </a:p>
          <a:p>
            <a:pPr algn="ctr" defTabSz="1095791">
              <a:defRPr/>
            </a:pPr>
            <a:r>
              <a:rPr lang="en-US" altLang="ja-JP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lue Creation</a:t>
            </a:r>
            <a:r>
              <a:rPr lang="en-US" altLang="ja-JP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en-US" altLang="ja-JP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porate Citizenship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990D488-5B2B-401D-A553-0CEBB40FD730}"/>
              </a:ext>
            </a:extLst>
          </p:cNvPr>
          <p:cNvSpPr/>
          <p:nvPr/>
        </p:nvSpPr>
        <p:spPr>
          <a:xfrm>
            <a:off x="1269688" y="3305992"/>
            <a:ext cx="1538637" cy="1651531"/>
          </a:xfrm>
          <a:prstGeom prst="rect">
            <a:avLst/>
          </a:prstGeom>
          <a:noFill/>
          <a:ln w="3175"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3148" tIns="604067" rIns="43148" bIns="172591" rtlCol="0" anchor="t" anchorCtr="0">
            <a:spAutoFit/>
          </a:bodyPr>
          <a:lstStyle/>
          <a:p>
            <a:pPr algn="ctr"/>
            <a:endParaRPr lang="en-IN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en-IN" sz="1918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IN" sz="1918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vironmen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27E6A60-D237-4C1F-9A1D-AB607F252E5D}"/>
              </a:ext>
            </a:extLst>
          </p:cNvPr>
          <p:cNvSpPr/>
          <p:nvPr/>
        </p:nvSpPr>
        <p:spPr>
          <a:xfrm>
            <a:off x="2854162" y="3290070"/>
            <a:ext cx="1739437" cy="1706128"/>
          </a:xfrm>
          <a:prstGeom prst="rect">
            <a:avLst/>
          </a:prstGeom>
          <a:noFill/>
          <a:ln w="3175"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3148" tIns="604067" rIns="43148" bIns="172591" rtlCol="0" anchor="t" anchorCtr="0"/>
          <a:lstStyle/>
          <a:p>
            <a:pPr algn="ctr"/>
            <a:endParaRPr lang="en-IN" sz="1918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IN" sz="1678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lth, Safety </a:t>
            </a:r>
          </a:p>
          <a:p>
            <a:pPr algn="ctr"/>
            <a:r>
              <a:rPr lang="en-IN" sz="1678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amp; </a:t>
            </a:r>
          </a:p>
          <a:p>
            <a:pPr algn="ctr"/>
            <a:r>
              <a:rPr lang="en-IN" sz="1678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ployee welfar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EA357A3-A53E-46CA-AB62-D3A3553BC43E}"/>
              </a:ext>
            </a:extLst>
          </p:cNvPr>
          <p:cNvSpPr/>
          <p:nvPr/>
        </p:nvSpPr>
        <p:spPr>
          <a:xfrm>
            <a:off x="4650032" y="3294161"/>
            <a:ext cx="1371118" cy="1706452"/>
          </a:xfrm>
          <a:prstGeom prst="rect">
            <a:avLst/>
          </a:prstGeom>
          <a:noFill/>
          <a:ln w="3175"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3148" tIns="604067" rIns="43148" bIns="172591" rtlCol="0" anchor="t" anchorCtr="0"/>
          <a:lstStyle/>
          <a:p>
            <a:pPr algn="ctr"/>
            <a:endParaRPr lang="en-IN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en-IN" sz="1918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IN" sz="1918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munity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35C84AD-EAA4-47A8-B484-D7FAE0E8AE04}"/>
              </a:ext>
            </a:extLst>
          </p:cNvPr>
          <p:cNvSpPr/>
          <p:nvPr/>
        </p:nvSpPr>
        <p:spPr>
          <a:xfrm>
            <a:off x="6082820" y="3294161"/>
            <a:ext cx="1488407" cy="1706452"/>
          </a:xfrm>
          <a:prstGeom prst="rect">
            <a:avLst/>
          </a:prstGeom>
          <a:noFill/>
          <a:ln w="3175"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3148" tIns="604067" rIns="43148" bIns="172591" rtlCol="0" anchor="t" anchorCtr="0"/>
          <a:lstStyle/>
          <a:p>
            <a:pPr algn="ctr"/>
            <a:endParaRPr lang="en-IN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en-IN" sz="1918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IN" sz="1918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vernanc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031D968-9257-489B-AD10-D4DEF31A8B3E}"/>
              </a:ext>
            </a:extLst>
          </p:cNvPr>
          <p:cNvSpPr/>
          <p:nvPr/>
        </p:nvSpPr>
        <p:spPr>
          <a:xfrm>
            <a:off x="1099923" y="5137797"/>
            <a:ext cx="6671608" cy="309307"/>
          </a:xfrm>
          <a:prstGeom prst="rect">
            <a:avLst/>
          </a:prstGeom>
          <a:solidFill>
            <a:srgbClr val="34B233"/>
          </a:solidFill>
          <a:ln w="3175">
            <a:solidFill>
              <a:srgbClr val="34B2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3148" tIns="0" rIns="43148" bIns="0" rtlCol="0" anchor="ctr" anchorCtr="0"/>
          <a:lstStyle/>
          <a:p>
            <a:pPr algn="ctr" defTabSz="1095791">
              <a:defRPr/>
            </a:pPr>
            <a:r>
              <a: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ta Code of  Conduct</a:t>
            </a:r>
          </a:p>
        </p:txBody>
      </p:sp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9C21B9CC-45E3-4BCA-AAB4-F38860E1A780}"/>
              </a:ext>
            </a:extLst>
          </p:cNvPr>
          <p:cNvSpPr/>
          <p:nvPr/>
        </p:nvSpPr>
        <p:spPr>
          <a:xfrm>
            <a:off x="1018791" y="2495344"/>
            <a:ext cx="6752742" cy="389140"/>
          </a:xfrm>
          <a:prstGeom prst="triangle">
            <a:avLst>
              <a:gd name="adj" fmla="val 50000"/>
            </a:avLst>
          </a:prstGeom>
          <a:solidFill>
            <a:srgbClr val="34B233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3148" tIns="560919" rIns="43148" bIns="172591" rtlCol="0" anchor="t" anchorCtr="0"/>
          <a:lstStyle/>
          <a:p>
            <a:pPr algn="ctr"/>
            <a:endParaRPr lang="en-IN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B5E10BBE-92B8-4D70-ACE0-C848DAEB82AE}"/>
              </a:ext>
            </a:extLst>
          </p:cNvPr>
          <p:cNvCxnSpPr>
            <a:cxnSpLocks/>
          </p:cNvCxnSpPr>
          <p:nvPr/>
        </p:nvCxnSpPr>
        <p:spPr>
          <a:xfrm>
            <a:off x="3162877" y="4068575"/>
            <a:ext cx="1125630" cy="0"/>
          </a:xfrm>
          <a:prstGeom prst="line">
            <a:avLst/>
          </a:prstGeom>
          <a:ln w="3175">
            <a:solidFill>
              <a:srgbClr val="0083A9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1E47BD5B-7CE5-438C-B626-EC0EDAE6238A}"/>
              </a:ext>
            </a:extLst>
          </p:cNvPr>
          <p:cNvCxnSpPr>
            <a:cxnSpLocks/>
          </p:cNvCxnSpPr>
          <p:nvPr/>
        </p:nvCxnSpPr>
        <p:spPr>
          <a:xfrm>
            <a:off x="4639439" y="4109641"/>
            <a:ext cx="1096679" cy="0"/>
          </a:xfrm>
          <a:prstGeom prst="line">
            <a:avLst/>
          </a:prstGeom>
          <a:ln w="3175">
            <a:solidFill>
              <a:srgbClr val="0083A9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68404B94-CFF2-4A32-B739-65EBC575FC54}"/>
              </a:ext>
            </a:extLst>
          </p:cNvPr>
          <p:cNvCxnSpPr>
            <a:cxnSpLocks/>
          </p:cNvCxnSpPr>
          <p:nvPr/>
        </p:nvCxnSpPr>
        <p:spPr>
          <a:xfrm>
            <a:off x="6175613" y="4088958"/>
            <a:ext cx="1117160" cy="0"/>
          </a:xfrm>
          <a:prstGeom prst="line">
            <a:avLst/>
          </a:prstGeom>
          <a:ln w="3175">
            <a:solidFill>
              <a:srgbClr val="0083A9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Graphic 201">
            <a:extLst>
              <a:ext uri="{FF2B5EF4-FFF2-40B4-BE49-F238E27FC236}">
                <a16:creationId xmlns:a16="http://schemas.microsoft.com/office/drawing/2014/main" id="{7FEBB61D-E081-4EF6-8D12-2E4BF70B3EF4}"/>
              </a:ext>
            </a:extLst>
          </p:cNvPr>
          <p:cNvSpPr/>
          <p:nvPr/>
        </p:nvSpPr>
        <p:spPr>
          <a:xfrm>
            <a:off x="1861722" y="3388970"/>
            <a:ext cx="304344" cy="497301"/>
          </a:xfrm>
          <a:custGeom>
            <a:avLst/>
            <a:gdLst>
              <a:gd name="connsiteX0" fmla="*/ 171450 w 342900"/>
              <a:gd name="connsiteY0" fmla="*/ 571514 h 571514"/>
              <a:gd name="connsiteX1" fmla="*/ 342900 w 342900"/>
              <a:gd name="connsiteY1" fmla="*/ 400064 h 571514"/>
              <a:gd name="connsiteX2" fmla="*/ 180975 w 342900"/>
              <a:gd name="connsiteY2" fmla="*/ 229100 h 571514"/>
              <a:gd name="connsiteX3" fmla="*/ 180975 w 342900"/>
              <a:gd name="connsiteY3" fmla="*/ 156358 h 571514"/>
              <a:gd name="connsiteX4" fmla="*/ 204168 w 342900"/>
              <a:gd name="connsiteY4" fmla="*/ 133164 h 571514"/>
              <a:gd name="connsiteX5" fmla="*/ 212303 w 342900"/>
              <a:gd name="connsiteY5" fmla="*/ 133383 h 571514"/>
              <a:gd name="connsiteX6" fmla="*/ 295399 w 342900"/>
              <a:gd name="connsiteY6" fmla="*/ 104903 h 571514"/>
              <a:gd name="connsiteX7" fmla="*/ 323317 w 342900"/>
              <a:gd name="connsiteY7" fmla="*/ 9006 h 571514"/>
              <a:gd name="connsiteX8" fmla="*/ 314868 w 342900"/>
              <a:gd name="connsiteY8" fmla="*/ 557 h 571514"/>
              <a:gd name="connsiteX9" fmla="*/ 218970 w 342900"/>
              <a:gd name="connsiteY9" fmla="*/ 28475 h 571514"/>
              <a:gd name="connsiteX10" fmla="*/ 190710 w 342900"/>
              <a:gd name="connsiteY10" fmla="*/ 119696 h 571514"/>
              <a:gd name="connsiteX11" fmla="*/ 164725 w 342900"/>
              <a:gd name="connsiteY11" fmla="*/ 145680 h 571514"/>
              <a:gd name="connsiteX12" fmla="*/ 161925 w 342900"/>
              <a:gd name="connsiteY12" fmla="*/ 152414 h 571514"/>
              <a:gd name="connsiteX13" fmla="*/ 161925 w 342900"/>
              <a:gd name="connsiteY13" fmla="*/ 186571 h 571514"/>
              <a:gd name="connsiteX14" fmla="*/ 142675 w 342900"/>
              <a:gd name="connsiteY14" fmla="*/ 167321 h 571514"/>
              <a:gd name="connsiteX15" fmla="*/ 114414 w 342900"/>
              <a:gd name="connsiteY15" fmla="*/ 76100 h 571514"/>
              <a:gd name="connsiteX16" fmla="*/ 18517 w 342900"/>
              <a:gd name="connsiteY16" fmla="*/ 48182 h 571514"/>
              <a:gd name="connsiteX17" fmla="*/ 10068 w 342900"/>
              <a:gd name="connsiteY17" fmla="*/ 56631 h 571514"/>
              <a:gd name="connsiteX18" fmla="*/ 37986 w 342900"/>
              <a:gd name="connsiteY18" fmla="*/ 152528 h 571514"/>
              <a:gd name="connsiteX19" fmla="*/ 121082 w 342900"/>
              <a:gd name="connsiteY19" fmla="*/ 181008 h 571514"/>
              <a:gd name="connsiteX20" fmla="*/ 129216 w 342900"/>
              <a:gd name="connsiteY20" fmla="*/ 180789 h 571514"/>
              <a:gd name="connsiteX21" fmla="*/ 161925 w 342900"/>
              <a:gd name="connsiteY21" fmla="*/ 213508 h 571514"/>
              <a:gd name="connsiteX22" fmla="*/ 161925 w 342900"/>
              <a:gd name="connsiteY22" fmla="*/ 229100 h 571514"/>
              <a:gd name="connsiteX23" fmla="*/ 0 w 342900"/>
              <a:gd name="connsiteY23" fmla="*/ 400064 h 571514"/>
              <a:gd name="connsiteX24" fmla="*/ 171450 w 342900"/>
              <a:gd name="connsiteY24" fmla="*/ 571514 h 571514"/>
              <a:gd name="connsiteX25" fmla="*/ 232429 w 342900"/>
              <a:gd name="connsiteY25" fmla="*/ 41943 h 571514"/>
              <a:gd name="connsiteX26" fmla="*/ 304781 w 342900"/>
              <a:gd name="connsiteY26" fmla="*/ 19112 h 571514"/>
              <a:gd name="connsiteX27" fmla="*/ 281930 w 342900"/>
              <a:gd name="connsiteY27" fmla="*/ 91445 h 571514"/>
              <a:gd name="connsiteX28" fmla="*/ 223485 w 342900"/>
              <a:gd name="connsiteY28" fmla="*/ 113867 h 571514"/>
              <a:gd name="connsiteX29" fmla="*/ 273444 w 342900"/>
              <a:gd name="connsiteY29" fmla="*/ 63908 h 571514"/>
              <a:gd name="connsiteX30" fmla="*/ 259975 w 342900"/>
              <a:gd name="connsiteY30" fmla="*/ 50440 h 571514"/>
              <a:gd name="connsiteX31" fmla="*/ 209998 w 342900"/>
              <a:gd name="connsiteY31" fmla="*/ 100417 h 571514"/>
              <a:gd name="connsiteX32" fmla="*/ 232429 w 342900"/>
              <a:gd name="connsiteY32" fmla="*/ 41943 h 571514"/>
              <a:gd name="connsiteX33" fmla="*/ 51454 w 342900"/>
              <a:gd name="connsiteY33" fmla="*/ 139060 h 571514"/>
              <a:gd name="connsiteX34" fmla="*/ 28623 w 342900"/>
              <a:gd name="connsiteY34" fmla="*/ 66708 h 571514"/>
              <a:gd name="connsiteX35" fmla="*/ 100955 w 342900"/>
              <a:gd name="connsiteY35" fmla="*/ 89559 h 571514"/>
              <a:gd name="connsiteX36" fmla="*/ 123358 w 342900"/>
              <a:gd name="connsiteY36" fmla="*/ 147985 h 571514"/>
              <a:gd name="connsiteX37" fmla="*/ 73419 w 342900"/>
              <a:gd name="connsiteY37" fmla="*/ 98045 h 571514"/>
              <a:gd name="connsiteX38" fmla="*/ 59950 w 342900"/>
              <a:gd name="connsiteY38" fmla="*/ 111514 h 571514"/>
              <a:gd name="connsiteX39" fmla="*/ 109899 w 342900"/>
              <a:gd name="connsiteY39" fmla="*/ 161463 h 571514"/>
              <a:gd name="connsiteX40" fmla="*/ 51454 w 342900"/>
              <a:gd name="connsiteY40" fmla="*/ 139060 h 571514"/>
              <a:gd name="connsiteX41" fmla="*/ 26775 w 342900"/>
              <a:gd name="connsiteY41" fmla="*/ 447689 h 571514"/>
              <a:gd name="connsiteX42" fmla="*/ 152400 w 342900"/>
              <a:gd name="connsiteY42" fmla="*/ 447689 h 571514"/>
              <a:gd name="connsiteX43" fmla="*/ 161925 w 342900"/>
              <a:gd name="connsiteY43" fmla="*/ 457214 h 571514"/>
              <a:gd name="connsiteX44" fmla="*/ 152400 w 342900"/>
              <a:gd name="connsiteY44" fmla="*/ 466739 h 571514"/>
              <a:gd name="connsiteX45" fmla="*/ 123825 w 342900"/>
              <a:gd name="connsiteY45" fmla="*/ 466739 h 571514"/>
              <a:gd name="connsiteX46" fmla="*/ 95250 w 342900"/>
              <a:gd name="connsiteY46" fmla="*/ 495314 h 571514"/>
              <a:gd name="connsiteX47" fmla="*/ 123825 w 342900"/>
              <a:gd name="connsiteY47" fmla="*/ 523889 h 571514"/>
              <a:gd name="connsiteX48" fmla="*/ 259956 w 342900"/>
              <a:gd name="connsiteY48" fmla="*/ 523889 h 571514"/>
              <a:gd name="connsiteX49" fmla="*/ 171450 w 342900"/>
              <a:gd name="connsiteY49" fmla="*/ 552464 h 571514"/>
              <a:gd name="connsiteX50" fmla="*/ 26775 w 342900"/>
              <a:gd name="connsiteY50" fmla="*/ 447689 h 571514"/>
              <a:gd name="connsiteX51" fmla="*/ 281835 w 342900"/>
              <a:gd name="connsiteY51" fmla="*/ 504839 h 571514"/>
              <a:gd name="connsiteX52" fmla="*/ 123825 w 342900"/>
              <a:gd name="connsiteY52" fmla="*/ 504839 h 571514"/>
              <a:gd name="connsiteX53" fmla="*/ 114300 w 342900"/>
              <a:gd name="connsiteY53" fmla="*/ 495314 h 571514"/>
              <a:gd name="connsiteX54" fmla="*/ 123825 w 342900"/>
              <a:gd name="connsiteY54" fmla="*/ 485789 h 571514"/>
              <a:gd name="connsiteX55" fmla="*/ 152400 w 342900"/>
              <a:gd name="connsiteY55" fmla="*/ 485789 h 571514"/>
              <a:gd name="connsiteX56" fmla="*/ 180975 w 342900"/>
              <a:gd name="connsiteY56" fmla="*/ 457214 h 571514"/>
              <a:gd name="connsiteX57" fmla="*/ 152400 w 342900"/>
              <a:gd name="connsiteY57" fmla="*/ 428639 h 571514"/>
              <a:gd name="connsiteX58" fmla="*/ 21831 w 342900"/>
              <a:gd name="connsiteY58" fmla="*/ 428639 h 571514"/>
              <a:gd name="connsiteX59" fmla="*/ 19536 w 342900"/>
              <a:gd name="connsiteY59" fmla="*/ 409589 h 571514"/>
              <a:gd name="connsiteX60" fmla="*/ 95250 w 342900"/>
              <a:gd name="connsiteY60" fmla="*/ 409589 h 571514"/>
              <a:gd name="connsiteX61" fmla="*/ 123825 w 342900"/>
              <a:gd name="connsiteY61" fmla="*/ 381014 h 571514"/>
              <a:gd name="connsiteX62" fmla="*/ 95250 w 342900"/>
              <a:gd name="connsiteY62" fmla="*/ 352439 h 571514"/>
              <a:gd name="connsiteX63" fmla="*/ 85725 w 342900"/>
              <a:gd name="connsiteY63" fmla="*/ 352439 h 571514"/>
              <a:gd name="connsiteX64" fmla="*/ 76200 w 342900"/>
              <a:gd name="connsiteY64" fmla="*/ 342914 h 571514"/>
              <a:gd name="connsiteX65" fmla="*/ 85725 w 342900"/>
              <a:gd name="connsiteY65" fmla="*/ 333389 h 571514"/>
              <a:gd name="connsiteX66" fmla="*/ 104775 w 342900"/>
              <a:gd name="connsiteY66" fmla="*/ 333389 h 571514"/>
              <a:gd name="connsiteX67" fmla="*/ 133350 w 342900"/>
              <a:gd name="connsiteY67" fmla="*/ 304814 h 571514"/>
              <a:gd name="connsiteX68" fmla="*/ 104775 w 342900"/>
              <a:gd name="connsiteY68" fmla="*/ 276239 h 571514"/>
              <a:gd name="connsiteX69" fmla="*/ 82944 w 342900"/>
              <a:gd name="connsiteY69" fmla="*/ 276239 h 571514"/>
              <a:gd name="connsiteX70" fmla="*/ 171450 w 342900"/>
              <a:gd name="connsiteY70" fmla="*/ 247664 h 571514"/>
              <a:gd name="connsiteX71" fmla="*/ 245069 w 342900"/>
              <a:gd name="connsiteY71" fmla="*/ 266714 h 571514"/>
              <a:gd name="connsiteX72" fmla="*/ 209550 w 342900"/>
              <a:gd name="connsiteY72" fmla="*/ 266714 h 571514"/>
              <a:gd name="connsiteX73" fmla="*/ 180975 w 342900"/>
              <a:gd name="connsiteY73" fmla="*/ 295289 h 571514"/>
              <a:gd name="connsiteX74" fmla="*/ 209550 w 342900"/>
              <a:gd name="connsiteY74" fmla="*/ 323864 h 571514"/>
              <a:gd name="connsiteX75" fmla="*/ 219075 w 342900"/>
              <a:gd name="connsiteY75" fmla="*/ 333389 h 571514"/>
              <a:gd name="connsiteX76" fmla="*/ 209550 w 342900"/>
              <a:gd name="connsiteY76" fmla="*/ 342914 h 571514"/>
              <a:gd name="connsiteX77" fmla="*/ 190500 w 342900"/>
              <a:gd name="connsiteY77" fmla="*/ 342914 h 571514"/>
              <a:gd name="connsiteX78" fmla="*/ 161925 w 342900"/>
              <a:gd name="connsiteY78" fmla="*/ 371489 h 571514"/>
              <a:gd name="connsiteX79" fmla="*/ 190500 w 342900"/>
              <a:gd name="connsiteY79" fmla="*/ 400064 h 571514"/>
              <a:gd name="connsiteX80" fmla="*/ 266700 w 342900"/>
              <a:gd name="connsiteY80" fmla="*/ 400064 h 571514"/>
              <a:gd name="connsiteX81" fmla="*/ 276225 w 342900"/>
              <a:gd name="connsiteY81" fmla="*/ 409589 h 571514"/>
              <a:gd name="connsiteX82" fmla="*/ 266700 w 342900"/>
              <a:gd name="connsiteY82" fmla="*/ 419114 h 571514"/>
              <a:gd name="connsiteX83" fmla="*/ 238125 w 342900"/>
              <a:gd name="connsiteY83" fmla="*/ 447689 h 571514"/>
              <a:gd name="connsiteX84" fmla="*/ 266700 w 342900"/>
              <a:gd name="connsiteY84" fmla="*/ 476264 h 571514"/>
              <a:gd name="connsiteX85" fmla="*/ 303228 w 342900"/>
              <a:gd name="connsiteY85" fmla="*/ 476264 h 571514"/>
              <a:gd name="connsiteX86" fmla="*/ 281835 w 342900"/>
              <a:gd name="connsiteY86" fmla="*/ 504839 h 571514"/>
              <a:gd name="connsiteX87" fmla="*/ 323850 w 342900"/>
              <a:gd name="connsiteY87" fmla="*/ 400064 h 571514"/>
              <a:gd name="connsiteX88" fmla="*/ 312630 w 342900"/>
              <a:gd name="connsiteY88" fmla="*/ 457214 h 571514"/>
              <a:gd name="connsiteX89" fmla="*/ 266700 w 342900"/>
              <a:gd name="connsiteY89" fmla="*/ 457214 h 571514"/>
              <a:gd name="connsiteX90" fmla="*/ 257175 w 342900"/>
              <a:gd name="connsiteY90" fmla="*/ 447689 h 571514"/>
              <a:gd name="connsiteX91" fmla="*/ 266700 w 342900"/>
              <a:gd name="connsiteY91" fmla="*/ 438164 h 571514"/>
              <a:gd name="connsiteX92" fmla="*/ 295275 w 342900"/>
              <a:gd name="connsiteY92" fmla="*/ 409589 h 571514"/>
              <a:gd name="connsiteX93" fmla="*/ 266700 w 342900"/>
              <a:gd name="connsiteY93" fmla="*/ 381014 h 571514"/>
              <a:gd name="connsiteX94" fmla="*/ 190500 w 342900"/>
              <a:gd name="connsiteY94" fmla="*/ 381014 h 571514"/>
              <a:gd name="connsiteX95" fmla="*/ 180975 w 342900"/>
              <a:gd name="connsiteY95" fmla="*/ 371489 h 571514"/>
              <a:gd name="connsiteX96" fmla="*/ 190500 w 342900"/>
              <a:gd name="connsiteY96" fmla="*/ 361964 h 571514"/>
              <a:gd name="connsiteX97" fmla="*/ 209550 w 342900"/>
              <a:gd name="connsiteY97" fmla="*/ 361964 h 571514"/>
              <a:gd name="connsiteX98" fmla="*/ 238125 w 342900"/>
              <a:gd name="connsiteY98" fmla="*/ 333389 h 571514"/>
              <a:gd name="connsiteX99" fmla="*/ 209550 w 342900"/>
              <a:gd name="connsiteY99" fmla="*/ 304814 h 571514"/>
              <a:gd name="connsiteX100" fmla="*/ 200025 w 342900"/>
              <a:gd name="connsiteY100" fmla="*/ 295289 h 571514"/>
              <a:gd name="connsiteX101" fmla="*/ 209550 w 342900"/>
              <a:gd name="connsiteY101" fmla="*/ 285764 h 571514"/>
              <a:gd name="connsiteX102" fmla="*/ 271910 w 342900"/>
              <a:gd name="connsiteY102" fmla="*/ 285764 h 571514"/>
              <a:gd name="connsiteX103" fmla="*/ 323850 w 342900"/>
              <a:gd name="connsiteY103" fmla="*/ 400064 h 571514"/>
              <a:gd name="connsiteX104" fmla="*/ 61065 w 342900"/>
              <a:gd name="connsiteY104" fmla="*/ 295289 h 571514"/>
              <a:gd name="connsiteX105" fmla="*/ 104775 w 342900"/>
              <a:gd name="connsiteY105" fmla="*/ 295289 h 571514"/>
              <a:gd name="connsiteX106" fmla="*/ 114300 w 342900"/>
              <a:gd name="connsiteY106" fmla="*/ 304814 h 571514"/>
              <a:gd name="connsiteX107" fmla="*/ 104775 w 342900"/>
              <a:gd name="connsiteY107" fmla="*/ 314339 h 571514"/>
              <a:gd name="connsiteX108" fmla="*/ 85725 w 342900"/>
              <a:gd name="connsiteY108" fmla="*/ 314339 h 571514"/>
              <a:gd name="connsiteX109" fmla="*/ 57150 w 342900"/>
              <a:gd name="connsiteY109" fmla="*/ 342914 h 571514"/>
              <a:gd name="connsiteX110" fmla="*/ 85725 w 342900"/>
              <a:gd name="connsiteY110" fmla="*/ 371489 h 571514"/>
              <a:gd name="connsiteX111" fmla="*/ 95250 w 342900"/>
              <a:gd name="connsiteY111" fmla="*/ 371489 h 571514"/>
              <a:gd name="connsiteX112" fmla="*/ 104775 w 342900"/>
              <a:gd name="connsiteY112" fmla="*/ 381014 h 571514"/>
              <a:gd name="connsiteX113" fmla="*/ 95250 w 342900"/>
              <a:gd name="connsiteY113" fmla="*/ 390539 h 571514"/>
              <a:gd name="connsiteX114" fmla="*/ 19536 w 342900"/>
              <a:gd name="connsiteY114" fmla="*/ 390539 h 571514"/>
              <a:gd name="connsiteX115" fmla="*/ 61065 w 342900"/>
              <a:gd name="connsiteY115" fmla="*/ 295289 h 571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</a:cxnLst>
            <a:rect l="l" t="t" r="r" b="b"/>
            <a:pathLst>
              <a:path w="342900" h="571514">
                <a:moveTo>
                  <a:pt x="171450" y="571514"/>
                </a:moveTo>
                <a:cubicBezTo>
                  <a:pt x="265986" y="571514"/>
                  <a:pt x="342900" y="494600"/>
                  <a:pt x="342900" y="400064"/>
                </a:cubicBezTo>
                <a:cubicBezTo>
                  <a:pt x="342900" y="308738"/>
                  <a:pt x="271072" y="234082"/>
                  <a:pt x="180975" y="229100"/>
                </a:cubicBezTo>
                <a:lnTo>
                  <a:pt x="180975" y="156358"/>
                </a:lnTo>
                <a:lnTo>
                  <a:pt x="204168" y="133164"/>
                </a:lnTo>
                <a:cubicBezTo>
                  <a:pt x="206302" y="133278"/>
                  <a:pt x="208998" y="133383"/>
                  <a:pt x="212303" y="133383"/>
                </a:cubicBezTo>
                <a:cubicBezTo>
                  <a:pt x="232143" y="133383"/>
                  <a:pt x="270472" y="129830"/>
                  <a:pt x="295399" y="104903"/>
                </a:cubicBezTo>
                <a:cubicBezTo>
                  <a:pt x="329527" y="70775"/>
                  <a:pt x="323583" y="11511"/>
                  <a:pt x="323317" y="9006"/>
                </a:cubicBezTo>
                <a:cubicBezTo>
                  <a:pt x="322840" y="4548"/>
                  <a:pt x="319326" y="1033"/>
                  <a:pt x="314868" y="557"/>
                </a:cubicBezTo>
                <a:cubicBezTo>
                  <a:pt x="312363" y="290"/>
                  <a:pt x="253089" y="-5653"/>
                  <a:pt x="218970" y="28475"/>
                </a:cubicBezTo>
                <a:cubicBezTo>
                  <a:pt x="189881" y="57564"/>
                  <a:pt x="189900" y="104799"/>
                  <a:pt x="190710" y="119696"/>
                </a:cubicBezTo>
                <a:lnTo>
                  <a:pt x="164725" y="145680"/>
                </a:lnTo>
                <a:cubicBezTo>
                  <a:pt x="162925" y="147461"/>
                  <a:pt x="161925" y="149890"/>
                  <a:pt x="161925" y="152414"/>
                </a:cubicBezTo>
                <a:lnTo>
                  <a:pt x="161925" y="186571"/>
                </a:lnTo>
                <a:lnTo>
                  <a:pt x="142675" y="167321"/>
                </a:lnTo>
                <a:cubicBezTo>
                  <a:pt x="143485" y="152414"/>
                  <a:pt x="143504" y="105180"/>
                  <a:pt x="114414" y="76100"/>
                </a:cubicBezTo>
                <a:cubicBezTo>
                  <a:pt x="80286" y="41972"/>
                  <a:pt x="21012" y="47896"/>
                  <a:pt x="18517" y="48182"/>
                </a:cubicBezTo>
                <a:cubicBezTo>
                  <a:pt x="14059" y="48658"/>
                  <a:pt x="10544" y="52173"/>
                  <a:pt x="10068" y="56631"/>
                </a:cubicBezTo>
                <a:cubicBezTo>
                  <a:pt x="9801" y="59136"/>
                  <a:pt x="3858" y="118410"/>
                  <a:pt x="37986" y="152528"/>
                </a:cubicBezTo>
                <a:cubicBezTo>
                  <a:pt x="62913" y="177455"/>
                  <a:pt x="101241" y="181008"/>
                  <a:pt x="121082" y="181008"/>
                </a:cubicBezTo>
                <a:cubicBezTo>
                  <a:pt x="124387" y="181008"/>
                  <a:pt x="127083" y="180903"/>
                  <a:pt x="129216" y="180789"/>
                </a:cubicBezTo>
                <a:lnTo>
                  <a:pt x="161925" y="213508"/>
                </a:lnTo>
                <a:lnTo>
                  <a:pt x="161925" y="229100"/>
                </a:lnTo>
                <a:cubicBezTo>
                  <a:pt x="71828" y="234082"/>
                  <a:pt x="0" y="308738"/>
                  <a:pt x="0" y="400064"/>
                </a:cubicBezTo>
                <a:cubicBezTo>
                  <a:pt x="0" y="494600"/>
                  <a:pt x="76914" y="571514"/>
                  <a:pt x="171450" y="571514"/>
                </a:cubicBezTo>
                <a:close/>
                <a:moveTo>
                  <a:pt x="232429" y="41943"/>
                </a:moveTo>
                <a:cubicBezTo>
                  <a:pt x="253517" y="20855"/>
                  <a:pt x="288922" y="18826"/>
                  <a:pt x="304781" y="19112"/>
                </a:cubicBezTo>
                <a:cubicBezTo>
                  <a:pt x="305067" y="34923"/>
                  <a:pt x="303095" y="70271"/>
                  <a:pt x="281930" y="91445"/>
                </a:cubicBezTo>
                <a:cubicBezTo>
                  <a:pt x="265738" y="107637"/>
                  <a:pt x="241249" y="112562"/>
                  <a:pt x="223485" y="113867"/>
                </a:cubicBezTo>
                <a:lnTo>
                  <a:pt x="273444" y="63908"/>
                </a:lnTo>
                <a:lnTo>
                  <a:pt x="259975" y="50440"/>
                </a:lnTo>
                <a:lnTo>
                  <a:pt x="209998" y="100417"/>
                </a:lnTo>
                <a:cubicBezTo>
                  <a:pt x="211274" y="82701"/>
                  <a:pt x="216189" y="58183"/>
                  <a:pt x="232429" y="41943"/>
                </a:cubicBezTo>
                <a:close/>
                <a:moveTo>
                  <a:pt x="51454" y="139060"/>
                </a:moveTo>
                <a:cubicBezTo>
                  <a:pt x="30366" y="117972"/>
                  <a:pt x="28365" y="82539"/>
                  <a:pt x="28623" y="66708"/>
                </a:cubicBezTo>
                <a:cubicBezTo>
                  <a:pt x="44358" y="66365"/>
                  <a:pt x="79781" y="68394"/>
                  <a:pt x="100955" y="89559"/>
                </a:cubicBezTo>
                <a:cubicBezTo>
                  <a:pt x="117119" y="105723"/>
                  <a:pt x="122044" y="130250"/>
                  <a:pt x="123358" y="147985"/>
                </a:cubicBezTo>
                <a:lnTo>
                  <a:pt x="73419" y="98045"/>
                </a:lnTo>
                <a:lnTo>
                  <a:pt x="59950" y="111514"/>
                </a:lnTo>
                <a:lnTo>
                  <a:pt x="109899" y="161463"/>
                </a:lnTo>
                <a:cubicBezTo>
                  <a:pt x="92183" y="160168"/>
                  <a:pt x="67685" y="155291"/>
                  <a:pt x="51454" y="139060"/>
                </a:cubicBezTo>
                <a:close/>
                <a:moveTo>
                  <a:pt x="26775" y="447689"/>
                </a:moveTo>
                <a:lnTo>
                  <a:pt x="152400" y="447689"/>
                </a:lnTo>
                <a:cubicBezTo>
                  <a:pt x="157648" y="447689"/>
                  <a:pt x="161925" y="451966"/>
                  <a:pt x="161925" y="457214"/>
                </a:cubicBezTo>
                <a:cubicBezTo>
                  <a:pt x="161925" y="462462"/>
                  <a:pt x="157648" y="466739"/>
                  <a:pt x="152400" y="466739"/>
                </a:cubicBezTo>
                <a:lnTo>
                  <a:pt x="123825" y="466739"/>
                </a:lnTo>
                <a:cubicBezTo>
                  <a:pt x="108071" y="466739"/>
                  <a:pt x="95250" y="479560"/>
                  <a:pt x="95250" y="495314"/>
                </a:cubicBezTo>
                <a:cubicBezTo>
                  <a:pt x="95250" y="511069"/>
                  <a:pt x="108071" y="523889"/>
                  <a:pt x="123825" y="523889"/>
                </a:cubicBezTo>
                <a:lnTo>
                  <a:pt x="259956" y="523889"/>
                </a:lnTo>
                <a:cubicBezTo>
                  <a:pt x="234972" y="541796"/>
                  <a:pt x="204464" y="552464"/>
                  <a:pt x="171450" y="552464"/>
                </a:cubicBezTo>
                <a:cubicBezTo>
                  <a:pt x="104061" y="552464"/>
                  <a:pt x="46834" y="508449"/>
                  <a:pt x="26775" y="447689"/>
                </a:cubicBezTo>
                <a:close/>
                <a:moveTo>
                  <a:pt x="281835" y="504839"/>
                </a:moveTo>
                <a:lnTo>
                  <a:pt x="123825" y="504839"/>
                </a:lnTo>
                <a:cubicBezTo>
                  <a:pt x="118577" y="504839"/>
                  <a:pt x="114300" y="500562"/>
                  <a:pt x="114300" y="495314"/>
                </a:cubicBezTo>
                <a:cubicBezTo>
                  <a:pt x="114300" y="490066"/>
                  <a:pt x="118577" y="485789"/>
                  <a:pt x="123825" y="485789"/>
                </a:cubicBezTo>
                <a:lnTo>
                  <a:pt x="152400" y="485789"/>
                </a:lnTo>
                <a:cubicBezTo>
                  <a:pt x="168154" y="485789"/>
                  <a:pt x="180975" y="472969"/>
                  <a:pt x="180975" y="457214"/>
                </a:cubicBezTo>
                <a:cubicBezTo>
                  <a:pt x="180975" y="441460"/>
                  <a:pt x="168154" y="428639"/>
                  <a:pt x="152400" y="428639"/>
                </a:cubicBezTo>
                <a:lnTo>
                  <a:pt x="21831" y="428639"/>
                </a:lnTo>
                <a:cubicBezTo>
                  <a:pt x="20650" y="422419"/>
                  <a:pt x="19936" y="416047"/>
                  <a:pt x="19536" y="409589"/>
                </a:cubicBezTo>
                <a:lnTo>
                  <a:pt x="95250" y="409589"/>
                </a:lnTo>
                <a:cubicBezTo>
                  <a:pt x="111004" y="409589"/>
                  <a:pt x="123825" y="396769"/>
                  <a:pt x="123825" y="381014"/>
                </a:cubicBezTo>
                <a:cubicBezTo>
                  <a:pt x="123825" y="365260"/>
                  <a:pt x="111004" y="352439"/>
                  <a:pt x="95250" y="352439"/>
                </a:cubicBezTo>
                <a:lnTo>
                  <a:pt x="85725" y="352439"/>
                </a:lnTo>
                <a:cubicBezTo>
                  <a:pt x="80477" y="352439"/>
                  <a:pt x="76200" y="348162"/>
                  <a:pt x="76200" y="342914"/>
                </a:cubicBezTo>
                <a:cubicBezTo>
                  <a:pt x="76200" y="337666"/>
                  <a:pt x="80477" y="333389"/>
                  <a:pt x="85725" y="333389"/>
                </a:cubicBezTo>
                <a:lnTo>
                  <a:pt x="104775" y="333389"/>
                </a:lnTo>
                <a:cubicBezTo>
                  <a:pt x="120529" y="333389"/>
                  <a:pt x="133350" y="320569"/>
                  <a:pt x="133350" y="304814"/>
                </a:cubicBezTo>
                <a:cubicBezTo>
                  <a:pt x="133350" y="289060"/>
                  <a:pt x="120529" y="276239"/>
                  <a:pt x="104775" y="276239"/>
                </a:cubicBezTo>
                <a:lnTo>
                  <a:pt x="82944" y="276239"/>
                </a:lnTo>
                <a:cubicBezTo>
                  <a:pt x="107928" y="258332"/>
                  <a:pt x="138436" y="247664"/>
                  <a:pt x="171450" y="247664"/>
                </a:cubicBezTo>
                <a:cubicBezTo>
                  <a:pt x="198139" y="247664"/>
                  <a:pt x="223228" y="254608"/>
                  <a:pt x="245069" y="266714"/>
                </a:cubicBezTo>
                <a:lnTo>
                  <a:pt x="209550" y="266714"/>
                </a:lnTo>
                <a:cubicBezTo>
                  <a:pt x="193796" y="266714"/>
                  <a:pt x="180975" y="279535"/>
                  <a:pt x="180975" y="295289"/>
                </a:cubicBezTo>
                <a:cubicBezTo>
                  <a:pt x="180975" y="311044"/>
                  <a:pt x="193796" y="323864"/>
                  <a:pt x="209550" y="323864"/>
                </a:cubicBezTo>
                <a:cubicBezTo>
                  <a:pt x="214798" y="323864"/>
                  <a:pt x="219075" y="328141"/>
                  <a:pt x="219075" y="333389"/>
                </a:cubicBezTo>
                <a:cubicBezTo>
                  <a:pt x="219075" y="338637"/>
                  <a:pt x="214798" y="342914"/>
                  <a:pt x="209550" y="342914"/>
                </a:cubicBezTo>
                <a:lnTo>
                  <a:pt x="190500" y="342914"/>
                </a:lnTo>
                <a:cubicBezTo>
                  <a:pt x="174746" y="342914"/>
                  <a:pt x="161925" y="355735"/>
                  <a:pt x="161925" y="371489"/>
                </a:cubicBezTo>
                <a:cubicBezTo>
                  <a:pt x="161925" y="387244"/>
                  <a:pt x="174746" y="400064"/>
                  <a:pt x="190500" y="400064"/>
                </a:cubicBezTo>
                <a:lnTo>
                  <a:pt x="266700" y="400064"/>
                </a:lnTo>
                <a:cubicBezTo>
                  <a:pt x="271948" y="400064"/>
                  <a:pt x="276225" y="404341"/>
                  <a:pt x="276225" y="409589"/>
                </a:cubicBezTo>
                <a:cubicBezTo>
                  <a:pt x="276225" y="414837"/>
                  <a:pt x="271948" y="419114"/>
                  <a:pt x="266700" y="419114"/>
                </a:cubicBezTo>
                <a:cubicBezTo>
                  <a:pt x="250946" y="419114"/>
                  <a:pt x="238125" y="431935"/>
                  <a:pt x="238125" y="447689"/>
                </a:cubicBezTo>
                <a:cubicBezTo>
                  <a:pt x="238125" y="463444"/>
                  <a:pt x="250946" y="476264"/>
                  <a:pt x="266700" y="476264"/>
                </a:cubicBezTo>
                <a:lnTo>
                  <a:pt x="303228" y="476264"/>
                </a:lnTo>
                <a:cubicBezTo>
                  <a:pt x="297209" y="486627"/>
                  <a:pt x="290036" y="496210"/>
                  <a:pt x="281835" y="504839"/>
                </a:cubicBezTo>
                <a:close/>
                <a:moveTo>
                  <a:pt x="323850" y="400064"/>
                </a:moveTo>
                <a:cubicBezTo>
                  <a:pt x="323850" y="420276"/>
                  <a:pt x="319811" y="439545"/>
                  <a:pt x="312630" y="457214"/>
                </a:cubicBezTo>
                <a:lnTo>
                  <a:pt x="266700" y="457214"/>
                </a:lnTo>
                <a:cubicBezTo>
                  <a:pt x="261452" y="457214"/>
                  <a:pt x="257175" y="452937"/>
                  <a:pt x="257175" y="447689"/>
                </a:cubicBezTo>
                <a:cubicBezTo>
                  <a:pt x="257175" y="442441"/>
                  <a:pt x="261452" y="438164"/>
                  <a:pt x="266700" y="438164"/>
                </a:cubicBezTo>
                <a:cubicBezTo>
                  <a:pt x="282454" y="438164"/>
                  <a:pt x="295275" y="425344"/>
                  <a:pt x="295275" y="409589"/>
                </a:cubicBezTo>
                <a:cubicBezTo>
                  <a:pt x="295275" y="393835"/>
                  <a:pt x="282454" y="381014"/>
                  <a:pt x="266700" y="381014"/>
                </a:cubicBezTo>
                <a:lnTo>
                  <a:pt x="190500" y="381014"/>
                </a:lnTo>
                <a:cubicBezTo>
                  <a:pt x="185252" y="381014"/>
                  <a:pt x="180975" y="376737"/>
                  <a:pt x="180975" y="371489"/>
                </a:cubicBezTo>
                <a:cubicBezTo>
                  <a:pt x="180975" y="366241"/>
                  <a:pt x="185252" y="361964"/>
                  <a:pt x="190500" y="361964"/>
                </a:cubicBezTo>
                <a:lnTo>
                  <a:pt x="209550" y="361964"/>
                </a:lnTo>
                <a:cubicBezTo>
                  <a:pt x="225304" y="361964"/>
                  <a:pt x="238125" y="349144"/>
                  <a:pt x="238125" y="333389"/>
                </a:cubicBezTo>
                <a:cubicBezTo>
                  <a:pt x="238125" y="317635"/>
                  <a:pt x="225304" y="304814"/>
                  <a:pt x="209550" y="304814"/>
                </a:cubicBezTo>
                <a:cubicBezTo>
                  <a:pt x="204302" y="304814"/>
                  <a:pt x="200025" y="300537"/>
                  <a:pt x="200025" y="295289"/>
                </a:cubicBezTo>
                <a:cubicBezTo>
                  <a:pt x="200025" y="290041"/>
                  <a:pt x="204302" y="285764"/>
                  <a:pt x="209550" y="285764"/>
                </a:cubicBezTo>
                <a:lnTo>
                  <a:pt x="271910" y="285764"/>
                </a:lnTo>
                <a:cubicBezTo>
                  <a:pt x="303676" y="313711"/>
                  <a:pt x="323850" y="354535"/>
                  <a:pt x="323850" y="400064"/>
                </a:cubicBezTo>
                <a:close/>
                <a:moveTo>
                  <a:pt x="61065" y="295289"/>
                </a:moveTo>
                <a:lnTo>
                  <a:pt x="104775" y="295289"/>
                </a:lnTo>
                <a:cubicBezTo>
                  <a:pt x="110023" y="295289"/>
                  <a:pt x="114300" y="299566"/>
                  <a:pt x="114300" y="304814"/>
                </a:cubicBezTo>
                <a:cubicBezTo>
                  <a:pt x="114300" y="310062"/>
                  <a:pt x="110023" y="314339"/>
                  <a:pt x="104775" y="314339"/>
                </a:cubicBezTo>
                <a:lnTo>
                  <a:pt x="85725" y="314339"/>
                </a:lnTo>
                <a:cubicBezTo>
                  <a:pt x="69971" y="314339"/>
                  <a:pt x="57150" y="327160"/>
                  <a:pt x="57150" y="342914"/>
                </a:cubicBezTo>
                <a:cubicBezTo>
                  <a:pt x="57150" y="358669"/>
                  <a:pt x="69971" y="371489"/>
                  <a:pt x="85725" y="371489"/>
                </a:cubicBezTo>
                <a:lnTo>
                  <a:pt x="95250" y="371489"/>
                </a:lnTo>
                <a:cubicBezTo>
                  <a:pt x="100498" y="371489"/>
                  <a:pt x="104775" y="375766"/>
                  <a:pt x="104775" y="381014"/>
                </a:cubicBezTo>
                <a:cubicBezTo>
                  <a:pt x="104775" y="386262"/>
                  <a:pt x="100498" y="390539"/>
                  <a:pt x="95250" y="390539"/>
                </a:cubicBezTo>
                <a:lnTo>
                  <a:pt x="19536" y="390539"/>
                </a:lnTo>
                <a:cubicBezTo>
                  <a:pt x="21822" y="353735"/>
                  <a:pt x="37157" y="320464"/>
                  <a:pt x="61065" y="295289"/>
                </a:cubicBezTo>
                <a:close/>
              </a:path>
            </a:pathLst>
          </a:custGeom>
          <a:solidFill>
            <a:srgbClr val="34B233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dirty="0"/>
          </a:p>
        </p:txBody>
      </p:sp>
      <p:sp>
        <p:nvSpPr>
          <p:cNvPr id="21" name="Graphic 206">
            <a:extLst>
              <a:ext uri="{FF2B5EF4-FFF2-40B4-BE49-F238E27FC236}">
                <a16:creationId xmlns:a16="http://schemas.microsoft.com/office/drawing/2014/main" id="{D331166F-2EE6-4D69-8113-ACF8483F4A16}"/>
              </a:ext>
            </a:extLst>
          </p:cNvPr>
          <p:cNvSpPr/>
          <p:nvPr/>
        </p:nvSpPr>
        <p:spPr>
          <a:xfrm>
            <a:off x="3533516" y="3361457"/>
            <a:ext cx="501379" cy="513408"/>
          </a:xfrm>
          <a:custGeom>
            <a:avLst/>
            <a:gdLst>
              <a:gd name="connsiteX0" fmla="*/ 5223540 w 5249265"/>
              <a:gd name="connsiteY0" fmla="*/ 4699927 h 5482779"/>
              <a:gd name="connsiteX1" fmla="*/ 5084489 w 5249265"/>
              <a:gd name="connsiteY1" fmla="*/ 4827854 h 5482779"/>
              <a:gd name="connsiteX2" fmla="*/ 3716226 w 5249265"/>
              <a:gd name="connsiteY2" fmla="*/ 3348350 h 5482779"/>
              <a:gd name="connsiteX3" fmla="*/ 3543803 w 5249265"/>
              <a:gd name="connsiteY3" fmla="*/ 3287168 h 5482779"/>
              <a:gd name="connsiteX4" fmla="*/ 3287949 w 5249265"/>
              <a:gd name="connsiteY4" fmla="*/ 3287168 h 5482779"/>
              <a:gd name="connsiteX5" fmla="*/ 2247847 w 5249265"/>
              <a:gd name="connsiteY5" fmla="*/ 3287168 h 5482779"/>
              <a:gd name="connsiteX6" fmla="*/ 2247847 w 5249265"/>
              <a:gd name="connsiteY6" fmla="*/ 3637577 h 5482779"/>
              <a:gd name="connsiteX7" fmla="*/ 3076591 w 5249265"/>
              <a:gd name="connsiteY7" fmla="*/ 3637577 h 5482779"/>
              <a:gd name="connsiteX8" fmla="*/ 3082153 w 5249265"/>
              <a:gd name="connsiteY8" fmla="*/ 4082540 h 5482779"/>
              <a:gd name="connsiteX9" fmla="*/ 3082153 w 5249265"/>
              <a:gd name="connsiteY9" fmla="*/ 4082540 h 5482779"/>
              <a:gd name="connsiteX10" fmla="*/ 1802883 w 5249265"/>
              <a:gd name="connsiteY10" fmla="*/ 4088102 h 5482779"/>
              <a:gd name="connsiteX11" fmla="*/ 529175 w 5249265"/>
              <a:gd name="connsiteY11" fmla="*/ 2970132 h 5482779"/>
              <a:gd name="connsiteX12" fmla="*/ 529175 w 5249265"/>
              <a:gd name="connsiteY12" fmla="*/ 2970132 h 5482779"/>
              <a:gd name="connsiteX13" fmla="*/ 262197 w 5249265"/>
              <a:gd name="connsiteY13" fmla="*/ 3198175 h 5482779"/>
              <a:gd name="connsiteX14" fmla="*/ 1674956 w 5249265"/>
              <a:gd name="connsiteY14" fmla="*/ 4494132 h 5482779"/>
              <a:gd name="connsiteX15" fmla="*/ 2047613 w 5249265"/>
              <a:gd name="connsiteY15" fmla="*/ 4672117 h 5482779"/>
              <a:gd name="connsiteX16" fmla="*/ 3738474 w 5249265"/>
              <a:gd name="connsiteY16" fmla="*/ 4672117 h 5482779"/>
              <a:gd name="connsiteX17" fmla="*/ 4389233 w 5249265"/>
              <a:gd name="connsiteY17" fmla="*/ 5322876 h 5482779"/>
              <a:gd name="connsiteX18" fmla="*/ 4255744 w 5249265"/>
              <a:gd name="connsiteY18" fmla="*/ 5456365 h 5482779"/>
              <a:gd name="connsiteX19" fmla="*/ 3660606 w 5249265"/>
              <a:gd name="connsiteY19" fmla="*/ 4861227 h 5482779"/>
              <a:gd name="connsiteX20" fmla="*/ 2047613 w 5249265"/>
              <a:gd name="connsiteY20" fmla="*/ 4861227 h 5482779"/>
              <a:gd name="connsiteX21" fmla="*/ 1547029 w 5249265"/>
              <a:gd name="connsiteY21" fmla="*/ 4633183 h 5482779"/>
              <a:gd name="connsiteX22" fmla="*/ 134270 w 5249265"/>
              <a:gd name="connsiteY22" fmla="*/ 3337226 h 5482779"/>
              <a:gd name="connsiteX23" fmla="*/ 134270 w 5249265"/>
              <a:gd name="connsiteY23" fmla="*/ 3331664 h 5482779"/>
              <a:gd name="connsiteX24" fmla="*/ 657102 w 5249265"/>
              <a:gd name="connsiteY24" fmla="*/ 2831080 h 5482779"/>
              <a:gd name="connsiteX25" fmla="*/ 657102 w 5249265"/>
              <a:gd name="connsiteY25" fmla="*/ 2831080 h 5482779"/>
              <a:gd name="connsiteX26" fmla="*/ 1875190 w 5249265"/>
              <a:gd name="connsiteY26" fmla="*/ 3904555 h 5482779"/>
              <a:gd name="connsiteX27" fmla="*/ 3082153 w 5249265"/>
              <a:gd name="connsiteY27" fmla="*/ 3893431 h 5482779"/>
              <a:gd name="connsiteX28" fmla="*/ 3076591 w 5249265"/>
              <a:gd name="connsiteY28" fmla="*/ 3821124 h 5482779"/>
              <a:gd name="connsiteX29" fmla="*/ 2247847 w 5249265"/>
              <a:gd name="connsiteY29" fmla="*/ 3821124 h 5482779"/>
              <a:gd name="connsiteX30" fmla="*/ 2247847 w 5249265"/>
              <a:gd name="connsiteY30" fmla="*/ 3098059 h 5482779"/>
              <a:gd name="connsiteX31" fmla="*/ 3287949 w 5249265"/>
              <a:gd name="connsiteY31" fmla="*/ 3098059 h 5482779"/>
              <a:gd name="connsiteX32" fmla="*/ 3543803 w 5249265"/>
              <a:gd name="connsiteY32" fmla="*/ 3098059 h 5482779"/>
              <a:gd name="connsiteX33" fmla="*/ 3855277 w 5249265"/>
              <a:gd name="connsiteY33" fmla="*/ 3220423 h 5482779"/>
              <a:gd name="connsiteX34" fmla="*/ 5223540 w 5249265"/>
              <a:gd name="connsiteY34" fmla="*/ 4699927 h 5482779"/>
              <a:gd name="connsiteX35" fmla="*/ 2559321 w 5249265"/>
              <a:gd name="connsiteY35" fmla="*/ 2730964 h 5482779"/>
              <a:gd name="connsiteX36" fmla="*/ 2064299 w 5249265"/>
              <a:gd name="connsiteY36" fmla="*/ 2286000 h 5482779"/>
              <a:gd name="connsiteX37" fmla="*/ 1102066 w 5249265"/>
              <a:gd name="connsiteY37" fmla="*/ 945547 h 5482779"/>
              <a:gd name="connsiteX38" fmla="*/ 1385730 w 5249265"/>
              <a:gd name="connsiteY38" fmla="*/ 283664 h 5482779"/>
              <a:gd name="connsiteX39" fmla="*/ 1385730 w 5249265"/>
              <a:gd name="connsiteY39" fmla="*/ 283664 h 5482779"/>
              <a:gd name="connsiteX40" fmla="*/ 1686080 w 5249265"/>
              <a:gd name="connsiteY40" fmla="*/ 77869 h 5482779"/>
              <a:gd name="connsiteX41" fmla="*/ 2042051 w 5249265"/>
              <a:gd name="connsiteY41" fmla="*/ 0 h 5482779"/>
              <a:gd name="connsiteX42" fmla="*/ 2626065 w 5249265"/>
              <a:gd name="connsiteY42" fmla="*/ 222482 h 5482779"/>
              <a:gd name="connsiteX43" fmla="*/ 3204518 w 5249265"/>
              <a:gd name="connsiteY43" fmla="*/ 0 h 5482779"/>
              <a:gd name="connsiteX44" fmla="*/ 3560489 w 5249265"/>
              <a:gd name="connsiteY44" fmla="*/ 77869 h 5482779"/>
              <a:gd name="connsiteX45" fmla="*/ 3860839 w 5249265"/>
              <a:gd name="connsiteY45" fmla="*/ 283664 h 5482779"/>
              <a:gd name="connsiteX46" fmla="*/ 4144503 w 5249265"/>
              <a:gd name="connsiteY46" fmla="*/ 945547 h 5482779"/>
              <a:gd name="connsiteX47" fmla="*/ 3182270 w 5249265"/>
              <a:gd name="connsiteY47" fmla="*/ 2286000 h 5482779"/>
              <a:gd name="connsiteX48" fmla="*/ 2692810 w 5249265"/>
              <a:gd name="connsiteY48" fmla="*/ 2730964 h 5482779"/>
              <a:gd name="connsiteX49" fmla="*/ 2626065 w 5249265"/>
              <a:gd name="connsiteY49" fmla="*/ 2797708 h 5482779"/>
              <a:gd name="connsiteX50" fmla="*/ 2559321 w 5249265"/>
              <a:gd name="connsiteY50" fmla="*/ 2730964 h 5482779"/>
              <a:gd name="connsiteX51" fmla="*/ 2186664 w 5249265"/>
              <a:gd name="connsiteY51" fmla="*/ 2146949 h 5482779"/>
              <a:gd name="connsiteX52" fmla="*/ 2626065 w 5249265"/>
              <a:gd name="connsiteY52" fmla="*/ 2530730 h 5482779"/>
              <a:gd name="connsiteX53" fmla="*/ 3059905 w 5249265"/>
              <a:gd name="connsiteY53" fmla="*/ 2146949 h 5482779"/>
              <a:gd name="connsiteX54" fmla="*/ 3955394 w 5249265"/>
              <a:gd name="connsiteY54" fmla="*/ 945547 h 5482779"/>
              <a:gd name="connsiteX55" fmla="*/ 3727350 w 5249265"/>
              <a:gd name="connsiteY55" fmla="*/ 417153 h 5482779"/>
              <a:gd name="connsiteX56" fmla="*/ 3488182 w 5249265"/>
              <a:gd name="connsiteY56" fmla="*/ 250292 h 5482779"/>
              <a:gd name="connsiteX57" fmla="*/ 3204518 w 5249265"/>
              <a:gd name="connsiteY57" fmla="*/ 189109 h 5482779"/>
              <a:gd name="connsiteX58" fmla="*/ 2692810 w 5249265"/>
              <a:gd name="connsiteY58" fmla="*/ 417153 h 5482779"/>
              <a:gd name="connsiteX59" fmla="*/ 2626065 w 5249265"/>
              <a:gd name="connsiteY59" fmla="*/ 483898 h 5482779"/>
              <a:gd name="connsiteX60" fmla="*/ 2559321 w 5249265"/>
              <a:gd name="connsiteY60" fmla="*/ 417153 h 5482779"/>
              <a:gd name="connsiteX61" fmla="*/ 2042051 w 5249265"/>
              <a:gd name="connsiteY61" fmla="*/ 189109 h 5482779"/>
              <a:gd name="connsiteX62" fmla="*/ 1763949 w 5249265"/>
              <a:gd name="connsiteY62" fmla="*/ 250292 h 5482779"/>
              <a:gd name="connsiteX63" fmla="*/ 1519219 w 5249265"/>
              <a:gd name="connsiteY63" fmla="*/ 417153 h 5482779"/>
              <a:gd name="connsiteX64" fmla="*/ 1519219 w 5249265"/>
              <a:gd name="connsiteY64" fmla="*/ 417153 h 5482779"/>
              <a:gd name="connsiteX65" fmla="*/ 1291175 w 5249265"/>
              <a:gd name="connsiteY65" fmla="*/ 945547 h 5482779"/>
              <a:gd name="connsiteX66" fmla="*/ 2186664 w 5249265"/>
              <a:gd name="connsiteY66" fmla="*/ 2146949 h 5482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</a:cxnLst>
            <a:rect l="l" t="t" r="r" b="b"/>
            <a:pathLst>
              <a:path w="5249265" h="5482779">
                <a:moveTo>
                  <a:pt x="5223540" y="4699927"/>
                </a:moveTo>
                <a:cubicBezTo>
                  <a:pt x="5306971" y="4794482"/>
                  <a:pt x="5167919" y="4922409"/>
                  <a:pt x="5084489" y="4827854"/>
                </a:cubicBezTo>
                <a:lnTo>
                  <a:pt x="3716226" y="3348350"/>
                </a:lnTo>
                <a:cubicBezTo>
                  <a:pt x="3649481" y="3270482"/>
                  <a:pt x="3643919" y="3287168"/>
                  <a:pt x="3543803" y="3287168"/>
                </a:cubicBezTo>
                <a:lnTo>
                  <a:pt x="3287949" y="3287168"/>
                </a:lnTo>
                <a:lnTo>
                  <a:pt x="2247847" y="3287168"/>
                </a:lnTo>
                <a:cubicBezTo>
                  <a:pt x="1975306" y="3287168"/>
                  <a:pt x="2064299" y="3637577"/>
                  <a:pt x="2247847" y="3637577"/>
                </a:cubicBezTo>
                <a:lnTo>
                  <a:pt x="3076591" y="3637577"/>
                </a:lnTo>
                <a:cubicBezTo>
                  <a:pt x="3404752" y="3637577"/>
                  <a:pt x="3393627" y="4082540"/>
                  <a:pt x="3082153" y="4082540"/>
                </a:cubicBezTo>
                <a:lnTo>
                  <a:pt x="3082153" y="4082540"/>
                </a:lnTo>
                <a:lnTo>
                  <a:pt x="1802883" y="4088102"/>
                </a:lnTo>
                <a:lnTo>
                  <a:pt x="529175" y="2970132"/>
                </a:lnTo>
                <a:lnTo>
                  <a:pt x="529175" y="2970132"/>
                </a:lnTo>
                <a:cubicBezTo>
                  <a:pt x="256635" y="2730964"/>
                  <a:pt x="84212" y="3025752"/>
                  <a:pt x="262197" y="3198175"/>
                </a:cubicBezTo>
                <a:lnTo>
                  <a:pt x="1674956" y="4494132"/>
                </a:lnTo>
                <a:cubicBezTo>
                  <a:pt x="1830693" y="4633183"/>
                  <a:pt x="1891876" y="4672117"/>
                  <a:pt x="2047613" y="4672117"/>
                </a:cubicBezTo>
                <a:lnTo>
                  <a:pt x="3738474" y="4672117"/>
                </a:lnTo>
                <a:lnTo>
                  <a:pt x="4389233" y="5322876"/>
                </a:lnTo>
                <a:cubicBezTo>
                  <a:pt x="4478226" y="5406307"/>
                  <a:pt x="4344737" y="5539796"/>
                  <a:pt x="4255744" y="5456365"/>
                </a:cubicBezTo>
                <a:lnTo>
                  <a:pt x="3660606" y="4861227"/>
                </a:lnTo>
                <a:lnTo>
                  <a:pt x="2047613" y="4861227"/>
                </a:lnTo>
                <a:cubicBezTo>
                  <a:pt x="1836255" y="4861227"/>
                  <a:pt x="1736138" y="4800044"/>
                  <a:pt x="1547029" y="4633183"/>
                </a:cubicBezTo>
                <a:lnTo>
                  <a:pt x="134270" y="3337226"/>
                </a:lnTo>
                <a:lnTo>
                  <a:pt x="134270" y="3331664"/>
                </a:lnTo>
                <a:cubicBezTo>
                  <a:pt x="-232825" y="2964569"/>
                  <a:pt x="223263" y="2436175"/>
                  <a:pt x="657102" y="2831080"/>
                </a:cubicBezTo>
                <a:lnTo>
                  <a:pt x="657102" y="2831080"/>
                </a:lnTo>
                <a:lnTo>
                  <a:pt x="1875190" y="3904555"/>
                </a:lnTo>
                <a:lnTo>
                  <a:pt x="3082153" y="3893431"/>
                </a:lnTo>
                <a:cubicBezTo>
                  <a:pt x="3148898" y="3893431"/>
                  <a:pt x="3148898" y="3821124"/>
                  <a:pt x="3076591" y="3821124"/>
                </a:cubicBezTo>
                <a:lnTo>
                  <a:pt x="2247847" y="3821124"/>
                </a:lnTo>
                <a:cubicBezTo>
                  <a:pt x="1819569" y="3821124"/>
                  <a:pt x="1725014" y="3098059"/>
                  <a:pt x="2247847" y="3098059"/>
                </a:cubicBezTo>
                <a:lnTo>
                  <a:pt x="3287949" y="3098059"/>
                </a:lnTo>
                <a:lnTo>
                  <a:pt x="3543803" y="3098059"/>
                </a:lnTo>
                <a:cubicBezTo>
                  <a:pt x="3699540" y="3098059"/>
                  <a:pt x="3744036" y="3098059"/>
                  <a:pt x="3855277" y="3220423"/>
                </a:cubicBezTo>
                <a:lnTo>
                  <a:pt x="5223540" y="4699927"/>
                </a:lnTo>
                <a:close/>
                <a:moveTo>
                  <a:pt x="2559321" y="2730964"/>
                </a:moveTo>
                <a:cubicBezTo>
                  <a:pt x="2403584" y="2575226"/>
                  <a:pt x="2231160" y="2430613"/>
                  <a:pt x="2064299" y="2286000"/>
                </a:cubicBezTo>
                <a:cubicBezTo>
                  <a:pt x="1574839" y="1868847"/>
                  <a:pt x="1102066" y="1468380"/>
                  <a:pt x="1102066" y="945547"/>
                </a:cubicBezTo>
                <a:cubicBezTo>
                  <a:pt x="1102066" y="695256"/>
                  <a:pt x="1213306" y="456088"/>
                  <a:pt x="1385730" y="283664"/>
                </a:cubicBezTo>
                <a:lnTo>
                  <a:pt x="1385730" y="283664"/>
                </a:lnTo>
                <a:cubicBezTo>
                  <a:pt x="1474722" y="200234"/>
                  <a:pt x="1574839" y="127927"/>
                  <a:pt x="1686080" y="77869"/>
                </a:cubicBezTo>
                <a:cubicBezTo>
                  <a:pt x="1797321" y="27810"/>
                  <a:pt x="1919686" y="0"/>
                  <a:pt x="2042051" y="0"/>
                </a:cubicBezTo>
                <a:cubicBezTo>
                  <a:pt x="2236722" y="0"/>
                  <a:pt x="2436956" y="66745"/>
                  <a:pt x="2626065" y="222482"/>
                </a:cubicBezTo>
                <a:cubicBezTo>
                  <a:pt x="2809613" y="66745"/>
                  <a:pt x="3009846" y="0"/>
                  <a:pt x="3204518" y="0"/>
                </a:cubicBezTo>
                <a:cubicBezTo>
                  <a:pt x="3326883" y="0"/>
                  <a:pt x="3449248" y="27810"/>
                  <a:pt x="3560489" y="77869"/>
                </a:cubicBezTo>
                <a:cubicBezTo>
                  <a:pt x="3671730" y="127927"/>
                  <a:pt x="3771846" y="200234"/>
                  <a:pt x="3860839" y="283664"/>
                </a:cubicBezTo>
                <a:cubicBezTo>
                  <a:pt x="4033262" y="456088"/>
                  <a:pt x="4144503" y="695256"/>
                  <a:pt x="4144503" y="945547"/>
                </a:cubicBezTo>
                <a:cubicBezTo>
                  <a:pt x="4144503" y="1468380"/>
                  <a:pt x="3671730" y="1868847"/>
                  <a:pt x="3182270" y="2286000"/>
                </a:cubicBezTo>
                <a:cubicBezTo>
                  <a:pt x="3015409" y="2430613"/>
                  <a:pt x="2848547" y="2575226"/>
                  <a:pt x="2692810" y="2730964"/>
                </a:cubicBezTo>
                <a:lnTo>
                  <a:pt x="2626065" y="2797708"/>
                </a:lnTo>
                <a:lnTo>
                  <a:pt x="2559321" y="2730964"/>
                </a:lnTo>
                <a:close/>
                <a:moveTo>
                  <a:pt x="2186664" y="2146949"/>
                </a:moveTo>
                <a:cubicBezTo>
                  <a:pt x="2336839" y="2274876"/>
                  <a:pt x="2487014" y="2402803"/>
                  <a:pt x="2626065" y="2530730"/>
                </a:cubicBezTo>
                <a:cubicBezTo>
                  <a:pt x="2759555" y="2402803"/>
                  <a:pt x="2909730" y="2274876"/>
                  <a:pt x="3059905" y="2146949"/>
                </a:cubicBezTo>
                <a:cubicBezTo>
                  <a:pt x="3515992" y="1757606"/>
                  <a:pt x="3955394" y="1384949"/>
                  <a:pt x="3955394" y="945547"/>
                </a:cubicBezTo>
                <a:cubicBezTo>
                  <a:pt x="3955394" y="745314"/>
                  <a:pt x="3866401" y="556204"/>
                  <a:pt x="3727350" y="417153"/>
                </a:cubicBezTo>
                <a:cubicBezTo>
                  <a:pt x="3655044" y="344847"/>
                  <a:pt x="3571613" y="289226"/>
                  <a:pt x="3488182" y="250292"/>
                </a:cubicBezTo>
                <a:cubicBezTo>
                  <a:pt x="3399190" y="211358"/>
                  <a:pt x="3304635" y="189109"/>
                  <a:pt x="3204518" y="189109"/>
                </a:cubicBezTo>
                <a:cubicBezTo>
                  <a:pt x="3032095" y="189109"/>
                  <a:pt x="2854109" y="255854"/>
                  <a:pt x="2692810" y="417153"/>
                </a:cubicBezTo>
                <a:lnTo>
                  <a:pt x="2626065" y="483898"/>
                </a:lnTo>
                <a:lnTo>
                  <a:pt x="2559321" y="417153"/>
                </a:lnTo>
                <a:cubicBezTo>
                  <a:pt x="2392460" y="255854"/>
                  <a:pt x="2214474" y="189109"/>
                  <a:pt x="2042051" y="189109"/>
                </a:cubicBezTo>
                <a:cubicBezTo>
                  <a:pt x="1947496" y="189109"/>
                  <a:pt x="1847379" y="211358"/>
                  <a:pt x="1763949" y="250292"/>
                </a:cubicBezTo>
                <a:cubicBezTo>
                  <a:pt x="1674956" y="289226"/>
                  <a:pt x="1591525" y="344847"/>
                  <a:pt x="1519219" y="417153"/>
                </a:cubicBezTo>
                <a:lnTo>
                  <a:pt x="1519219" y="417153"/>
                </a:lnTo>
                <a:cubicBezTo>
                  <a:pt x="1380168" y="556204"/>
                  <a:pt x="1291175" y="745314"/>
                  <a:pt x="1291175" y="945547"/>
                </a:cubicBezTo>
                <a:cubicBezTo>
                  <a:pt x="1291175" y="1384949"/>
                  <a:pt x="1730576" y="1757606"/>
                  <a:pt x="2186664" y="2146949"/>
                </a:cubicBezTo>
                <a:close/>
              </a:path>
            </a:pathLst>
          </a:custGeom>
          <a:solidFill>
            <a:srgbClr val="ED2939"/>
          </a:solidFill>
          <a:ln w="555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dirty="0"/>
          </a:p>
        </p:txBody>
      </p:sp>
      <p:grpSp>
        <p:nvGrpSpPr>
          <p:cNvPr id="22" name="Graphic 211">
            <a:extLst>
              <a:ext uri="{FF2B5EF4-FFF2-40B4-BE49-F238E27FC236}">
                <a16:creationId xmlns:a16="http://schemas.microsoft.com/office/drawing/2014/main" id="{CB5C371C-5BF7-4A7E-9758-3E4B411A5100}"/>
              </a:ext>
            </a:extLst>
          </p:cNvPr>
          <p:cNvGrpSpPr/>
          <p:nvPr/>
        </p:nvGrpSpPr>
        <p:grpSpPr>
          <a:xfrm>
            <a:off x="5141732" y="3384033"/>
            <a:ext cx="395703" cy="443222"/>
            <a:chOff x="5715000" y="2874644"/>
            <a:chExt cx="762000" cy="870584"/>
          </a:xfrm>
          <a:solidFill>
            <a:srgbClr val="0083A9"/>
          </a:solidFill>
        </p:grpSpPr>
        <p:sp>
          <p:nvSpPr>
            <p:cNvPr id="23" name="Graphic 211">
              <a:extLst>
                <a:ext uri="{FF2B5EF4-FFF2-40B4-BE49-F238E27FC236}">
                  <a16:creationId xmlns:a16="http://schemas.microsoft.com/office/drawing/2014/main" id="{1B458C41-8FED-44EB-8449-D95A291D60FC}"/>
                </a:ext>
              </a:extLst>
            </p:cNvPr>
            <p:cNvSpPr/>
            <p:nvPr/>
          </p:nvSpPr>
          <p:spPr>
            <a:xfrm>
              <a:off x="5996939" y="2874644"/>
              <a:ext cx="198120" cy="202882"/>
            </a:xfrm>
            <a:custGeom>
              <a:avLst/>
              <a:gdLst>
                <a:gd name="connsiteX0" fmla="*/ 99060 w 198120"/>
                <a:gd name="connsiteY0" fmla="*/ 202883 h 202882"/>
                <a:gd name="connsiteX1" fmla="*/ 198120 w 198120"/>
                <a:gd name="connsiteY1" fmla="*/ 103823 h 202882"/>
                <a:gd name="connsiteX2" fmla="*/ 198120 w 198120"/>
                <a:gd name="connsiteY2" fmla="*/ 99060 h 202882"/>
                <a:gd name="connsiteX3" fmla="*/ 99060 w 198120"/>
                <a:gd name="connsiteY3" fmla="*/ 0 h 202882"/>
                <a:gd name="connsiteX4" fmla="*/ 0 w 198120"/>
                <a:gd name="connsiteY4" fmla="*/ 99060 h 202882"/>
                <a:gd name="connsiteX5" fmla="*/ 0 w 198120"/>
                <a:gd name="connsiteY5" fmla="*/ 103823 h 202882"/>
                <a:gd name="connsiteX6" fmla="*/ 99060 w 198120"/>
                <a:gd name="connsiteY6" fmla="*/ 202883 h 202882"/>
                <a:gd name="connsiteX7" fmla="*/ 38100 w 198120"/>
                <a:gd name="connsiteY7" fmla="*/ 99060 h 202882"/>
                <a:gd name="connsiteX8" fmla="*/ 99060 w 198120"/>
                <a:gd name="connsiteY8" fmla="*/ 38100 h 202882"/>
                <a:gd name="connsiteX9" fmla="*/ 160020 w 198120"/>
                <a:gd name="connsiteY9" fmla="*/ 99060 h 202882"/>
                <a:gd name="connsiteX10" fmla="*/ 160020 w 198120"/>
                <a:gd name="connsiteY10" fmla="*/ 103823 h 202882"/>
                <a:gd name="connsiteX11" fmla="*/ 99060 w 198120"/>
                <a:gd name="connsiteY11" fmla="*/ 164783 h 202882"/>
                <a:gd name="connsiteX12" fmla="*/ 38100 w 198120"/>
                <a:gd name="connsiteY12" fmla="*/ 103823 h 202882"/>
                <a:gd name="connsiteX13" fmla="*/ 38100 w 198120"/>
                <a:gd name="connsiteY13" fmla="*/ 99060 h 202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8120" h="202882">
                  <a:moveTo>
                    <a:pt x="99060" y="202883"/>
                  </a:moveTo>
                  <a:cubicBezTo>
                    <a:pt x="153353" y="202883"/>
                    <a:pt x="198120" y="158115"/>
                    <a:pt x="198120" y="103823"/>
                  </a:cubicBezTo>
                  <a:lnTo>
                    <a:pt x="198120" y="99060"/>
                  </a:lnTo>
                  <a:cubicBezTo>
                    <a:pt x="198120" y="44768"/>
                    <a:pt x="153353" y="0"/>
                    <a:pt x="99060" y="0"/>
                  </a:cubicBezTo>
                  <a:cubicBezTo>
                    <a:pt x="44768" y="0"/>
                    <a:pt x="0" y="44768"/>
                    <a:pt x="0" y="99060"/>
                  </a:cubicBezTo>
                  <a:lnTo>
                    <a:pt x="0" y="103823"/>
                  </a:lnTo>
                  <a:cubicBezTo>
                    <a:pt x="0" y="159068"/>
                    <a:pt x="44768" y="202883"/>
                    <a:pt x="99060" y="202883"/>
                  </a:cubicBezTo>
                  <a:close/>
                  <a:moveTo>
                    <a:pt x="38100" y="99060"/>
                  </a:moveTo>
                  <a:cubicBezTo>
                    <a:pt x="38100" y="65723"/>
                    <a:pt x="65723" y="38100"/>
                    <a:pt x="99060" y="38100"/>
                  </a:cubicBezTo>
                  <a:cubicBezTo>
                    <a:pt x="132398" y="38100"/>
                    <a:pt x="160020" y="65723"/>
                    <a:pt x="160020" y="99060"/>
                  </a:cubicBezTo>
                  <a:lnTo>
                    <a:pt x="160020" y="103823"/>
                  </a:lnTo>
                  <a:cubicBezTo>
                    <a:pt x="160020" y="137160"/>
                    <a:pt x="132398" y="164783"/>
                    <a:pt x="99060" y="164783"/>
                  </a:cubicBezTo>
                  <a:cubicBezTo>
                    <a:pt x="65723" y="164783"/>
                    <a:pt x="38100" y="137160"/>
                    <a:pt x="38100" y="103823"/>
                  </a:cubicBezTo>
                  <a:lnTo>
                    <a:pt x="38100" y="990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dirty="0"/>
            </a:p>
          </p:txBody>
        </p:sp>
        <p:sp>
          <p:nvSpPr>
            <p:cNvPr id="24" name="Graphic 211">
              <a:extLst>
                <a:ext uri="{FF2B5EF4-FFF2-40B4-BE49-F238E27FC236}">
                  <a16:creationId xmlns:a16="http://schemas.microsoft.com/office/drawing/2014/main" id="{E8A5C554-4198-4DD0-A51B-26161A0675E2}"/>
                </a:ext>
              </a:extLst>
            </p:cNvPr>
            <p:cNvSpPr/>
            <p:nvPr/>
          </p:nvSpPr>
          <p:spPr>
            <a:xfrm>
              <a:off x="5933122" y="3138487"/>
              <a:ext cx="325754" cy="606742"/>
            </a:xfrm>
            <a:custGeom>
              <a:avLst/>
              <a:gdLst>
                <a:gd name="connsiteX0" fmla="*/ 0 w 325754"/>
                <a:gd name="connsiteY0" fmla="*/ 66675 h 606742"/>
                <a:gd name="connsiteX1" fmla="*/ 0 w 325754"/>
                <a:gd name="connsiteY1" fmla="*/ 280035 h 606742"/>
                <a:gd name="connsiteX2" fmla="*/ 34290 w 325754"/>
                <a:gd name="connsiteY2" fmla="*/ 338138 h 606742"/>
                <a:gd name="connsiteX3" fmla="*/ 42863 w 325754"/>
                <a:gd name="connsiteY3" fmla="*/ 342900 h 606742"/>
                <a:gd name="connsiteX4" fmla="*/ 58102 w 325754"/>
                <a:gd name="connsiteY4" fmla="*/ 367665 h 606742"/>
                <a:gd name="connsiteX5" fmla="*/ 58102 w 325754"/>
                <a:gd name="connsiteY5" fmla="*/ 540068 h 606742"/>
                <a:gd name="connsiteX6" fmla="*/ 124777 w 325754"/>
                <a:gd name="connsiteY6" fmla="*/ 606743 h 606742"/>
                <a:gd name="connsiteX7" fmla="*/ 200977 w 325754"/>
                <a:gd name="connsiteY7" fmla="*/ 606743 h 606742"/>
                <a:gd name="connsiteX8" fmla="*/ 267653 w 325754"/>
                <a:gd name="connsiteY8" fmla="*/ 540068 h 606742"/>
                <a:gd name="connsiteX9" fmla="*/ 267653 w 325754"/>
                <a:gd name="connsiteY9" fmla="*/ 367665 h 606742"/>
                <a:gd name="connsiteX10" fmla="*/ 282892 w 325754"/>
                <a:gd name="connsiteY10" fmla="*/ 342900 h 606742"/>
                <a:gd name="connsiteX11" fmla="*/ 291465 w 325754"/>
                <a:gd name="connsiteY11" fmla="*/ 338138 h 606742"/>
                <a:gd name="connsiteX12" fmla="*/ 325755 w 325754"/>
                <a:gd name="connsiteY12" fmla="*/ 280035 h 606742"/>
                <a:gd name="connsiteX13" fmla="*/ 325755 w 325754"/>
                <a:gd name="connsiteY13" fmla="*/ 66675 h 606742"/>
                <a:gd name="connsiteX14" fmla="*/ 259080 w 325754"/>
                <a:gd name="connsiteY14" fmla="*/ 0 h 606742"/>
                <a:gd name="connsiteX15" fmla="*/ 66675 w 325754"/>
                <a:gd name="connsiteY15" fmla="*/ 0 h 606742"/>
                <a:gd name="connsiteX16" fmla="*/ 0 w 325754"/>
                <a:gd name="connsiteY16" fmla="*/ 66675 h 606742"/>
                <a:gd name="connsiteX17" fmla="*/ 38100 w 325754"/>
                <a:gd name="connsiteY17" fmla="*/ 66675 h 606742"/>
                <a:gd name="connsiteX18" fmla="*/ 66675 w 325754"/>
                <a:gd name="connsiteY18" fmla="*/ 38100 h 606742"/>
                <a:gd name="connsiteX19" fmla="*/ 259080 w 325754"/>
                <a:gd name="connsiteY19" fmla="*/ 38100 h 606742"/>
                <a:gd name="connsiteX20" fmla="*/ 287655 w 325754"/>
                <a:gd name="connsiteY20" fmla="*/ 66675 h 606742"/>
                <a:gd name="connsiteX21" fmla="*/ 287655 w 325754"/>
                <a:gd name="connsiteY21" fmla="*/ 280035 h 606742"/>
                <a:gd name="connsiteX22" fmla="*/ 272415 w 325754"/>
                <a:gd name="connsiteY22" fmla="*/ 304800 h 606742"/>
                <a:gd name="connsiteX23" fmla="*/ 263842 w 325754"/>
                <a:gd name="connsiteY23" fmla="*/ 309563 h 606742"/>
                <a:gd name="connsiteX24" fmla="*/ 229552 w 325754"/>
                <a:gd name="connsiteY24" fmla="*/ 367665 h 606742"/>
                <a:gd name="connsiteX25" fmla="*/ 229552 w 325754"/>
                <a:gd name="connsiteY25" fmla="*/ 540068 h 606742"/>
                <a:gd name="connsiteX26" fmla="*/ 200977 w 325754"/>
                <a:gd name="connsiteY26" fmla="*/ 568643 h 606742"/>
                <a:gd name="connsiteX27" fmla="*/ 124777 w 325754"/>
                <a:gd name="connsiteY27" fmla="*/ 568643 h 606742"/>
                <a:gd name="connsiteX28" fmla="*/ 96202 w 325754"/>
                <a:gd name="connsiteY28" fmla="*/ 540068 h 606742"/>
                <a:gd name="connsiteX29" fmla="*/ 96202 w 325754"/>
                <a:gd name="connsiteY29" fmla="*/ 367665 h 606742"/>
                <a:gd name="connsiteX30" fmla="*/ 61913 w 325754"/>
                <a:gd name="connsiteY30" fmla="*/ 309563 h 606742"/>
                <a:gd name="connsiteX31" fmla="*/ 53340 w 325754"/>
                <a:gd name="connsiteY31" fmla="*/ 304800 h 606742"/>
                <a:gd name="connsiteX32" fmla="*/ 38100 w 325754"/>
                <a:gd name="connsiteY32" fmla="*/ 280035 h 606742"/>
                <a:gd name="connsiteX33" fmla="*/ 38100 w 325754"/>
                <a:gd name="connsiteY33" fmla="*/ 66675 h 6067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325754" h="606742">
                  <a:moveTo>
                    <a:pt x="0" y="66675"/>
                  </a:moveTo>
                  <a:lnTo>
                    <a:pt x="0" y="280035"/>
                  </a:lnTo>
                  <a:cubicBezTo>
                    <a:pt x="0" y="304800"/>
                    <a:pt x="13335" y="326708"/>
                    <a:pt x="34290" y="338138"/>
                  </a:cubicBezTo>
                  <a:lnTo>
                    <a:pt x="42863" y="342900"/>
                  </a:lnTo>
                  <a:cubicBezTo>
                    <a:pt x="52388" y="347663"/>
                    <a:pt x="58102" y="357188"/>
                    <a:pt x="58102" y="367665"/>
                  </a:cubicBezTo>
                  <a:lnTo>
                    <a:pt x="58102" y="540068"/>
                  </a:lnTo>
                  <a:cubicBezTo>
                    <a:pt x="58102" y="577215"/>
                    <a:pt x="87630" y="606743"/>
                    <a:pt x="124777" y="606743"/>
                  </a:cubicBezTo>
                  <a:lnTo>
                    <a:pt x="200977" y="606743"/>
                  </a:lnTo>
                  <a:cubicBezTo>
                    <a:pt x="238125" y="606743"/>
                    <a:pt x="267653" y="577215"/>
                    <a:pt x="267653" y="540068"/>
                  </a:cubicBezTo>
                  <a:lnTo>
                    <a:pt x="267653" y="367665"/>
                  </a:lnTo>
                  <a:cubicBezTo>
                    <a:pt x="267653" y="357188"/>
                    <a:pt x="273367" y="347663"/>
                    <a:pt x="282892" y="342900"/>
                  </a:cubicBezTo>
                  <a:lnTo>
                    <a:pt x="291465" y="338138"/>
                  </a:lnTo>
                  <a:cubicBezTo>
                    <a:pt x="312420" y="326708"/>
                    <a:pt x="325755" y="303848"/>
                    <a:pt x="325755" y="280035"/>
                  </a:cubicBezTo>
                  <a:lnTo>
                    <a:pt x="325755" y="66675"/>
                  </a:lnTo>
                  <a:cubicBezTo>
                    <a:pt x="325755" y="29527"/>
                    <a:pt x="296228" y="0"/>
                    <a:pt x="259080" y="0"/>
                  </a:cubicBezTo>
                  <a:lnTo>
                    <a:pt x="66675" y="0"/>
                  </a:lnTo>
                  <a:cubicBezTo>
                    <a:pt x="30480" y="0"/>
                    <a:pt x="0" y="29527"/>
                    <a:pt x="0" y="66675"/>
                  </a:cubicBezTo>
                  <a:close/>
                  <a:moveTo>
                    <a:pt x="38100" y="66675"/>
                  </a:moveTo>
                  <a:cubicBezTo>
                    <a:pt x="38100" y="50482"/>
                    <a:pt x="50482" y="38100"/>
                    <a:pt x="66675" y="38100"/>
                  </a:cubicBezTo>
                  <a:lnTo>
                    <a:pt x="259080" y="38100"/>
                  </a:lnTo>
                  <a:cubicBezTo>
                    <a:pt x="275272" y="38100"/>
                    <a:pt x="287655" y="50482"/>
                    <a:pt x="287655" y="66675"/>
                  </a:cubicBezTo>
                  <a:lnTo>
                    <a:pt x="287655" y="280035"/>
                  </a:lnTo>
                  <a:cubicBezTo>
                    <a:pt x="287655" y="290513"/>
                    <a:pt x="281940" y="300038"/>
                    <a:pt x="272415" y="304800"/>
                  </a:cubicBezTo>
                  <a:lnTo>
                    <a:pt x="263842" y="309563"/>
                  </a:lnTo>
                  <a:cubicBezTo>
                    <a:pt x="242888" y="320992"/>
                    <a:pt x="229552" y="343853"/>
                    <a:pt x="229552" y="367665"/>
                  </a:cubicBezTo>
                  <a:lnTo>
                    <a:pt x="229552" y="540068"/>
                  </a:lnTo>
                  <a:cubicBezTo>
                    <a:pt x="229552" y="556260"/>
                    <a:pt x="217170" y="568643"/>
                    <a:pt x="200977" y="568643"/>
                  </a:cubicBezTo>
                  <a:lnTo>
                    <a:pt x="124777" y="568643"/>
                  </a:lnTo>
                  <a:cubicBezTo>
                    <a:pt x="108585" y="568643"/>
                    <a:pt x="96202" y="556260"/>
                    <a:pt x="96202" y="540068"/>
                  </a:cubicBezTo>
                  <a:lnTo>
                    <a:pt x="96202" y="367665"/>
                  </a:lnTo>
                  <a:cubicBezTo>
                    <a:pt x="96202" y="342900"/>
                    <a:pt x="82867" y="320992"/>
                    <a:pt x="61913" y="309563"/>
                  </a:cubicBezTo>
                  <a:lnTo>
                    <a:pt x="53340" y="304800"/>
                  </a:lnTo>
                  <a:cubicBezTo>
                    <a:pt x="43815" y="300038"/>
                    <a:pt x="38100" y="290513"/>
                    <a:pt x="38100" y="280035"/>
                  </a:cubicBezTo>
                  <a:lnTo>
                    <a:pt x="38100" y="6667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dirty="0"/>
            </a:p>
          </p:txBody>
        </p:sp>
        <p:sp>
          <p:nvSpPr>
            <p:cNvPr id="25" name="Graphic 211">
              <a:extLst>
                <a:ext uri="{FF2B5EF4-FFF2-40B4-BE49-F238E27FC236}">
                  <a16:creationId xmlns:a16="http://schemas.microsoft.com/office/drawing/2014/main" id="{DA89CDF8-7A16-4A98-A6D9-6A2C50F36326}"/>
                </a:ext>
              </a:extLst>
            </p:cNvPr>
            <p:cNvSpPr/>
            <p:nvPr/>
          </p:nvSpPr>
          <p:spPr>
            <a:xfrm>
              <a:off x="6236017" y="2896551"/>
              <a:ext cx="198120" cy="202882"/>
            </a:xfrm>
            <a:custGeom>
              <a:avLst/>
              <a:gdLst>
                <a:gd name="connsiteX0" fmla="*/ 99060 w 198120"/>
                <a:gd name="connsiteY0" fmla="*/ 0 h 202882"/>
                <a:gd name="connsiteX1" fmla="*/ 0 w 198120"/>
                <a:gd name="connsiteY1" fmla="*/ 99060 h 202882"/>
                <a:gd name="connsiteX2" fmla="*/ 0 w 198120"/>
                <a:gd name="connsiteY2" fmla="*/ 103823 h 202882"/>
                <a:gd name="connsiteX3" fmla="*/ 99060 w 198120"/>
                <a:gd name="connsiteY3" fmla="*/ 202883 h 202882"/>
                <a:gd name="connsiteX4" fmla="*/ 198120 w 198120"/>
                <a:gd name="connsiteY4" fmla="*/ 103823 h 202882"/>
                <a:gd name="connsiteX5" fmla="*/ 198120 w 198120"/>
                <a:gd name="connsiteY5" fmla="*/ 99060 h 202882"/>
                <a:gd name="connsiteX6" fmla="*/ 99060 w 198120"/>
                <a:gd name="connsiteY6" fmla="*/ 0 h 202882"/>
                <a:gd name="connsiteX7" fmla="*/ 160020 w 198120"/>
                <a:gd name="connsiteY7" fmla="*/ 103823 h 202882"/>
                <a:gd name="connsiteX8" fmla="*/ 99060 w 198120"/>
                <a:gd name="connsiteY8" fmla="*/ 164783 h 202882"/>
                <a:gd name="connsiteX9" fmla="*/ 38100 w 198120"/>
                <a:gd name="connsiteY9" fmla="*/ 103823 h 202882"/>
                <a:gd name="connsiteX10" fmla="*/ 38100 w 198120"/>
                <a:gd name="connsiteY10" fmla="*/ 99060 h 202882"/>
                <a:gd name="connsiteX11" fmla="*/ 99060 w 198120"/>
                <a:gd name="connsiteY11" fmla="*/ 38100 h 202882"/>
                <a:gd name="connsiteX12" fmla="*/ 160020 w 198120"/>
                <a:gd name="connsiteY12" fmla="*/ 99060 h 202882"/>
                <a:gd name="connsiteX13" fmla="*/ 160020 w 198120"/>
                <a:gd name="connsiteY13" fmla="*/ 103823 h 202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8120" h="202882">
                  <a:moveTo>
                    <a:pt x="99060" y="0"/>
                  </a:moveTo>
                  <a:cubicBezTo>
                    <a:pt x="44768" y="0"/>
                    <a:pt x="0" y="44768"/>
                    <a:pt x="0" y="99060"/>
                  </a:cubicBezTo>
                  <a:lnTo>
                    <a:pt x="0" y="103823"/>
                  </a:lnTo>
                  <a:cubicBezTo>
                    <a:pt x="0" y="158115"/>
                    <a:pt x="44768" y="202883"/>
                    <a:pt x="99060" y="202883"/>
                  </a:cubicBezTo>
                  <a:cubicBezTo>
                    <a:pt x="153353" y="202883"/>
                    <a:pt x="198120" y="158115"/>
                    <a:pt x="198120" y="103823"/>
                  </a:cubicBezTo>
                  <a:lnTo>
                    <a:pt x="198120" y="99060"/>
                  </a:lnTo>
                  <a:cubicBezTo>
                    <a:pt x="198120" y="43815"/>
                    <a:pt x="154305" y="0"/>
                    <a:pt x="99060" y="0"/>
                  </a:cubicBezTo>
                  <a:close/>
                  <a:moveTo>
                    <a:pt x="160020" y="103823"/>
                  </a:moveTo>
                  <a:cubicBezTo>
                    <a:pt x="160020" y="137160"/>
                    <a:pt x="132398" y="164783"/>
                    <a:pt x="99060" y="164783"/>
                  </a:cubicBezTo>
                  <a:cubicBezTo>
                    <a:pt x="65723" y="164783"/>
                    <a:pt x="38100" y="137160"/>
                    <a:pt x="38100" y="103823"/>
                  </a:cubicBezTo>
                  <a:lnTo>
                    <a:pt x="38100" y="99060"/>
                  </a:lnTo>
                  <a:cubicBezTo>
                    <a:pt x="38100" y="65723"/>
                    <a:pt x="65723" y="38100"/>
                    <a:pt x="99060" y="38100"/>
                  </a:cubicBezTo>
                  <a:cubicBezTo>
                    <a:pt x="132398" y="38100"/>
                    <a:pt x="160020" y="65723"/>
                    <a:pt x="160020" y="99060"/>
                  </a:cubicBezTo>
                  <a:lnTo>
                    <a:pt x="160020" y="1038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dirty="0"/>
            </a:p>
          </p:txBody>
        </p:sp>
        <p:sp>
          <p:nvSpPr>
            <p:cNvPr id="26" name="Graphic 211">
              <a:extLst>
                <a:ext uri="{FF2B5EF4-FFF2-40B4-BE49-F238E27FC236}">
                  <a16:creationId xmlns:a16="http://schemas.microsoft.com/office/drawing/2014/main" id="{B7404404-9DD8-46B0-B43E-AB881F981712}"/>
                </a:ext>
              </a:extLst>
            </p:cNvPr>
            <p:cNvSpPr/>
            <p:nvPr/>
          </p:nvSpPr>
          <p:spPr>
            <a:xfrm>
              <a:off x="6252210" y="3159442"/>
              <a:ext cx="224789" cy="533399"/>
            </a:xfrm>
            <a:custGeom>
              <a:avLst/>
              <a:gdLst>
                <a:gd name="connsiteX0" fmla="*/ 224790 w 224789"/>
                <a:gd name="connsiteY0" fmla="*/ 265747 h 533399"/>
                <a:gd name="connsiteX1" fmla="*/ 224790 w 224789"/>
                <a:gd name="connsiteY1" fmla="*/ 66675 h 533399"/>
                <a:gd name="connsiteX2" fmla="*/ 158115 w 224789"/>
                <a:gd name="connsiteY2" fmla="*/ 0 h 533399"/>
                <a:gd name="connsiteX3" fmla="*/ 66675 w 224789"/>
                <a:gd name="connsiteY3" fmla="*/ 0 h 533399"/>
                <a:gd name="connsiteX4" fmla="*/ 47625 w 224789"/>
                <a:gd name="connsiteY4" fmla="*/ 19050 h 533399"/>
                <a:gd name="connsiteX5" fmla="*/ 66675 w 224789"/>
                <a:gd name="connsiteY5" fmla="*/ 38100 h 533399"/>
                <a:gd name="connsiteX6" fmla="*/ 158115 w 224789"/>
                <a:gd name="connsiteY6" fmla="*/ 38100 h 533399"/>
                <a:gd name="connsiteX7" fmla="*/ 186690 w 224789"/>
                <a:gd name="connsiteY7" fmla="*/ 66675 h 533399"/>
                <a:gd name="connsiteX8" fmla="*/ 186690 w 224789"/>
                <a:gd name="connsiteY8" fmla="*/ 254318 h 533399"/>
                <a:gd name="connsiteX9" fmla="*/ 139065 w 224789"/>
                <a:gd name="connsiteY9" fmla="*/ 280988 h 533399"/>
                <a:gd name="connsiteX10" fmla="*/ 129540 w 224789"/>
                <a:gd name="connsiteY10" fmla="*/ 298133 h 533399"/>
                <a:gd name="connsiteX11" fmla="*/ 129540 w 224789"/>
                <a:gd name="connsiteY11" fmla="*/ 466725 h 533399"/>
                <a:gd name="connsiteX12" fmla="*/ 100965 w 224789"/>
                <a:gd name="connsiteY12" fmla="*/ 495300 h 533399"/>
                <a:gd name="connsiteX13" fmla="*/ 19050 w 224789"/>
                <a:gd name="connsiteY13" fmla="*/ 495300 h 533399"/>
                <a:gd name="connsiteX14" fmla="*/ 0 w 224789"/>
                <a:gd name="connsiteY14" fmla="*/ 514350 h 533399"/>
                <a:gd name="connsiteX15" fmla="*/ 19050 w 224789"/>
                <a:gd name="connsiteY15" fmla="*/ 533400 h 533399"/>
                <a:gd name="connsiteX16" fmla="*/ 100965 w 224789"/>
                <a:gd name="connsiteY16" fmla="*/ 533400 h 533399"/>
                <a:gd name="connsiteX17" fmla="*/ 167640 w 224789"/>
                <a:gd name="connsiteY17" fmla="*/ 466725 h 533399"/>
                <a:gd name="connsiteX18" fmla="*/ 167640 w 224789"/>
                <a:gd name="connsiteY18" fmla="*/ 308610 h 533399"/>
                <a:gd name="connsiteX19" fmla="*/ 215265 w 224789"/>
                <a:gd name="connsiteY19" fmla="*/ 281940 h 533399"/>
                <a:gd name="connsiteX20" fmla="*/ 224790 w 224789"/>
                <a:gd name="connsiteY20" fmla="*/ 265747 h 533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24789" h="533399">
                  <a:moveTo>
                    <a:pt x="224790" y="265747"/>
                  </a:moveTo>
                  <a:lnTo>
                    <a:pt x="224790" y="66675"/>
                  </a:lnTo>
                  <a:cubicBezTo>
                    <a:pt x="224790" y="29527"/>
                    <a:pt x="195263" y="0"/>
                    <a:pt x="158115" y="0"/>
                  </a:cubicBezTo>
                  <a:lnTo>
                    <a:pt x="66675" y="0"/>
                  </a:lnTo>
                  <a:cubicBezTo>
                    <a:pt x="56198" y="0"/>
                    <a:pt x="47625" y="8572"/>
                    <a:pt x="47625" y="19050"/>
                  </a:cubicBezTo>
                  <a:cubicBezTo>
                    <a:pt x="47625" y="29527"/>
                    <a:pt x="56198" y="38100"/>
                    <a:pt x="66675" y="38100"/>
                  </a:cubicBezTo>
                  <a:lnTo>
                    <a:pt x="158115" y="38100"/>
                  </a:lnTo>
                  <a:cubicBezTo>
                    <a:pt x="174307" y="38100"/>
                    <a:pt x="186690" y="50482"/>
                    <a:pt x="186690" y="66675"/>
                  </a:cubicBezTo>
                  <a:lnTo>
                    <a:pt x="186690" y="254318"/>
                  </a:lnTo>
                  <a:lnTo>
                    <a:pt x="139065" y="280988"/>
                  </a:lnTo>
                  <a:cubicBezTo>
                    <a:pt x="133350" y="284797"/>
                    <a:pt x="129540" y="290512"/>
                    <a:pt x="129540" y="298133"/>
                  </a:cubicBezTo>
                  <a:lnTo>
                    <a:pt x="129540" y="466725"/>
                  </a:lnTo>
                  <a:cubicBezTo>
                    <a:pt x="129540" y="482918"/>
                    <a:pt x="117157" y="495300"/>
                    <a:pt x="100965" y="495300"/>
                  </a:cubicBezTo>
                  <a:lnTo>
                    <a:pt x="19050" y="495300"/>
                  </a:lnTo>
                  <a:cubicBezTo>
                    <a:pt x="8573" y="495300"/>
                    <a:pt x="0" y="503872"/>
                    <a:pt x="0" y="514350"/>
                  </a:cubicBezTo>
                  <a:cubicBezTo>
                    <a:pt x="0" y="524828"/>
                    <a:pt x="8573" y="533400"/>
                    <a:pt x="19050" y="533400"/>
                  </a:cubicBezTo>
                  <a:lnTo>
                    <a:pt x="100965" y="533400"/>
                  </a:lnTo>
                  <a:cubicBezTo>
                    <a:pt x="138113" y="533400"/>
                    <a:pt x="167640" y="503872"/>
                    <a:pt x="167640" y="466725"/>
                  </a:cubicBezTo>
                  <a:lnTo>
                    <a:pt x="167640" y="308610"/>
                  </a:lnTo>
                  <a:lnTo>
                    <a:pt x="215265" y="281940"/>
                  </a:lnTo>
                  <a:cubicBezTo>
                    <a:pt x="220980" y="279083"/>
                    <a:pt x="224790" y="272415"/>
                    <a:pt x="224790" y="26574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dirty="0"/>
            </a:p>
          </p:txBody>
        </p:sp>
        <p:sp>
          <p:nvSpPr>
            <p:cNvPr id="27" name="Graphic 211">
              <a:extLst>
                <a:ext uri="{FF2B5EF4-FFF2-40B4-BE49-F238E27FC236}">
                  <a16:creationId xmlns:a16="http://schemas.microsoft.com/office/drawing/2014/main" id="{2BD45A18-A2B3-48B6-9D6F-A265CE605575}"/>
                </a:ext>
              </a:extLst>
            </p:cNvPr>
            <p:cNvSpPr/>
            <p:nvPr/>
          </p:nvSpPr>
          <p:spPr>
            <a:xfrm>
              <a:off x="5757862" y="2896551"/>
              <a:ext cx="198119" cy="202882"/>
            </a:xfrm>
            <a:custGeom>
              <a:avLst/>
              <a:gdLst>
                <a:gd name="connsiteX0" fmla="*/ 99060 w 198119"/>
                <a:gd name="connsiteY0" fmla="*/ 0 h 202882"/>
                <a:gd name="connsiteX1" fmla="*/ 0 w 198119"/>
                <a:gd name="connsiteY1" fmla="*/ 99060 h 202882"/>
                <a:gd name="connsiteX2" fmla="*/ 0 w 198119"/>
                <a:gd name="connsiteY2" fmla="*/ 103823 h 202882"/>
                <a:gd name="connsiteX3" fmla="*/ 99060 w 198119"/>
                <a:gd name="connsiteY3" fmla="*/ 202883 h 202882"/>
                <a:gd name="connsiteX4" fmla="*/ 198120 w 198119"/>
                <a:gd name="connsiteY4" fmla="*/ 103823 h 202882"/>
                <a:gd name="connsiteX5" fmla="*/ 198120 w 198119"/>
                <a:gd name="connsiteY5" fmla="*/ 99060 h 202882"/>
                <a:gd name="connsiteX6" fmla="*/ 99060 w 198119"/>
                <a:gd name="connsiteY6" fmla="*/ 0 h 202882"/>
                <a:gd name="connsiteX7" fmla="*/ 159068 w 198119"/>
                <a:gd name="connsiteY7" fmla="*/ 103823 h 202882"/>
                <a:gd name="connsiteX8" fmla="*/ 98107 w 198119"/>
                <a:gd name="connsiteY8" fmla="*/ 164783 h 202882"/>
                <a:gd name="connsiteX9" fmla="*/ 37147 w 198119"/>
                <a:gd name="connsiteY9" fmla="*/ 103823 h 202882"/>
                <a:gd name="connsiteX10" fmla="*/ 37147 w 198119"/>
                <a:gd name="connsiteY10" fmla="*/ 99060 h 202882"/>
                <a:gd name="connsiteX11" fmla="*/ 98107 w 198119"/>
                <a:gd name="connsiteY11" fmla="*/ 38100 h 202882"/>
                <a:gd name="connsiteX12" fmla="*/ 159068 w 198119"/>
                <a:gd name="connsiteY12" fmla="*/ 99060 h 202882"/>
                <a:gd name="connsiteX13" fmla="*/ 159068 w 198119"/>
                <a:gd name="connsiteY13" fmla="*/ 103823 h 202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8119" h="202882">
                  <a:moveTo>
                    <a:pt x="99060" y="0"/>
                  </a:moveTo>
                  <a:cubicBezTo>
                    <a:pt x="44768" y="0"/>
                    <a:pt x="0" y="44768"/>
                    <a:pt x="0" y="99060"/>
                  </a:cubicBezTo>
                  <a:lnTo>
                    <a:pt x="0" y="103823"/>
                  </a:lnTo>
                  <a:cubicBezTo>
                    <a:pt x="0" y="158115"/>
                    <a:pt x="44768" y="202883"/>
                    <a:pt x="99060" y="202883"/>
                  </a:cubicBezTo>
                  <a:cubicBezTo>
                    <a:pt x="153353" y="202883"/>
                    <a:pt x="198120" y="158115"/>
                    <a:pt x="198120" y="103823"/>
                  </a:cubicBezTo>
                  <a:lnTo>
                    <a:pt x="198120" y="99060"/>
                  </a:lnTo>
                  <a:cubicBezTo>
                    <a:pt x="197168" y="43815"/>
                    <a:pt x="153353" y="0"/>
                    <a:pt x="99060" y="0"/>
                  </a:cubicBezTo>
                  <a:close/>
                  <a:moveTo>
                    <a:pt x="159068" y="103823"/>
                  </a:moveTo>
                  <a:cubicBezTo>
                    <a:pt x="159068" y="137160"/>
                    <a:pt x="131445" y="164783"/>
                    <a:pt x="98107" y="164783"/>
                  </a:cubicBezTo>
                  <a:cubicBezTo>
                    <a:pt x="64770" y="164783"/>
                    <a:pt x="37147" y="137160"/>
                    <a:pt x="37147" y="103823"/>
                  </a:cubicBezTo>
                  <a:lnTo>
                    <a:pt x="37147" y="99060"/>
                  </a:lnTo>
                  <a:cubicBezTo>
                    <a:pt x="37147" y="65723"/>
                    <a:pt x="64770" y="38100"/>
                    <a:pt x="98107" y="38100"/>
                  </a:cubicBezTo>
                  <a:cubicBezTo>
                    <a:pt x="131445" y="38100"/>
                    <a:pt x="159068" y="65723"/>
                    <a:pt x="159068" y="99060"/>
                  </a:cubicBezTo>
                  <a:lnTo>
                    <a:pt x="159068" y="1038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dirty="0"/>
            </a:p>
          </p:txBody>
        </p:sp>
        <p:sp>
          <p:nvSpPr>
            <p:cNvPr id="28" name="Graphic 211">
              <a:extLst>
                <a:ext uri="{FF2B5EF4-FFF2-40B4-BE49-F238E27FC236}">
                  <a16:creationId xmlns:a16="http://schemas.microsoft.com/office/drawing/2014/main" id="{7696ED6F-8AB1-4017-AA32-D704D77EF2B1}"/>
                </a:ext>
              </a:extLst>
            </p:cNvPr>
            <p:cNvSpPr/>
            <p:nvPr/>
          </p:nvSpPr>
          <p:spPr>
            <a:xfrm>
              <a:off x="5715000" y="3159442"/>
              <a:ext cx="225742" cy="532447"/>
            </a:xfrm>
            <a:custGeom>
              <a:avLst/>
              <a:gdLst>
                <a:gd name="connsiteX0" fmla="*/ 34290 w 225742"/>
                <a:gd name="connsiteY0" fmla="*/ 296228 h 532447"/>
                <a:gd name="connsiteX1" fmla="*/ 42863 w 225742"/>
                <a:gd name="connsiteY1" fmla="*/ 300990 h 532447"/>
                <a:gd name="connsiteX2" fmla="*/ 58103 w 225742"/>
                <a:gd name="connsiteY2" fmla="*/ 325755 h 532447"/>
                <a:gd name="connsiteX3" fmla="*/ 58103 w 225742"/>
                <a:gd name="connsiteY3" fmla="*/ 465772 h 532447"/>
                <a:gd name="connsiteX4" fmla="*/ 124778 w 225742"/>
                <a:gd name="connsiteY4" fmla="*/ 532448 h 532447"/>
                <a:gd name="connsiteX5" fmla="*/ 206693 w 225742"/>
                <a:gd name="connsiteY5" fmla="*/ 532448 h 532447"/>
                <a:gd name="connsiteX6" fmla="*/ 225743 w 225742"/>
                <a:gd name="connsiteY6" fmla="*/ 513397 h 532447"/>
                <a:gd name="connsiteX7" fmla="*/ 206693 w 225742"/>
                <a:gd name="connsiteY7" fmla="*/ 494347 h 532447"/>
                <a:gd name="connsiteX8" fmla="*/ 124778 w 225742"/>
                <a:gd name="connsiteY8" fmla="*/ 494347 h 532447"/>
                <a:gd name="connsiteX9" fmla="*/ 96203 w 225742"/>
                <a:gd name="connsiteY9" fmla="*/ 465772 h 532447"/>
                <a:gd name="connsiteX10" fmla="*/ 96203 w 225742"/>
                <a:gd name="connsiteY10" fmla="*/ 325755 h 532447"/>
                <a:gd name="connsiteX11" fmla="*/ 61913 w 225742"/>
                <a:gd name="connsiteY11" fmla="*/ 267653 h 532447"/>
                <a:gd name="connsiteX12" fmla="*/ 53340 w 225742"/>
                <a:gd name="connsiteY12" fmla="*/ 262890 h 532447"/>
                <a:gd name="connsiteX13" fmla="*/ 38100 w 225742"/>
                <a:gd name="connsiteY13" fmla="*/ 238125 h 532447"/>
                <a:gd name="connsiteX14" fmla="*/ 38100 w 225742"/>
                <a:gd name="connsiteY14" fmla="*/ 66675 h 532447"/>
                <a:gd name="connsiteX15" fmla="*/ 66675 w 225742"/>
                <a:gd name="connsiteY15" fmla="*/ 38100 h 532447"/>
                <a:gd name="connsiteX16" fmla="*/ 158115 w 225742"/>
                <a:gd name="connsiteY16" fmla="*/ 38100 h 532447"/>
                <a:gd name="connsiteX17" fmla="*/ 177165 w 225742"/>
                <a:gd name="connsiteY17" fmla="*/ 19050 h 532447"/>
                <a:gd name="connsiteX18" fmla="*/ 158115 w 225742"/>
                <a:gd name="connsiteY18" fmla="*/ 0 h 532447"/>
                <a:gd name="connsiteX19" fmla="*/ 66675 w 225742"/>
                <a:gd name="connsiteY19" fmla="*/ 0 h 532447"/>
                <a:gd name="connsiteX20" fmla="*/ 0 w 225742"/>
                <a:gd name="connsiteY20" fmla="*/ 66675 h 532447"/>
                <a:gd name="connsiteX21" fmla="*/ 0 w 225742"/>
                <a:gd name="connsiteY21" fmla="*/ 238125 h 532447"/>
                <a:gd name="connsiteX22" fmla="*/ 34290 w 225742"/>
                <a:gd name="connsiteY22" fmla="*/ 296228 h 5324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25742" h="532447">
                  <a:moveTo>
                    <a:pt x="34290" y="296228"/>
                  </a:moveTo>
                  <a:lnTo>
                    <a:pt x="42863" y="300990"/>
                  </a:lnTo>
                  <a:cubicBezTo>
                    <a:pt x="52388" y="305753"/>
                    <a:pt x="58103" y="315278"/>
                    <a:pt x="58103" y="325755"/>
                  </a:cubicBezTo>
                  <a:lnTo>
                    <a:pt x="58103" y="465772"/>
                  </a:lnTo>
                  <a:cubicBezTo>
                    <a:pt x="58103" y="502920"/>
                    <a:pt x="87630" y="532448"/>
                    <a:pt x="124778" y="532448"/>
                  </a:cubicBezTo>
                  <a:lnTo>
                    <a:pt x="206693" y="532448"/>
                  </a:lnTo>
                  <a:cubicBezTo>
                    <a:pt x="217170" y="532448"/>
                    <a:pt x="225743" y="523875"/>
                    <a:pt x="225743" y="513397"/>
                  </a:cubicBezTo>
                  <a:cubicBezTo>
                    <a:pt x="225743" y="502920"/>
                    <a:pt x="217170" y="494347"/>
                    <a:pt x="206693" y="494347"/>
                  </a:cubicBezTo>
                  <a:lnTo>
                    <a:pt x="124778" y="494347"/>
                  </a:lnTo>
                  <a:cubicBezTo>
                    <a:pt x="108585" y="494347"/>
                    <a:pt x="96203" y="481965"/>
                    <a:pt x="96203" y="465772"/>
                  </a:cubicBezTo>
                  <a:lnTo>
                    <a:pt x="96203" y="325755"/>
                  </a:lnTo>
                  <a:cubicBezTo>
                    <a:pt x="96203" y="300990"/>
                    <a:pt x="82868" y="279083"/>
                    <a:pt x="61913" y="267653"/>
                  </a:cubicBezTo>
                  <a:lnTo>
                    <a:pt x="53340" y="262890"/>
                  </a:lnTo>
                  <a:cubicBezTo>
                    <a:pt x="43815" y="258127"/>
                    <a:pt x="38100" y="248602"/>
                    <a:pt x="38100" y="238125"/>
                  </a:cubicBezTo>
                  <a:lnTo>
                    <a:pt x="38100" y="66675"/>
                  </a:lnTo>
                  <a:cubicBezTo>
                    <a:pt x="38100" y="50482"/>
                    <a:pt x="50483" y="38100"/>
                    <a:pt x="66675" y="38100"/>
                  </a:cubicBezTo>
                  <a:lnTo>
                    <a:pt x="158115" y="38100"/>
                  </a:lnTo>
                  <a:cubicBezTo>
                    <a:pt x="168593" y="38100"/>
                    <a:pt x="177165" y="29527"/>
                    <a:pt x="177165" y="19050"/>
                  </a:cubicBezTo>
                  <a:cubicBezTo>
                    <a:pt x="177165" y="8572"/>
                    <a:pt x="168593" y="0"/>
                    <a:pt x="158115" y="0"/>
                  </a:cubicBezTo>
                  <a:lnTo>
                    <a:pt x="66675" y="0"/>
                  </a:lnTo>
                  <a:cubicBezTo>
                    <a:pt x="29528" y="0"/>
                    <a:pt x="0" y="29527"/>
                    <a:pt x="0" y="66675"/>
                  </a:cubicBezTo>
                  <a:lnTo>
                    <a:pt x="0" y="238125"/>
                  </a:lnTo>
                  <a:cubicBezTo>
                    <a:pt x="0" y="261938"/>
                    <a:pt x="13335" y="283845"/>
                    <a:pt x="34290" y="29622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dirty="0"/>
            </a:p>
          </p:txBody>
        </p:sp>
      </p:grpSp>
      <p:sp>
        <p:nvSpPr>
          <p:cNvPr id="29" name="Graphic 222">
            <a:extLst>
              <a:ext uri="{FF2B5EF4-FFF2-40B4-BE49-F238E27FC236}">
                <a16:creationId xmlns:a16="http://schemas.microsoft.com/office/drawing/2014/main" id="{2DBF59A6-8F8A-4027-93A9-C6E6AA7AA5DE}"/>
              </a:ext>
            </a:extLst>
          </p:cNvPr>
          <p:cNvSpPr/>
          <p:nvPr/>
        </p:nvSpPr>
        <p:spPr>
          <a:xfrm>
            <a:off x="6478747" y="3410374"/>
            <a:ext cx="474492" cy="465177"/>
          </a:xfrm>
          <a:custGeom>
            <a:avLst/>
            <a:gdLst>
              <a:gd name="connsiteX0" fmla="*/ 9525 w 762000"/>
              <a:gd name="connsiteY0" fmla="*/ 761991 h 761990"/>
              <a:gd name="connsiteX1" fmla="*/ 752475 w 762000"/>
              <a:gd name="connsiteY1" fmla="*/ 761991 h 761990"/>
              <a:gd name="connsiteX2" fmla="*/ 762000 w 762000"/>
              <a:gd name="connsiteY2" fmla="*/ 752466 h 761990"/>
              <a:gd name="connsiteX3" fmla="*/ 762000 w 762000"/>
              <a:gd name="connsiteY3" fmla="*/ 701529 h 761990"/>
              <a:gd name="connsiteX4" fmla="*/ 752475 w 762000"/>
              <a:gd name="connsiteY4" fmla="*/ 692004 h 761990"/>
              <a:gd name="connsiteX5" fmla="*/ 740838 w 762000"/>
              <a:gd name="connsiteY5" fmla="*/ 692004 h 761990"/>
              <a:gd name="connsiteX6" fmla="*/ 740838 w 762000"/>
              <a:gd name="connsiteY6" fmla="*/ 491719 h 761990"/>
              <a:gd name="connsiteX7" fmla="*/ 752475 w 762000"/>
              <a:gd name="connsiteY7" fmla="*/ 491719 h 761990"/>
              <a:gd name="connsiteX8" fmla="*/ 762000 w 762000"/>
              <a:gd name="connsiteY8" fmla="*/ 482194 h 761990"/>
              <a:gd name="connsiteX9" fmla="*/ 762000 w 762000"/>
              <a:gd name="connsiteY9" fmla="*/ 422067 h 761990"/>
              <a:gd name="connsiteX10" fmla="*/ 755605 w 762000"/>
              <a:gd name="connsiteY10" fmla="*/ 413073 h 761990"/>
              <a:gd name="connsiteX11" fmla="*/ 598261 w 762000"/>
              <a:gd name="connsiteY11" fmla="*/ 358359 h 761990"/>
              <a:gd name="connsiteX12" fmla="*/ 595132 w 762000"/>
              <a:gd name="connsiteY12" fmla="*/ 357830 h 761990"/>
              <a:gd name="connsiteX13" fmla="*/ 543335 w 762000"/>
              <a:gd name="connsiteY13" fmla="*/ 357830 h 761990"/>
              <a:gd name="connsiteX14" fmla="*/ 543335 w 762000"/>
              <a:gd name="connsiteY14" fmla="*/ 260686 h 761990"/>
              <a:gd name="connsiteX15" fmla="*/ 549175 w 762000"/>
              <a:gd name="connsiteY15" fmla="*/ 260686 h 761990"/>
              <a:gd name="connsiteX16" fmla="*/ 558700 w 762000"/>
              <a:gd name="connsiteY16" fmla="*/ 251161 h 761990"/>
              <a:gd name="connsiteX17" fmla="*/ 558700 w 762000"/>
              <a:gd name="connsiteY17" fmla="*/ 244706 h 761990"/>
              <a:gd name="connsiteX18" fmla="*/ 399860 w 762000"/>
              <a:gd name="connsiteY18" fmla="*/ 85869 h 761990"/>
              <a:gd name="connsiteX19" fmla="*/ 390525 w 762000"/>
              <a:gd name="connsiteY19" fmla="*/ 85869 h 761990"/>
              <a:gd name="connsiteX20" fmla="*/ 390525 w 762000"/>
              <a:gd name="connsiteY20" fmla="*/ 77325 h 761990"/>
              <a:gd name="connsiteX21" fmla="*/ 472962 w 762000"/>
              <a:gd name="connsiteY21" fmla="*/ 77325 h 761990"/>
              <a:gd name="connsiteX22" fmla="*/ 482487 w 762000"/>
              <a:gd name="connsiteY22" fmla="*/ 67800 h 761990"/>
              <a:gd name="connsiteX23" fmla="*/ 482487 w 762000"/>
              <a:gd name="connsiteY23" fmla="*/ 16329 h 761990"/>
              <a:gd name="connsiteX24" fmla="*/ 472962 w 762000"/>
              <a:gd name="connsiteY24" fmla="*/ 6804 h 761990"/>
              <a:gd name="connsiteX25" fmla="*/ 389975 w 762000"/>
              <a:gd name="connsiteY25" fmla="*/ 6804 h 761990"/>
              <a:gd name="connsiteX26" fmla="*/ 381000 w 762000"/>
              <a:gd name="connsiteY26" fmla="*/ 0 h 761990"/>
              <a:gd name="connsiteX27" fmla="*/ 371475 w 762000"/>
              <a:gd name="connsiteY27" fmla="*/ 9525 h 761990"/>
              <a:gd name="connsiteX28" fmla="*/ 371475 w 762000"/>
              <a:gd name="connsiteY28" fmla="*/ 85869 h 761990"/>
              <a:gd name="connsiteX29" fmla="*/ 362141 w 762000"/>
              <a:gd name="connsiteY29" fmla="*/ 85869 h 761990"/>
              <a:gd name="connsiteX30" fmla="*/ 203300 w 762000"/>
              <a:gd name="connsiteY30" fmla="*/ 244706 h 761990"/>
              <a:gd name="connsiteX31" fmla="*/ 203300 w 762000"/>
              <a:gd name="connsiteY31" fmla="*/ 251161 h 761990"/>
              <a:gd name="connsiteX32" fmla="*/ 212825 w 762000"/>
              <a:gd name="connsiteY32" fmla="*/ 260686 h 761990"/>
              <a:gd name="connsiteX33" fmla="*/ 218665 w 762000"/>
              <a:gd name="connsiteY33" fmla="*/ 260686 h 761990"/>
              <a:gd name="connsiteX34" fmla="*/ 218665 w 762000"/>
              <a:gd name="connsiteY34" fmla="*/ 357830 h 761990"/>
              <a:gd name="connsiteX35" fmla="*/ 166868 w 762000"/>
              <a:gd name="connsiteY35" fmla="*/ 357830 h 761990"/>
              <a:gd name="connsiteX36" fmla="*/ 163739 w 762000"/>
              <a:gd name="connsiteY36" fmla="*/ 358359 h 761990"/>
              <a:gd name="connsiteX37" fmla="*/ 6395 w 762000"/>
              <a:gd name="connsiteY37" fmla="*/ 413073 h 761990"/>
              <a:gd name="connsiteX38" fmla="*/ 0 w 762000"/>
              <a:gd name="connsiteY38" fmla="*/ 422067 h 761990"/>
              <a:gd name="connsiteX39" fmla="*/ 0 w 762000"/>
              <a:gd name="connsiteY39" fmla="*/ 482194 h 761990"/>
              <a:gd name="connsiteX40" fmla="*/ 9525 w 762000"/>
              <a:gd name="connsiteY40" fmla="*/ 491719 h 761990"/>
              <a:gd name="connsiteX41" fmla="*/ 24082 w 762000"/>
              <a:gd name="connsiteY41" fmla="*/ 491719 h 761990"/>
              <a:gd name="connsiteX42" fmla="*/ 24082 w 762000"/>
              <a:gd name="connsiteY42" fmla="*/ 692004 h 761990"/>
              <a:gd name="connsiteX43" fmla="*/ 9525 w 762000"/>
              <a:gd name="connsiteY43" fmla="*/ 692004 h 761990"/>
              <a:gd name="connsiteX44" fmla="*/ 0 w 762000"/>
              <a:gd name="connsiteY44" fmla="*/ 701529 h 761990"/>
              <a:gd name="connsiteX45" fmla="*/ 0 w 762000"/>
              <a:gd name="connsiteY45" fmla="*/ 752466 h 761990"/>
              <a:gd name="connsiteX46" fmla="*/ 9525 w 762000"/>
              <a:gd name="connsiteY46" fmla="*/ 761991 h 761990"/>
              <a:gd name="connsiteX47" fmla="*/ 463437 w 762000"/>
              <a:gd name="connsiteY47" fmla="*/ 58275 h 761990"/>
              <a:gd name="connsiteX48" fmla="*/ 390525 w 762000"/>
              <a:gd name="connsiteY48" fmla="*/ 58275 h 761990"/>
              <a:gd name="connsiteX49" fmla="*/ 390525 w 762000"/>
              <a:gd name="connsiteY49" fmla="*/ 25854 h 761990"/>
              <a:gd name="connsiteX50" fmla="*/ 463437 w 762000"/>
              <a:gd name="connsiteY50" fmla="*/ 25854 h 761990"/>
              <a:gd name="connsiteX51" fmla="*/ 463437 w 762000"/>
              <a:gd name="connsiteY51" fmla="*/ 58275 h 761990"/>
              <a:gd name="connsiteX52" fmla="*/ 721788 w 762000"/>
              <a:gd name="connsiteY52" fmla="*/ 692004 h 761990"/>
              <a:gd name="connsiteX53" fmla="*/ 549971 w 762000"/>
              <a:gd name="connsiteY53" fmla="*/ 692004 h 761990"/>
              <a:gd name="connsiteX54" fmla="*/ 549971 w 762000"/>
              <a:gd name="connsiteY54" fmla="*/ 504815 h 761990"/>
              <a:gd name="connsiteX55" fmla="*/ 564468 w 762000"/>
              <a:gd name="connsiteY55" fmla="*/ 504815 h 761990"/>
              <a:gd name="connsiteX56" fmla="*/ 573993 w 762000"/>
              <a:gd name="connsiteY56" fmla="*/ 495290 h 761990"/>
              <a:gd name="connsiteX57" fmla="*/ 573993 w 762000"/>
              <a:gd name="connsiteY57" fmla="*/ 491719 h 761990"/>
              <a:gd name="connsiteX58" fmla="*/ 721788 w 762000"/>
              <a:gd name="connsiteY58" fmla="*/ 491719 h 761990"/>
              <a:gd name="connsiteX59" fmla="*/ 721788 w 762000"/>
              <a:gd name="connsiteY59" fmla="*/ 692004 h 761990"/>
              <a:gd name="connsiteX60" fmla="*/ 207057 w 762000"/>
              <a:gd name="connsiteY60" fmla="*/ 485765 h 761990"/>
              <a:gd name="connsiteX61" fmla="*/ 207057 w 762000"/>
              <a:gd name="connsiteY61" fmla="*/ 466493 h 761990"/>
              <a:gd name="connsiteX62" fmla="*/ 381000 w 762000"/>
              <a:gd name="connsiteY62" fmla="*/ 431778 h 761990"/>
              <a:gd name="connsiteX63" fmla="*/ 554943 w 762000"/>
              <a:gd name="connsiteY63" fmla="*/ 466493 h 761990"/>
              <a:gd name="connsiteX64" fmla="*/ 554943 w 762000"/>
              <a:gd name="connsiteY64" fmla="*/ 485765 h 761990"/>
              <a:gd name="connsiteX65" fmla="*/ 207057 w 762000"/>
              <a:gd name="connsiteY65" fmla="*/ 485765 h 761990"/>
              <a:gd name="connsiteX66" fmla="*/ 320273 w 762000"/>
              <a:gd name="connsiteY66" fmla="*/ 504815 h 761990"/>
              <a:gd name="connsiteX67" fmla="*/ 320273 w 762000"/>
              <a:gd name="connsiteY67" fmla="*/ 692004 h 761990"/>
              <a:gd name="connsiteX68" fmla="*/ 233995 w 762000"/>
              <a:gd name="connsiteY68" fmla="*/ 692004 h 761990"/>
              <a:gd name="connsiteX69" fmla="*/ 233995 w 762000"/>
              <a:gd name="connsiteY69" fmla="*/ 504815 h 761990"/>
              <a:gd name="connsiteX70" fmla="*/ 320273 w 762000"/>
              <a:gd name="connsiteY70" fmla="*/ 504815 h 761990"/>
              <a:gd name="connsiteX71" fmla="*/ 339323 w 762000"/>
              <a:gd name="connsiteY71" fmla="*/ 504815 h 761990"/>
              <a:gd name="connsiteX72" fmla="*/ 425597 w 762000"/>
              <a:gd name="connsiteY72" fmla="*/ 504815 h 761990"/>
              <a:gd name="connsiteX73" fmla="*/ 425597 w 762000"/>
              <a:gd name="connsiteY73" fmla="*/ 692004 h 761990"/>
              <a:gd name="connsiteX74" fmla="*/ 339323 w 762000"/>
              <a:gd name="connsiteY74" fmla="*/ 692004 h 761990"/>
              <a:gd name="connsiteX75" fmla="*/ 339323 w 762000"/>
              <a:gd name="connsiteY75" fmla="*/ 504815 h 761990"/>
              <a:gd name="connsiteX76" fmla="*/ 444647 w 762000"/>
              <a:gd name="connsiteY76" fmla="*/ 504815 h 761990"/>
              <a:gd name="connsiteX77" fmla="*/ 530921 w 762000"/>
              <a:gd name="connsiteY77" fmla="*/ 504815 h 761990"/>
              <a:gd name="connsiteX78" fmla="*/ 530921 w 762000"/>
              <a:gd name="connsiteY78" fmla="*/ 692004 h 761990"/>
              <a:gd name="connsiteX79" fmla="*/ 444647 w 762000"/>
              <a:gd name="connsiteY79" fmla="*/ 692004 h 761990"/>
              <a:gd name="connsiteX80" fmla="*/ 444647 w 762000"/>
              <a:gd name="connsiteY80" fmla="*/ 504815 h 761990"/>
              <a:gd name="connsiteX81" fmla="*/ 362141 w 762000"/>
              <a:gd name="connsiteY81" fmla="*/ 104919 h 761990"/>
              <a:gd name="connsiteX82" fmla="*/ 399860 w 762000"/>
              <a:gd name="connsiteY82" fmla="*/ 104919 h 761990"/>
              <a:gd name="connsiteX83" fmla="*/ 539618 w 762000"/>
              <a:gd name="connsiteY83" fmla="*/ 241636 h 761990"/>
              <a:gd name="connsiteX84" fmla="*/ 222382 w 762000"/>
              <a:gd name="connsiteY84" fmla="*/ 241636 h 761990"/>
              <a:gd name="connsiteX85" fmla="*/ 362141 w 762000"/>
              <a:gd name="connsiteY85" fmla="*/ 104919 h 761990"/>
              <a:gd name="connsiteX86" fmla="*/ 237715 w 762000"/>
              <a:gd name="connsiteY86" fmla="*/ 260686 h 761990"/>
              <a:gd name="connsiteX87" fmla="*/ 524285 w 762000"/>
              <a:gd name="connsiteY87" fmla="*/ 260686 h 761990"/>
              <a:gd name="connsiteX88" fmla="*/ 524285 w 762000"/>
              <a:gd name="connsiteY88" fmla="*/ 357830 h 761990"/>
              <a:gd name="connsiteX89" fmla="*/ 237715 w 762000"/>
              <a:gd name="connsiteY89" fmla="*/ 357830 h 761990"/>
              <a:gd name="connsiteX90" fmla="*/ 237715 w 762000"/>
              <a:gd name="connsiteY90" fmla="*/ 260686 h 761990"/>
              <a:gd name="connsiteX91" fmla="*/ 19050 w 762000"/>
              <a:gd name="connsiteY91" fmla="*/ 428838 h 761990"/>
              <a:gd name="connsiteX92" fmla="*/ 168478 w 762000"/>
              <a:gd name="connsiteY92" fmla="*/ 376880 h 761990"/>
              <a:gd name="connsiteX93" fmla="*/ 593522 w 762000"/>
              <a:gd name="connsiteY93" fmla="*/ 376880 h 761990"/>
              <a:gd name="connsiteX94" fmla="*/ 742950 w 762000"/>
              <a:gd name="connsiteY94" fmla="*/ 428838 h 761990"/>
              <a:gd name="connsiteX95" fmla="*/ 742950 w 762000"/>
              <a:gd name="connsiteY95" fmla="*/ 472669 h 761990"/>
              <a:gd name="connsiteX96" fmla="*/ 573993 w 762000"/>
              <a:gd name="connsiteY96" fmla="*/ 472669 h 761990"/>
              <a:gd name="connsiteX97" fmla="*/ 573993 w 762000"/>
              <a:gd name="connsiteY97" fmla="*/ 458678 h 761990"/>
              <a:gd name="connsiteX98" fmla="*/ 566333 w 762000"/>
              <a:gd name="connsiteY98" fmla="*/ 449340 h 761990"/>
              <a:gd name="connsiteX99" fmla="*/ 382865 w 762000"/>
              <a:gd name="connsiteY99" fmla="*/ 412728 h 761990"/>
              <a:gd name="connsiteX100" fmla="*/ 379135 w 762000"/>
              <a:gd name="connsiteY100" fmla="*/ 412728 h 761990"/>
              <a:gd name="connsiteX101" fmla="*/ 195667 w 762000"/>
              <a:gd name="connsiteY101" fmla="*/ 449340 h 761990"/>
              <a:gd name="connsiteX102" fmla="*/ 188007 w 762000"/>
              <a:gd name="connsiteY102" fmla="*/ 458678 h 761990"/>
              <a:gd name="connsiteX103" fmla="*/ 188007 w 762000"/>
              <a:gd name="connsiteY103" fmla="*/ 472669 h 761990"/>
              <a:gd name="connsiteX104" fmla="*/ 19050 w 762000"/>
              <a:gd name="connsiteY104" fmla="*/ 472669 h 761990"/>
              <a:gd name="connsiteX105" fmla="*/ 19050 w 762000"/>
              <a:gd name="connsiteY105" fmla="*/ 428838 h 761990"/>
              <a:gd name="connsiteX106" fmla="*/ 43132 w 762000"/>
              <a:gd name="connsiteY106" fmla="*/ 491719 h 761990"/>
              <a:gd name="connsiteX107" fmla="*/ 188007 w 762000"/>
              <a:gd name="connsiteY107" fmla="*/ 491719 h 761990"/>
              <a:gd name="connsiteX108" fmla="*/ 188007 w 762000"/>
              <a:gd name="connsiteY108" fmla="*/ 495290 h 761990"/>
              <a:gd name="connsiteX109" fmla="*/ 197532 w 762000"/>
              <a:gd name="connsiteY109" fmla="*/ 504815 h 761990"/>
              <a:gd name="connsiteX110" fmla="*/ 214945 w 762000"/>
              <a:gd name="connsiteY110" fmla="*/ 504815 h 761990"/>
              <a:gd name="connsiteX111" fmla="*/ 214945 w 762000"/>
              <a:gd name="connsiteY111" fmla="*/ 692004 h 761990"/>
              <a:gd name="connsiteX112" fmla="*/ 43132 w 762000"/>
              <a:gd name="connsiteY112" fmla="*/ 692004 h 761990"/>
              <a:gd name="connsiteX113" fmla="*/ 43132 w 762000"/>
              <a:gd name="connsiteY113" fmla="*/ 491719 h 761990"/>
              <a:gd name="connsiteX114" fmla="*/ 19050 w 762000"/>
              <a:gd name="connsiteY114" fmla="*/ 711054 h 761990"/>
              <a:gd name="connsiteX115" fmla="*/ 742950 w 762000"/>
              <a:gd name="connsiteY115" fmla="*/ 711054 h 761990"/>
              <a:gd name="connsiteX116" fmla="*/ 742950 w 762000"/>
              <a:gd name="connsiteY116" fmla="*/ 742941 h 761990"/>
              <a:gd name="connsiteX117" fmla="*/ 19050 w 762000"/>
              <a:gd name="connsiteY117" fmla="*/ 742941 h 761990"/>
              <a:gd name="connsiteX118" fmla="*/ 19050 w 762000"/>
              <a:gd name="connsiteY118" fmla="*/ 711054 h 761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762000" h="761990">
                <a:moveTo>
                  <a:pt x="9525" y="761991"/>
                </a:moveTo>
                <a:lnTo>
                  <a:pt x="752475" y="761991"/>
                </a:lnTo>
                <a:cubicBezTo>
                  <a:pt x="757735" y="761991"/>
                  <a:pt x="762000" y="757725"/>
                  <a:pt x="762000" y="752466"/>
                </a:cubicBezTo>
                <a:lnTo>
                  <a:pt x="762000" y="701529"/>
                </a:lnTo>
                <a:cubicBezTo>
                  <a:pt x="762000" y="696269"/>
                  <a:pt x="757735" y="692004"/>
                  <a:pt x="752475" y="692004"/>
                </a:cubicBezTo>
                <a:lnTo>
                  <a:pt x="740838" y="692004"/>
                </a:lnTo>
                <a:lnTo>
                  <a:pt x="740838" y="491719"/>
                </a:lnTo>
                <a:lnTo>
                  <a:pt x="752475" y="491719"/>
                </a:lnTo>
                <a:cubicBezTo>
                  <a:pt x="757735" y="491719"/>
                  <a:pt x="762000" y="487453"/>
                  <a:pt x="762000" y="482194"/>
                </a:cubicBezTo>
                <a:lnTo>
                  <a:pt x="762000" y="422067"/>
                </a:lnTo>
                <a:cubicBezTo>
                  <a:pt x="762000" y="418011"/>
                  <a:pt x="759433" y="414402"/>
                  <a:pt x="755605" y="413073"/>
                </a:cubicBezTo>
                <a:lnTo>
                  <a:pt x="598261" y="358359"/>
                </a:lnTo>
                <a:cubicBezTo>
                  <a:pt x="597252" y="358006"/>
                  <a:pt x="596196" y="357830"/>
                  <a:pt x="595132" y="357830"/>
                </a:cubicBezTo>
                <a:lnTo>
                  <a:pt x="543335" y="357830"/>
                </a:lnTo>
                <a:lnTo>
                  <a:pt x="543335" y="260686"/>
                </a:lnTo>
                <a:lnTo>
                  <a:pt x="549175" y="260686"/>
                </a:lnTo>
                <a:cubicBezTo>
                  <a:pt x="554436" y="260686"/>
                  <a:pt x="558700" y="256422"/>
                  <a:pt x="558700" y="251161"/>
                </a:cubicBezTo>
                <a:lnTo>
                  <a:pt x="558700" y="244706"/>
                </a:lnTo>
                <a:cubicBezTo>
                  <a:pt x="558700" y="157125"/>
                  <a:pt x="487445" y="85869"/>
                  <a:pt x="399860" y="85869"/>
                </a:cubicBezTo>
                <a:lnTo>
                  <a:pt x="390525" y="85869"/>
                </a:lnTo>
                <a:lnTo>
                  <a:pt x="390525" y="77325"/>
                </a:lnTo>
                <a:lnTo>
                  <a:pt x="472962" y="77325"/>
                </a:lnTo>
                <a:cubicBezTo>
                  <a:pt x="478222" y="77325"/>
                  <a:pt x="482487" y="73061"/>
                  <a:pt x="482487" y="67800"/>
                </a:cubicBezTo>
                <a:lnTo>
                  <a:pt x="482487" y="16329"/>
                </a:lnTo>
                <a:cubicBezTo>
                  <a:pt x="482487" y="11069"/>
                  <a:pt x="478222" y="6804"/>
                  <a:pt x="472962" y="6804"/>
                </a:cubicBezTo>
                <a:lnTo>
                  <a:pt x="389975" y="6804"/>
                </a:lnTo>
                <a:cubicBezTo>
                  <a:pt x="388788" y="2897"/>
                  <a:pt x="385295" y="0"/>
                  <a:pt x="381000" y="0"/>
                </a:cubicBezTo>
                <a:cubicBezTo>
                  <a:pt x="375740" y="0"/>
                  <a:pt x="371475" y="4264"/>
                  <a:pt x="371475" y="9525"/>
                </a:cubicBezTo>
                <a:lnTo>
                  <a:pt x="371475" y="85869"/>
                </a:lnTo>
                <a:lnTo>
                  <a:pt x="362141" y="85869"/>
                </a:lnTo>
                <a:cubicBezTo>
                  <a:pt x="274555" y="85869"/>
                  <a:pt x="203300" y="157125"/>
                  <a:pt x="203300" y="244706"/>
                </a:cubicBezTo>
                <a:lnTo>
                  <a:pt x="203300" y="251161"/>
                </a:lnTo>
                <a:cubicBezTo>
                  <a:pt x="203300" y="256422"/>
                  <a:pt x="207564" y="260686"/>
                  <a:pt x="212825" y="260686"/>
                </a:cubicBezTo>
                <a:lnTo>
                  <a:pt x="218665" y="260686"/>
                </a:lnTo>
                <a:lnTo>
                  <a:pt x="218665" y="357830"/>
                </a:lnTo>
                <a:lnTo>
                  <a:pt x="166868" y="357830"/>
                </a:lnTo>
                <a:cubicBezTo>
                  <a:pt x="165804" y="357830"/>
                  <a:pt x="164748" y="358006"/>
                  <a:pt x="163739" y="358359"/>
                </a:cubicBezTo>
                <a:lnTo>
                  <a:pt x="6395" y="413073"/>
                </a:lnTo>
                <a:cubicBezTo>
                  <a:pt x="2567" y="414402"/>
                  <a:pt x="0" y="418011"/>
                  <a:pt x="0" y="422067"/>
                </a:cubicBezTo>
                <a:lnTo>
                  <a:pt x="0" y="482194"/>
                </a:lnTo>
                <a:cubicBezTo>
                  <a:pt x="0" y="487453"/>
                  <a:pt x="4265" y="491719"/>
                  <a:pt x="9525" y="491719"/>
                </a:cubicBezTo>
                <a:lnTo>
                  <a:pt x="24082" y="491719"/>
                </a:lnTo>
                <a:lnTo>
                  <a:pt x="24082" y="692004"/>
                </a:lnTo>
                <a:lnTo>
                  <a:pt x="9525" y="692004"/>
                </a:lnTo>
                <a:cubicBezTo>
                  <a:pt x="4265" y="692004"/>
                  <a:pt x="0" y="696269"/>
                  <a:pt x="0" y="701529"/>
                </a:cubicBezTo>
                <a:lnTo>
                  <a:pt x="0" y="752466"/>
                </a:lnTo>
                <a:cubicBezTo>
                  <a:pt x="0" y="757725"/>
                  <a:pt x="4265" y="761991"/>
                  <a:pt x="9525" y="761991"/>
                </a:cubicBezTo>
                <a:close/>
                <a:moveTo>
                  <a:pt x="463437" y="58275"/>
                </a:moveTo>
                <a:lnTo>
                  <a:pt x="390525" y="58275"/>
                </a:lnTo>
                <a:lnTo>
                  <a:pt x="390525" y="25854"/>
                </a:lnTo>
                <a:lnTo>
                  <a:pt x="463437" y="25854"/>
                </a:lnTo>
                <a:lnTo>
                  <a:pt x="463437" y="58275"/>
                </a:lnTo>
                <a:close/>
                <a:moveTo>
                  <a:pt x="721788" y="692004"/>
                </a:moveTo>
                <a:lnTo>
                  <a:pt x="549971" y="692004"/>
                </a:lnTo>
                <a:lnTo>
                  <a:pt x="549971" y="504815"/>
                </a:lnTo>
                <a:lnTo>
                  <a:pt x="564468" y="504815"/>
                </a:lnTo>
                <a:cubicBezTo>
                  <a:pt x="569728" y="504815"/>
                  <a:pt x="573993" y="500550"/>
                  <a:pt x="573993" y="495290"/>
                </a:cubicBezTo>
                <a:lnTo>
                  <a:pt x="573993" y="491719"/>
                </a:lnTo>
                <a:lnTo>
                  <a:pt x="721788" y="491719"/>
                </a:lnTo>
                <a:lnTo>
                  <a:pt x="721788" y="692004"/>
                </a:lnTo>
                <a:close/>
                <a:moveTo>
                  <a:pt x="207057" y="485765"/>
                </a:moveTo>
                <a:lnTo>
                  <a:pt x="207057" y="466493"/>
                </a:lnTo>
                <a:lnTo>
                  <a:pt x="381000" y="431778"/>
                </a:lnTo>
                <a:lnTo>
                  <a:pt x="554943" y="466493"/>
                </a:lnTo>
                <a:lnTo>
                  <a:pt x="554943" y="485765"/>
                </a:lnTo>
                <a:lnTo>
                  <a:pt x="207057" y="485765"/>
                </a:lnTo>
                <a:close/>
                <a:moveTo>
                  <a:pt x="320273" y="504815"/>
                </a:moveTo>
                <a:lnTo>
                  <a:pt x="320273" y="692004"/>
                </a:lnTo>
                <a:lnTo>
                  <a:pt x="233995" y="692004"/>
                </a:lnTo>
                <a:lnTo>
                  <a:pt x="233995" y="504815"/>
                </a:lnTo>
                <a:lnTo>
                  <a:pt x="320273" y="504815"/>
                </a:lnTo>
                <a:close/>
                <a:moveTo>
                  <a:pt x="339323" y="504815"/>
                </a:moveTo>
                <a:lnTo>
                  <a:pt x="425597" y="504815"/>
                </a:lnTo>
                <a:lnTo>
                  <a:pt x="425597" y="692004"/>
                </a:lnTo>
                <a:lnTo>
                  <a:pt x="339323" y="692004"/>
                </a:lnTo>
                <a:lnTo>
                  <a:pt x="339323" y="504815"/>
                </a:lnTo>
                <a:close/>
                <a:moveTo>
                  <a:pt x="444647" y="504815"/>
                </a:moveTo>
                <a:lnTo>
                  <a:pt x="530921" y="504815"/>
                </a:lnTo>
                <a:lnTo>
                  <a:pt x="530921" y="692004"/>
                </a:lnTo>
                <a:lnTo>
                  <a:pt x="444647" y="692004"/>
                </a:lnTo>
                <a:lnTo>
                  <a:pt x="444647" y="504815"/>
                </a:lnTo>
                <a:close/>
                <a:moveTo>
                  <a:pt x="362141" y="104919"/>
                </a:moveTo>
                <a:lnTo>
                  <a:pt x="399860" y="104919"/>
                </a:lnTo>
                <a:cubicBezTo>
                  <a:pt x="475915" y="104919"/>
                  <a:pt x="537982" y="165971"/>
                  <a:pt x="539618" y="241636"/>
                </a:cubicBezTo>
                <a:lnTo>
                  <a:pt x="222382" y="241636"/>
                </a:lnTo>
                <a:cubicBezTo>
                  <a:pt x="224018" y="165971"/>
                  <a:pt x="286085" y="104919"/>
                  <a:pt x="362141" y="104919"/>
                </a:cubicBezTo>
                <a:close/>
                <a:moveTo>
                  <a:pt x="237715" y="260686"/>
                </a:moveTo>
                <a:lnTo>
                  <a:pt x="524285" y="260686"/>
                </a:lnTo>
                <a:lnTo>
                  <a:pt x="524285" y="357830"/>
                </a:lnTo>
                <a:lnTo>
                  <a:pt x="237715" y="357830"/>
                </a:lnTo>
                <a:lnTo>
                  <a:pt x="237715" y="260686"/>
                </a:lnTo>
                <a:close/>
                <a:moveTo>
                  <a:pt x="19050" y="428838"/>
                </a:moveTo>
                <a:lnTo>
                  <a:pt x="168478" y="376880"/>
                </a:lnTo>
                <a:lnTo>
                  <a:pt x="593522" y="376880"/>
                </a:lnTo>
                <a:lnTo>
                  <a:pt x="742950" y="428838"/>
                </a:lnTo>
                <a:lnTo>
                  <a:pt x="742950" y="472669"/>
                </a:lnTo>
                <a:lnTo>
                  <a:pt x="573993" y="472669"/>
                </a:lnTo>
                <a:lnTo>
                  <a:pt x="573993" y="458678"/>
                </a:lnTo>
                <a:cubicBezTo>
                  <a:pt x="573993" y="454135"/>
                  <a:pt x="570784" y="450228"/>
                  <a:pt x="566333" y="449340"/>
                </a:cubicBezTo>
                <a:lnTo>
                  <a:pt x="382865" y="412728"/>
                </a:lnTo>
                <a:cubicBezTo>
                  <a:pt x="381637" y="412477"/>
                  <a:pt x="380363" y="412477"/>
                  <a:pt x="379135" y="412728"/>
                </a:cubicBezTo>
                <a:lnTo>
                  <a:pt x="195667" y="449340"/>
                </a:lnTo>
                <a:cubicBezTo>
                  <a:pt x="191216" y="450228"/>
                  <a:pt x="188007" y="454135"/>
                  <a:pt x="188007" y="458678"/>
                </a:cubicBezTo>
                <a:lnTo>
                  <a:pt x="188007" y="472669"/>
                </a:lnTo>
                <a:lnTo>
                  <a:pt x="19050" y="472669"/>
                </a:lnTo>
                <a:lnTo>
                  <a:pt x="19050" y="428838"/>
                </a:lnTo>
                <a:close/>
                <a:moveTo>
                  <a:pt x="43132" y="491719"/>
                </a:moveTo>
                <a:lnTo>
                  <a:pt x="188007" y="491719"/>
                </a:lnTo>
                <a:lnTo>
                  <a:pt x="188007" y="495290"/>
                </a:lnTo>
                <a:cubicBezTo>
                  <a:pt x="188007" y="500550"/>
                  <a:pt x="192272" y="504815"/>
                  <a:pt x="197532" y="504815"/>
                </a:cubicBezTo>
                <a:lnTo>
                  <a:pt x="214945" y="504815"/>
                </a:lnTo>
                <a:lnTo>
                  <a:pt x="214945" y="692004"/>
                </a:lnTo>
                <a:lnTo>
                  <a:pt x="43132" y="692004"/>
                </a:lnTo>
                <a:lnTo>
                  <a:pt x="43132" y="491719"/>
                </a:lnTo>
                <a:close/>
                <a:moveTo>
                  <a:pt x="19050" y="711054"/>
                </a:moveTo>
                <a:lnTo>
                  <a:pt x="742950" y="711054"/>
                </a:lnTo>
                <a:lnTo>
                  <a:pt x="742950" y="742941"/>
                </a:lnTo>
                <a:lnTo>
                  <a:pt x="19050" y="742941"/>
                </a:lnTo>
                <a:lnTo>
                  <a:pt x="19050" y="711054"/>
                </a:lnTo>
                <a:close/>
              </a:path>
            </a:pathLst>
          </a:custGeom>
          <a:solidFill>
            <a:srgbClr val="002B45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dirty="0"/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EE6FBB47-48F9-4BB0-82AD-5E813ADC7506}"/>
              </a:ext>
            </a:extLst>
          </p:cNvPr>
          <p:cNvCxnSpPr>
            <a:cxnSpLocks/>
          </p:cNvCxnSpPr>
          <p:nvPr/>
        </p:nvCxnSpPr>
        <p:spPr>
          <a:xfrm>
            <a:off x="1436231" y="4044828"/>
            <a:ext cx="1125630" cy="0"/>
          </a:xfrm>
          <a:prstGeom prst="line">
            <a:avLst/>
          </a:prstGeom>
          <a:ln w="3175">
            <a:solidFill>
              <a:srgbClr val="0083A9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F84AB0C5-9A26-4926-85E1-083732E7D693}"/>
              </a:ext>
            </a:extLst>
          </p:cNvPr>
          <p:cNvCxnSpPr>
            <a:cxnSpLocks/>
          </p:cNvCxnSpPr>
          <p:nvPr/>
        </p:nvCxnSpPr>
        <p:spPr>
          <a:xfrm>
            <a:off x="635439" y="1448559"/>
            <a:ext cx="0" cy="765451"/>
          </a:xfrm>
          <a:prstGeom prst="line">
            <a:avLst/>
          </a:prstGeom>
          <a:ln w="19050">
            <a:solidFill>
              <a:srgbClr val="FFA1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AD54677F-A767-4E87-97B4-4C902DEA7D11}"/>
              </a:ext>
            </a:extLst>
          </p:cNvPr>
          <p:cNvCxnSpPr>
            <a:cxnSpLocks/>
          </p:cNvCxnSpPr>
          <p:nvPr/>
        </p:nvCxnSpPr>
        <p:spPr>
          <a:xfrm flipH="1" flipV="1">
            <a:off x="657658" y="3343027"/>
            <a:ext cx="17756" cy="1908054"/>
          </a:xfrm>
          <a:prstGeom prst="line">
            <a:avLst/>
          </a:prstGeom>
          <a:ln w="19050">
            <a:solidFill>
              <a:srgbClr val="34B233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DBAF8E0-A452-49CB-9140-E7E127258509}"/>
              </a:ext>
            </a:extLst>
          </p:cNvPr>
          <p:cNvCxnSpPr>
            <a:cxnSpLocks/>
          </p:cNvCxnSpPr>
          <p:nvPr/>
        </p:nvCxnSpPr>
        <p:spPr>
          <a:xfrm>
            <a:off x="657654" y="5873281"/>
            <a:ext cx="0" cy="1363148"/>
          </a:xfrm>
          <a:prstGeom prst="line">
            <a:avLst/>
          </a:prstGeom>
          <a:ln w="19050">
            <a:solidFill>
              <a:srgbClr val="ED2939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tangle 33">
            <a:extLst>
              <a:ext uri="{FF2B5EF4-FFF2-40B4-BE49-F238E27FC236}">
                <a16:creationId xmlns:a16="http://schemas.microsoft.com/office/drawing/2014/main" id="{A91CF67F-557F-426D-A30A-763A587BE083}"/>
              </a:ext>
            </a:extLst>
          </p:cNvPr>
          <p:cNvSpPr/>
          <p:nvPr/>
        </p:nvSpPr>
        <p:spPr>
          <a:xfrm>
            <a:off x="1077707" y="6270132"/>
            <a:ext cx="1596463" cy="8229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 defTabSz="1095791">
              <a:spcAft>
                <a:spcPts val="1438"/>
              </a:spcAft>
            </a:pPr>
            <a:r>
              <a:rPr lang="en-US" sz="1678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vironment, Climate Change, Biodiversity, Energy 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D110667-8984-4B4A-AB73-730E607E9CF0}"/>
              </a:ext>
            </a:extLst>
          </p:cNvPr>
          <p:cNvSpPr/>
          <p:nvPr/>
        </p:nvSpPr>
        <p:spPr>
          <a:xfrm>
            <a:off x="2973821" y="6282623"/>
            <a:ext cx="2008482" cy="8229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 defTabSz="1095791">
              <a:spcAft>
                <a:spcPts val="1438"/>
              </a:spcAft>
            </a:pPr>
            <a:r>
              <a:rPr lang="en-US" sz="1678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lth &amp; Safety, HR, Social Accountability, CSR, Affirmative Action, POSH 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A18733E0-F83B-4552-923B-CA42E3AA93C9}"/>
              </a:ext>
            </a:extLst>
          </p:cNvPr>
          <p:cNvSpPr/>
          <p:nvPr/>
        </p:nvSpPr>
        <p:spPr>
          <a:xfrm>
            <a:off x="5255078" y="6299103"/>
            <a:ext cx="2243677" cy="8229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 defTabSz="1095791">
              <a:spcAft>
                <a:spcPts val="1438"/>
              </a:spcAft>
            </a:pPr>
            <a:r>
              <a:rPr lang="en-US" sz="1678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ponsible SC, ABAC,  AML, Data Privacy, Remuneration, Whistle Blower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AD85416D-1F29-42F8-BA97-A7C0084E9A0F}"/>
              </a:ext>
            </a:extLst>
          </p:cNvPr>
          <p:cNvCxnSpPr>
            <a:cxnSpLocks/>
          </p:cNvCxnSpPr>
          <p:nvPr/>
        </p:nvCxnSpPr>
        <p:spPr>
          <a:xfrm>
            <a:off x="2854162" y="5812411"/>
            <a:ext cx="0" cy="1319390"/>
          </a:xfrm>
          <a:prstGeom prst="line">
            <a:avLst/>
          </a:prstGeom>
          <a:ln w="3175">
            <a:solidFill>
              <a:srgbClr val="ED2939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34A056DE-C95C-40C6-8D92-4207EE909840}"/>
              </a:ext>
            </a:extLst>
          </p:cNvPr>
          <p:cNvCxnSpPr>
            <a:cxnSpLocks/>
          </p:cNvCxnSpPr>
          <p:nvPr/>
        </p:nvCxnSpPr>
        <p:spPr>
          <a:xfrm>
            <a:off x="5141729" y="5799487"/>
            <a:ext cx="0" cy="1319390"/>
          </a:xfrm>
          <a:prstGeom prst="line">
            <a:avLst/>
          </a:prstGeom>
          <a:ln w="3175">
            <a:solidFill>
              <a:srgbClr val="ED2939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9" name="Group 38">
            <a:extLst>
              <a:ext uri="{FF2B5EF4-FFF2-40B4-BE49-F238E27FC236}">
                <a16:creationId xmlns:a16="http://schemas.microsoft.com/office/drawing/2014/main" id="{9CED8FB5-9265-4AE6-9990-9C07E35F4DDA}"/>
              </a:ext>
            </a:extLst>
          </p:cNvPr>
          <p:cNvGrpSpPr/>
          <p:nvPr/>
        </p:nvGrpSpPr>
        <p:grpSpPr>
          <a:xfrm>
            <a:off x="1689982" y="5722917"/>
            <a:ext cx="378159" cy="333070"/>
            <a:chOff x="956743" y="4807231"/>
            <a:chExt cx="315515" cy="336253"/>
          </a:xfrm>
          <a:solidFill>
            <a:srgbClr val="34B233"/>
          </a:solidFill>
        </p:grpSpPr>
        <p:sp>
          <p:nvSpPr>
            <p:cNvPr id="40" name="Graphic 26">
              <a:extLst>
                <a:ext uri="{FF2B5EF4-FFF2-40B4-BE49-F238E27FC236}">
                  <a16:creationId xmlns:a16="http://schemas.microsoft.com/office/drawing/2014/main" id="{DBEC86E4-A328-4167-A5B6-3D7E431B0B9F}"/>
                </a:ext>
              </a:extLst>
            </p:cNvPr>
            <p:cNvSpPr/>
            <p:nvPr/>
          </p:nvSpPr>
          <p:spPr>
            <a:xfrm>
              <a:off x="1014874" y="4807231"/>
              <a:ext cx="199736" cy="199149"/>
            </a:xfrm>
            <a:custGeom>
              <a:avLst/>
              <a:gdLst>
                <a:gd name="connsiteX0" fmla="*/ 199520 w 199736"/>
                <a:gd name="connsiteY0" fmla="*/ 99892 h 199149"/>
                <a:gd name="connsiteX1" fmla="*/ 191488 w 199736"/>
                <a:gd name="connsiteY1" fmla="*/ 60746 h 199149"/>
                <a:gd name="connsiteX2" fmla="*/ 191090 w 199736"/>
                <a:gd name="connsiteY2" fmla="*/ 59805 h 199149"/>
                <a:gd name="connsiteX3" fmla="*/ 173000 w 199736"/>
                <a:gd name="connsiteY3" fmla="*/ 32381 h 199149"/>
                <a:gd name="connsiteX4" fmla="*/ 172204 w 199736"/>
                <a:gd name="connsiteY4" fmla="*/ 31585 h 199149"/>
                <a:gd name="connsiteX5" fmla="*/ 137110 w 199736"/>
                <a:gd name="connsiteY5" fmla="*/ 7417 h 199149"/>
                <a:gd name="connsiteX6" fmla="*/ 136495 w 199736"/>
                <a:gd name="connsiteY6" fmla="*/ 7127 h 199149"/>
                <a:gd name="connsiteX7" fmla="*/ 136133 w 199736"/>
                <a:gd name="connsiteY7" fmla="*/ 7127 h 199149"/>
                <a:gd name="connsiteX8" fmla="*/ 99845 w 199736"/>
                <a:gd name="connsiteY8" fmla="*/ 0 h 199149"/>
                <a:gd name="connsiteX9" fmla="*/ 99627 w 199736"/>
                <a:gd name="connsiteY9" fmla="*/ 0 h 199149"/>
                <a:gd name="connsiteX10" fmla="*/ 49880 w 199736"/>
                <a:gd name="connsiteY10" fmla="*/ 13314 h 199149"/>
                <a:gd name="connsiteX11" fmla="*/ 49265 w 199736"/>
                <a:gd name="connsiteY11" fmla="*/ 13640 h 199149"/>
                <a:gd name="connsiteX12" fmla="*/ 49012 w 199736"/>
                <a:gd name="connsiteY12" fmla="*/ 13640 h 199149"/>
                <a:gd name="connsiteX13" fmla="*/ 7984 w 199736"/>
                <a:gd name="connsiteY13" fmla="*/ 60203 h 199149"/>
                <a:gd name="connsiteX14" fmla="*/ 7984 w 199736"/>
                <a:gd name="connsiteY14" fmla="*/ 60203 h 199149"/>
                <a:gd name="connsiteX15" fmla="*/ 60817 w 199736"/>
                <a:gd name="connsiteY15" fmla="*/ 191165 h 199149"/>
                <a:gd name="connsiteX16" fmla="*/ 191779 w 199736"/>
                <a:gd name="connsiteY16" fmla="*/ 138333 h 199149"/>
                <a:gd name="connsiteX17" fmla="*/ 199737 w 199736"/>
                <a:gd name="connsiteY17" fmla="*/ 99711 h 199149"/>
                <a:gd name="connsiteX18" fmla="*/ 168875 w 199736"/>
                <a:gd name="connsiteY18" fmla="*/ 43994 h 199149"/>
                <a:gd name="connsiteX19" fmla="*/ 177450 w 199736"/>
                <a:gd name="connsiteY19" fmla="*/ 56730 h 199149"/>
                <a:gd name="connsiteX20" fmla="*/ 169816 w 199736"/>
                <a:gd name="connsiteY20" fmla="*/ 56730 h 199149"/>
                <a:gd name="connsiteX21" fmla="*/ 143694 w 199736"/>
                <a:gd name="connsiteY21" fmla="*/ 54487 h 199149"/>
                <a:gd name="connsiteX22" fmla="*/ 153644 w 199736"/>
                <a:gd name="connsiteY22" fmla="*/ 50434 h 199149"/>
                <a:gd name="connsiteX23" fmla="*/ 168875 w 199736"/>
                <a:gd name="connsiteY23" fmla="*/ 43994 h 199149"/>
                <a:gd name="connsiteX24" fmla="*/ 103245 w 199736"/>
                <a:gd name="connsiteY24" fmla="*/ 23046 h 199149"/>
                <a:gd name="connsiteX25" fmla="*/ 104114 w 199736"/>
                <a:gd name="connsiteY25" fmla="*/ 10962 h 199149"/>
                <a:gd name="connsiteX26" fmla="*/ 115366 w 199736"/>
                <a:gd name="connsiteY26" fmla="*/ 12265 h 199149"/>
                <a:gd name="connsiteX27" fmla="*/ 106538 w 199736"/>
                <a:gd name="connsiteY27" fmla="*/ 19790 h 199149"/>
                <a:gd name="connsiteX28" fmla="*/ 103245 w 199736"/>
                <a:gd name="connsiteY28" fmla="*/ 23046 h 199149"/>
                <a:gd name="connsiteX29" fmla="*/ 41740 w 199736"/>
                <a:gd name="connsiteY29" fmla="*/ 32345 h 199149"/>
                <a:gd name="connsiteX30" fmla="*/ 41740 w 199736"/>
                <a:gd name="connsiteY30" fmla="*/ 32345 h 199149"/>
                <a:gd name="connsiteX31" fmla="*/ 41342 w 199736"/>
                <a:gd name="connsiteY31" fmla="*/ 38278 h 199149"/>
                <a:gd name="connsiteX32" fmla="*/ 49844 w 199736"/>
                <a:gd name="connsiteY32" fmla="*/ 52569 h 199149"/>
                <a:gd name="connsiteX33" fmla="*/ 64316 w 199736"/>
                <a:gd name="connsiteY33" fmla="*/ 47468 h 199149"/>
                <a:gd name="connsiteX34" fmla="*/ 72420 w 199736"/>
                <a:gd name="connsiteY34" fmla="*/ 46382 h 199149"/>
                <a:gd name="connsiteX35" fmla="*/ 74483 w 199736"/>
                <a:gd name="connsiteY35" fmla="*/ 47432 h 199149"/>
                <a:gd name="connsiteX36" fmla="*/ 72312 w 199736"/>
                <a:gd name="connsiteY36" fmla="*/ 49132 h 199149"/>
                <a:gd name="connsiteX37" fmla="*/ 58491 w 199736"/>
                <a:gd name="connsiteY37" fmla="*/ 66209 h 199149"/>
                <a:gd name="connsiteX38" fmla="*/ 57985 w 199736"/>
                <a:gd name="connsiteY38" fmla="*/ 67837 h 199149"/>
                <a:gd name="connsiteX39" fmla="*/ 56139 w 199736"/>
                <a:gd name="connsiteY39" fmla="*/ 73698 h 199149"/>
                <a:gd name="connsiteX40" fmla="*/ 51002 w 199736"/>
                <a:gd name="connsiteY40" fmla="*/ 74313 h 199149"/>
                <a:gd name="connsiteX41" fmla="*/ 41523 w 199736"/>
                <a:gd name="connsiteY41" fmla="*/ 82417 h 199149"/>
                <a:gd name="connsiteX42" fmla="*/ 22094 w 199736"/>
                <a:gd name="connsiteY42" fmla="*/ 63206 h 199149"/>
                <a:gd name="connsiteX43" fmla="*/ 19634 w 199736"/>
                <a:gd name="connsiteY43" fmla="*/ 60927 h 199149"/>
                <a:gd name="connsiteX44" fmla="*/ 41740 w 199736"/>
                <a:gd name="connsiteY44" fmla="*/ 32345 h 199149"/>
                <a:gd name="connsiteX45" fmla="*/ 99627 w 199736"/>
                <a:gd name="connsiteY45" fmla="*/ 188894 h 199149"/>
                <a:gd name="connsiteX46" fmla="*/ 10587 w 199736"/>
                <a:gd name="connsiteY46" fmla="*/ 100075 h 199149"/>
                <a:gd name="connsiteX47" fmla="*/ 15256 w 199736"/>
                <a:gd name="connsiteY47" fmla="*/ 71527 h 199149"/>
                <a:gd name="connsiteX48" fmla="*/ 34504 w 199736"/>
                <a:gd name="connsiteY48" fmla="*/ 91390 h 199149"/>
                <a:gd name="connsiteX49" fmla="*/ 42246 w 199736"/>
                <a:gd name="connsiteY49" fmla="*/ 96383 h 199149"/>
                <a:gd name="connsiteX50" fmla="*/ 43006 w 199736"/>
                <a:gd name="connsiteY50" fmla="*/ 96383 h 199149"/>
                <a:gd name="connsiteX51" fmla="*/ 50097 w 199736"/>
                <a:gd name="connsiteY51" fmla="*/ 89617 h 199149"/>
                <a:gd name="connsiteX52" fmla="*/ 53426 w 199736"/>
                <a:gd name="connsiteY52" fmla="*/ 85058 h 199149"/>
                <a:gd name="connsiteX53" fmla="*/ 57044 w 199736"/>
                <a:gd name="connsiteY53" fmla="*/ 84733 h 199149"/>
                <a:gd name="connsiteX54" fmla="*/ 68260 w 199736"/>
                <a:gd name="connsiteY54" fmla="*/ 71202 h 199149"/>
                <a:gd name="connsiteX55" fmla="*/ 68766 w 199736"/>
                <a:gd name="connsiteY55" fmla="*/ 69610 h 199149"/>
                <a:gd name="connsiteX56" fmla="*/ 78824 w 199736"/>
                <a:gd name="connsiteY56" fmla="*/ 57887 h 199149"/>
                <a:gd name="connsiteX57" fmla="*/ 86530 w 199736"/>
                <a:gd name="connsiteY57" fmla="*/ 46419 h 199149"/>
                <a:gd name="connsiteX58" fmla="*/ 76907 w 199736"/>
                <a:gd name="connsiteY58" fmla="*/ 36686 h 199149"/>
                <a:gd name="connsiteX59" fmla="*/ 54946 w 199736"/>
                <a:gd name="connsiteY59" fmla="*/ 42005 h 199149"/>
                <a:gd name="connsiteX60" fmla="*/ 54403 w 199736"/>
                <a:gd name="connsiteY60" fmla="*/ 42909 h 199149"/>
                <a:gd name="connsiteX61" fmla="*/ 51798 w 199736"/>
                <a:gd name="connsiteY61" fmla="*/ 41426 h 199149"/>
                <a:gd name="connsiteX62" fmla="*/ 51798 w 199736"/>
                <a:gd name="connsiteY62" fmla="*/ 40557 h 199149"/>
                <a:gd name="connsiteX63" fmla="*/ 52594 w 199736"/>
                <a:gd name="connsiteY63" fmla="*/ 31295 h 199149"/>
                <a:gd name="connsiteX64" fmla="*/ 54982 w 199736"/>
                <a:gd name="connsiteY64" fmla="*/ 22974 h 199149"/>
                <a:gd name="connsiteX65" fmla="*/ 92934 w 199736"/>
                <a:gd name="connsiteY65" fmla="*/ 11143 h 199149"/>
                <a:gd name="connsiteX66" fmla="*/ 97710 w 199736"/>
                <a:gd name="connsiteY66" fmla="*/ 33828 h 199149"/>
                <a:gd name="connsiteX67" fmla="*/ 101726 w 199736"/>
                <a:gd name="connsiteY67" fmla="*/ 34877 h 199149"/>
                <a:gd name="connsiteX68" fmla="*/ 114461 w 199736"/>
                <a:gd name="connsiteY68" fmla="*/ 27279 h 199149"/>
                <a:gd name="connsiteX69" fmla="*/ 133021 w 199736"/>
                <a:gd name="connsiteY69" fmla="*/ 17366 h 199149"/>
                <a:gd name="connsiteX70" fmla="*/ 161531 w 199736"/>
                <a:gd name="connsiteY70" fmla="*/ 35963 h 199149"/>
                <a:gd name="connsiteX71" fmla="*/ 150677 w 199736"/>
                <a:gd name="connsiteY71" fmla="*/ 39979 h 199149"/>
                <a:gd name="connsiteX72" fmla="*/ 132587 w 199736"/>
                <a:gd name="connsiteY72" fmla="*/ 54450 h 199149"/>
                <a:gd name="connsiteX73" fmla="*/ 135807 w 199736"/>
                <a:gd name="connsiteY73" fmla="*/ 61867 h 199149"/>
                <a:gd name="connsiteX74" fmla="*/ 170033 w 199736"/>
                <a:gd name="connsiteY74" fmla="*/ 67620 h 199149"/>
                <a:gd name="connsiteX75" fmla="*/ 182768 w 199736"/>
                <a:gd name="connsiteY75" fmla="*/ 67620 h 199149"/>
                <a:gd name="connsiteX76" fmla="*/ 132185 w 199736"/>
                <a:gd name="connsiteY76" fmla="*/ 182821 h 199149"/>
                <a:gd name="connsiteX77" fmla="*/ 99627 w 199736"/>
                <a:gd name="connsiteY77" fmla="*/ 188894 h 199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</a:cxnLst>
              <a:rect l="l" t="t" r="r" b="b"/>
              <a:pathLst>
                <a:path w="199736" h="199149">
                  <a:moveTo>
                    <a:pt x="199520" y="99892"/>
                  </a:moveTo>
                  <a:cubicBezTo>
                    <a:pt x="199538" y="86432"/>
                    <a:pt x="196805" y="73110"/>
                    <a:pt x="191488" y="60746"/>
                  </a:cubicBezTo>
                  <a:cubicBezTo>
                    <a:pt x="191377" y="60423"/>
                    <a:pt x="191244" y="60109"/>
                    <a:pt x="191090" y="59805"/>
                  </a:cubicBezTo>
                  <a:cubicBezTo>
                    <a:pt x="186614" y="49729"/>
                    <a:pt x="180501" y="40462"/>
                    <a:pt x="173000" y="32381"/>
                  </a:cubicBezTo>
                  <a:cubicBezTo>
                    <a:pt x="172763" y="32089"/>
                    <a:pt x="172496" y="31822"/>
                    <a:pt x="172204" y="31585"/>
                  </a:cubicBezTo>
                  <a:cubicBezTo>
                    <a:pt x="162388" y="21089"/>
                    <a:pt x="150416" y="12844"/>
                    <a:pt x="137110" y="7417"/>
                  </a:cubicBezTo>
                  <a:lnTo>
                    <a:pt x="136495" y="7127"/>
                  </a:lnTo>
                  <a:lnTo>
                    <a:pt x="136133" y="7127"/>
                  </a:lnTo>
                  <a:cubicBezTo>
                    <a:pt x="124588" y="2506"/>
                    <a:pt x="112280" y="89"/>
                    <a:pt x="99845" y="0"/>
                  </a:cubicBezTo>
                  <a:lnTo>
                    <a:pt x="99627" y="0"/>
                  </a:lnTo>
                  <a:cubicBezTo>
                    <a:pt x="82164" y="-3"/>
                    <a:pt x="65007" y="4589"/>
                    <a:pt x="49880" y="13314"/>
                  </a:cubicBezTo>
                  <a:lnTo>
                    <a:pt x="49265" y="13640"/>
                  </a:lnTo>
                  <a:lnTo>
                    <a:pt x="49012" y="13640"/>
                  </a:lnTo>
                  <a:cubicBezTo>
                    <a:pt x="30773" y="24452"/>
                    <a:pt x="16415" y="40748"/>
                    <a:pt x="7984" y="60203"/>
                  </a:cubicBezTo>
                  <a:cubicBezTo>
                    <a:pt x="7984" y="60203"/>
                    <a:pt x="7984" y="60203"/>
                    <a:pt x="7984" y="60203"/>
                  </a:cubicBezTo>
                  <a:cubicBezTo>
                    <a:pt x="-13591" y="110957"/>
                    <a:pt x="10063" y="169590"/>
                    <a:pt x="60817" y="191165"/>
                  </a:cubicBezTo>
                  <a:cubicBezTo>
                    <a:pt x="111570" y="212741"/>
                    <a:pt x="170204" y="189087"/>
                    <a:pt x="191779" y="138333"/>
                  </a:cubicBezTo>
                  <a:cubicBezTo>
                    <a:pt x="196973" y="126116"/>
                    <a:pt x="199678" y="112986"/>
                    <a:pt x="199737" y="99711"/>
                  </a:cubicBezTo>
                  <a:close/>
                  <a:moveTo>
                    <a:pt x="168875" y="43994"/>
                  </a:moveTo>
                  <a:cubicBezTo>
                    <a:pt x="172095" y="47985"/>
                    <a:pt x="174963" y="52246"/>
                    <a:pt x="177450" y="56730"/>
                  </a:cubicBezTo>
                  <a:lnTo>
                    <a:pt x="169816" y="56730"/>
                  </a:lnTo>
                  <a:cubicBezTo>
                    <a:pt x="161712" y="56730"/>
                    <a:pt x="146770" y="56911"/>
                    <a:pt x="143694" y="54487"/>
                  </a:cubicBezTo>
                  <a:cubicBezTo>
                    <a:pt x="144382" y="53003"/>
                    <a:pt x="150351" y="51339"/>
                    <a:pt x="153644" y="50434"/>
                  </a:cubicBezTo>
                  <a:cubicBezTo>
                    <a:pt x="159081" y="49266"/>
                    <a:pt x="164249" y="47081"/>
                    <a:pt x="168875" y="43994"/>
                  </a:cubicBezTo>
                  <a:close/>
                  <a:moveTo>
                    <a:pt x="103245" y="23046"/>
                  </a:moveTo>
                  <a:cubicBezTo>
                    <a:pt x="102947" y="18998"/>
                    <a:pt x="103239" y="14927"/>
                    <a:pt x="104114" y="10962"/>
                  </a:cubicBezTo>
                  <a:cubicBezTo>
                    <a:pt x="107888" y="11156"/>
                    <a:pt x="111647" y="11591"/>
                    <a:pt x="115366" y="12265"/>
                  </a:cubicBezTo>
                  <a:cubicBezTo>
                    <a:pt x="112163" y="14451"/>
                    <a:pt x="109203" y="16974"/>
                    <a:pt x="106538" y="19790"/>
                  </a:cubicBezTo>
                  <a:cubicBezTo>
                    <a:pt x="105530" y="20963"/>
                    <a:pt x="104429" y="22051"/>
                    <a:pt x="103245" y="23046"/>
                  </a:cubicBezTo>
                  <a:close/>
                  <a:moveTo>
                    <a:pt x="41740" y="32345"/>
                  </a:moveTo>
                  <a:lnTo>
                    <a:pt x="41740" y="32345"/>
                  </a:lnTo>
                  <a:cubicBezTo>
                    <a:pt x="41965" y="34330"/>
                    <a:pt x="41830" y="36340"/>
                    <a:pt x="41342" y="38278"/>
                  </a:cubicBezTo>
                  <a:cubicBezTo>
                    <a:pt x="40148" y="44284"/>
                    <a:pt x="41161" y="48372"/>
                    <a:pt x="49844" y="52569"/>
                  </a:cubicBezTo>
                  <a:cubicBezTo>
                    <a:pt x="58527" y="56766"/>
                    <a:pt x="62724" y="50000"/>
                    <a:pt x="64316" y="47468"/>
                  </a:cubicBezTo>
                  <a:cubicBezTo>
                    <a:pt x="65908" y="44935"/>
                    <a:pt x="66595" y="43850"/>
                    <a:pt x="72420" y="46382"/>
                  </a:cubicBezTo>
                  <a:cubicBezTo>
                    <a:pt x="73130" y="46687"/>
                    <a:pt x="73819" y="47037"/>
                    <a:pt x="74483" y="47432"/>
                  </a:cubicBezTo>
                  <a:lnTo>
                    <a:pt x="72312" y="49132"/>
                  </a:lnTo>
                  <a:cubicBezTo>
                    <a:pt x="65991" y="53193"/>
                    <a:pt x="61145" y="59180"/>
                    <a:pt x="58491" y="66209"/>
                  </a:cubicBezTo>
                  <a:lnTo>
                    <a:pt x="57985" y="67837"/>
                  </a:lnTo>
                  <a:cubicBezTo>
                    <a:pt x="57261" y="70152"/>
                    <a:pt x="56610" y="72287"/>
                    <a:pt x="56139" y="73698"/>
                  </a:cubicBezTo>
                  <a:cubicBezTo>
                    <a:pt x="54409" y="73702"/>
                    <a:pt x="52685" y="73909"/>
                    <a:pt x="51002" y="74313"/>
                  </a:cubicBezTo>
                  <a:cubicBezTo>
                    <a:pt x="46780" y="75445"/>
                    <a:pt x="43297" y="78423"/>
                    <a:pt x="41523" y="82417"/>
                  </a:cubicBezTo>
                  <a:cubicBezTo>
                    <a:pt x="35600" y="75477"/>
                    <a:pt x="29101" y="69050"/>
                    <a:pt x="22094" y="63206"/>
                  </a:cubicBezTo>
                  <a:lnTo>
                    <a:pt x="19634" y="60927"/>
                  </a:lnTo>
                  <a:cubicBezTo>
                    <a:pt x="25005" y="50009"/>
                    <a:pt x="32524" y="40288"/>
                    <a:pt x="41740" y="32345"/>
                  </a:cubicBezTo>
                  <a:close/>
                  <a:moveTo>
                    <a:pt x="99627" y="188894"/>
                  </a:moveTo>
                  <a:cubicBezTo>
                    <a:pt x="50513" y="188955"/>
                    <a:pt x="10648" y="149190"/>
                    <a:pt x="10587" y="100075"/>
                  </a:cubicBezTo>
                  <a:cubicBezTo>
                    <a:pt x="10575" y="90368"/>
                    <a:pt x="12152" y="80724"/>
                    <a:pt x="15256" y="71527"/>
                  </a:cubicBezTo>
                  <a:cubicBezTo>
                    <a:pt x="22343" y="77464"/>
                    <a:pt x="28793" y="84121"/>
                    <a:pt x="34504" y="91390"/>
                  </a:cubicBezTo>
                  <a:cubicBezTo>
                    <a:pt x="36173" y="94163"/>
                    <a:pt x="39032" y="96006"/>
                    <a:pt x="42246" y="96383"/>
                  </a:cubicBezTo>
                  <a:lnTo>
                    <a:pt x="43006" y="96383"/>
                  </a:lnTo>
                  <a:cubicBezTo>
                    <a:pt x="47167" y="95768"/>
                    <a:pt x="48976" y="92150"/>
                    <a:pt x="50097" y="89617"/>
                  </a:cubicBezTo>
                  <a:cubicBezTo>
                    <a:pt x="51219" y="87084"/>
                    <a:pt x="52124" y="85384"/>
                    <a:pt x="53426" y="85058"/>
                  </a:cubicBezTo>
                  <a:cubicBezTo>
                    <a:pt x="54609" y="84768"/>
                    <a:pt x="55828" y="84658"/>
                    <a:pt x="57044" y="84733"/>
                  </a:cubicBezTo>
                  <a:cubicBezTo>
                    <a:pt x="63990" y="85058"/>
                    <a:pt x="65148" y="81296"/>
                    <a:pt x="68260" y="71202"/>
                  </a:cubicBezTo>
                  <a:lnTo>
                    <a:pt x="68766" y="69610"/>
                  </a:lnTo>
                  <a:cubicBezTo>
                    <a:pt x="70816" y="64750"/>
                    <a:pt x="74333" y="60652"/>
                    <a:pt x="78824" y="57887"/>
                  </a:cubicBezTo>
                  <a:cubicBezTo>
                    <a:pt x="82876" y="54776"/>
                    <a:pt x="87073" y="51556"/>
                    <a:pt x="86530" y="46419"/>
                  </a:cubicBezTo>
                  <a:cubicBezTo>
                    <a:pt x="85988" y="41281"/>
                    <a:pt x="81538" y="38785"/>
                    <a:pt x="76907" y="36686"/>
                  </a:cubicBezTo>
                  <a:cubicBezTo>
                    <a:pt x="62435" y="29884"/>
                    <a:pt x="57333" y="38061"/>
                    <a:pt x="54946" y="42005"/>
                  </a:cubicBezTo>
                  <a:lnTo>
                    <a:pt x="54403" y="42909"/>
                  </a:lnTo>
                  <a:cubicBezTo>
                    <a:pt x="53495" y="42488"/>
                    <a:pt x="52624" y="41992"/>
                    <a:pt x="51798" y="41426"/>
                  </a:cubicBezTo>
                  <a:cubicBezTo>
                    <a:pt x="51798" y="41172"/>
                    <a:pt x="51798" y="40883"/>
                    <a:pt x="51798" y="40557"/>
                  </a:cubicBezTo>
                  <a:cubicBezTo>
                    <a:pt x="52573" y="37535"/>
                    <a:pt x="52842" y="34405"/>
                    <a:pt x="52594" y="31295"/>
                  </a:cubicBezTo>
                  <a:cubicBezTo>
                    <a:pt x="51978" y="28298"/>
                    <a:pt x="52870" y="25189"/>
                    <a:pt x="54982" y="22974"/>
                  </a:cubicBezTo>
                  <a:cubicBezTo>
                    <a:pt x="66569" y="16197"/>
                    <a:pt x="79549" y="12151"/>
                    <a:pt x="92934" y="11143"/>
                  </a:cubicBezTo>
                  <a:cubicBezTo>
                    <a:pt x="91378" y="20695"/>
                    <a:pt x="91559" y="30499"/>
                    <a:pt x="97710" y="33828"/>
                  </a:cubicBezTo>
                  <a:cubicBezTo>
                    <a:pt x="98939" y="34511"/>
                    <a:pt x="100320" y="34872"/>
                    <a:pt x="101726" y="34877"/>
                  </a:cubicBezTo>
                  <a:cubicBezTo>
                    <a:pt x="107370" y="34877"/>
                    <a:pt x="112580" y="29378"/>
                    <a:pt x="114461" y="27279"/>
                  </a:cubicBezTo>
                  <a:cubicBezTo>
                    <a:pt x="124519" y="16426"/>
                    <a:pt x="131719" y="17149"/>
                    <a:pt x="133021" y="17366"/>
                  </a:cubicBezTo>
                  <a:cubicBezTo>
                    <a:pt x="143622" y="21694"/>
                    <a:pt x="153298" y="28006"/>
                    <a:pt x="161531" y="35963"/>
                  </a:cubicBezTo>
                  <a:cubicBezTo>
                    <a:pt x="158126" y="37818"/>
                    <a:pt x="154470" y="39171"/>
                    <a:pt x="150677" y="39979"/>
                  </a:cubicBezTo>
                  <a:cubicBezTo>
                    <a:pt x="142862" y="42186"/>
                    <a:pt x="133094" y="44863"/>
                    <a:pt x="132587" y="54450"/>
                  </a:cubicBezTo>
                  <a:cubicBezTo>
                    <a:pt x="132558" y="57268"/>
                    <a:pt x="133729" y="59965"/>
                    <a:pt x="135807" y="61867"/>
                  </a:cubicBezTo>
                  <a:cubicBezTo>
                    <a:pt x="141234" y="67439"/>
                    <a:pt x="152414" y="67765"/>
                    <a:pt x="170033" y="67620"/>
                  </a:cubicBezTo>
                  <a:cubicBezTo>
                    <a:pt x="174592" y="67620"/>
                    <a:pt x="178933" y="67620"/>
                    <a:pt x="182768" y="67620"/>
                  </a:cubicBezTo>
                  <a:cubicBezTo>
                    <a:pt x="200612" y="113400"/>
                    <a:pt x="177965" y="164977"/>
                    <a:pt x="132185" y="182821"/>
                  </a:cubicBezTo>
                  <a:cubicBezTo>
                    <a:pt x="121809" y="186865"/>
                    <a:pt x="110765" y="188925"/>
                    <a:pt x="99627" y="188894"/>
                  </a:cubicBezTo>
                  <a:close/>
                </a:path>
              </a:pathLst>
            </a:custGeom>
            <a:grpFill/>
            <a:ln w="35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678" dirty="0"/>
            </a:p>
          </p:txBody>
        </p:sp>
        <p:sp>
          <p:nvSpPr>
            <p:cNvPr id="41" name="Graphic 26">
              <a:extLst>
                <a:ext uri="{FF2B5EF4-FFF2-40B4-BE49-F238E27FC236}">
                  <a16:creationId xmlns:a16="http://schemas.microsoft.com/office/drawing/2014/main" id="{A6F5B281-D13F-4E93-9DF3-C77705D968ED}"/>
                </a:ext>
              </a:extLst>
            </p:cNvPr>
            <p:cNvSpPr/>
            <p:nvPr/>
          </p:nvSpPr>
          <p:spPr>
            <a:xfrm>
              <a:off x="1064729" y="4901628"/>
              <a:ext cx="49555" cy="78686"/>
            </a:xfrm>
            <a:custGeom>
              <a:avLst/>
              <a:gdLst>
                <a:gd name="connsiteX0" fmla="*/ 29113 w 49555"/>
                <a:gd name="connsiteY0" fmla="*/ 3433 h 78686"/>
                <a:gd name="connsiteX1" fmla="*/ 8672 w 49555"/>
                <a:gd name="connsiteY1" fmla="*/ 2420 h 78686"/>
                <a:gd name="connsiteX2" fmla="*/ 1689 w 49555"/>
                <a:gd name="connsiteY2" fmla="*/ 55351 h 78686"/>
                <a:gd name="connsiteX3" fmla="*/ 2955 w 49555"/>
                <a:gd name="connsiteY3" fmla="*/ 70329 h 78686"/>
                <a:gd name="connsiteX4" fmla="*/ 3462 w 49555"/>
                <a:gd name="connsiteY4" fmla="*/ 72391 h 78686"/>
                <a:gd name="connsiteX5" fmla="*/ 11892 w 49555"/>
                <a:gd name="connsiteY5" fmla="*/ 78687 h 78686"/>
                <a:gd name="connsiteX6" fmla="*/ 12181 w 49555"/>
                <a:gd name="connsiteY6" fmla="*/ 78687 h 78686"/>
                <a:gd name="connsiteX7" fmla="*/ 35083 w 49555"/>
                <a:gd name="connsiteY7" fmla="*/ 52673 h 78686"/>
                <a:gd name="connsiteX8" fmla="*/ 37688 w 49555"/>
                <a:gd name="connsiteY8" fmla="*/ 48079 h 78686"/>
                <a:gd name="connsiteX9" fmla="*/ 42102 w 49555"/>
                <a:gd name="connsiteY9" fmla="*/ 41675 h 78686"/>
                <a:gd name="connsiteX10" fmla="*/ 49157 w 49555"/>
                <a:gd name="connsiteY10" fmla="*/ 22246 h 78686"/>
                <a:gd name="connsiteX11" fmla="*/ 29113 w 49555"/>
                <a:gd name="connsiteY11" fmla="*/ 3433 h 78686"/>
                <a:gd name="connsiteX12" fmla="*/ 33419 w 49555"/>
                <a:gd name="connsiteY12" fmla="*/ 35126 h 78686"/>
                <a:gd name="connsiteX13" fmla="*/ 28245 w 49555"/>
                <a:gd name="connsiteY13" fmla="*/ 42688 h 78686"/>
                <a:gd name="connsiteX14" fmla="*/ 25604 w 49555"/>
                <a:gd name="connsiteY14" fmla="*/ 47391 h 78686"/>
                <a:gd name="connsiteX15" fmla="*/ 13592 w 49555"/>
                <a:gd name="connsiteY15" fmla="*/ 66494 h 78686"/>
                <a:gd name="connsiteX16" fmla="*/ 12543 w 49555"/>
                <a:gd name="connsiteY16" fmla="*/ 54446 h 78686"/>
                <a:gd name="connsiteX17" fmla="*/ 14822 w 49555"/>
                <a:gd name="connsiteY17" fmla="*/ 11537 h 78686"/>
                <a:gd name="connsiteX18" fmla="*/ 16957 w 49555"/>
                <a:gd name="connsiteY18" fmla="*/ 10994 h 78686"/>
                <a:gd name="connsiteX19" fmla="*/ 24193 w 49555"/>
                <a:gd name="connsiteY19" fmla="*/ 13274 h 78686"/>
                <a:gd name="connsiteX20" fmla="*/ 38665 w 49555"/>
                <a:gd name="connsiteY20" fmla="*/ 24887 h 78686"/>
                <a:gd name="connsiteX21" fmla="*/ 33419 w 49555"/>
                <a:gd name="connsiteY21" fmla="*/ 35126 h 78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555" h="78686">
                  <a:moveTo>
                    <a:pt x="29113" y="3433"/>
                  </a:moveTo>
                  <a:cubicBezTo>
                    <a:pt x="20756" y="-764"/>
                    <a:pt x="13882" y="-1126"/>
                    <a:pt x="8672" y="2420"/>
                  </a:cubicBezTo>
                  <a:cubicBezTo>
                    <a:pt x="-2580" y="10090"/>
                    <a:pt x="-409" y="33100"/>
                    <a:pt x="1689" y="55351"/>
                  </a:cubicBezTo>
                  <a:cubicBezTo>
                    <a:pt x="2232" y="60741"/>
                    <a:pt x="2702" y="65843"/>
                    <a:pt x="2955" y="70329"/>
                  </a:cubicBezTo>
                  <a:cubicBezTo>
                    <a:pt x="2995" y="71042"/>
                    <a:pt x="3167" y="71741"/>
                    <a:pt x="3462" y="72391"/>
                  </a:cubicBezTo>
                  <a:cubicBezTo>
                    <a:pt x="4790" y="75964"/>
                    <a:pt x="8089" y="78428"/>
                    <a:pt x="11892" y="78687"/>
                  </a:cubicBezTo>
                  <a:lnTo>
                    <a:pt x="12181" y="78687"/>
                  </a:lnTo>
                  <a:cubicBezTo>
                    <a:pt x="20032" y="78687"/>
                    <a:pt x="26364" y="68339"/>
                    <a:pt x="35083" y="52673"/>
                  </a:cubicBezTo>
                  <a:cubicBezTo>
                    <a:pt x="35988" y="51045"/>
                    <a:pt x="36856" y="49490"/>
                    <a:pt x="37688" y="48079"/>
                  </a:cubicBezTo>
                  <a:cubicBezTo>
                    <a:pt x="39039" y="45864"/>
                    <a:pt x="40513" y="43726"/>
                    <a:pt x="42102" y="41675"/>
                  </a:cubicBezTo>
                  <a:cubicBezTo>
                    <a:pt x="46263" y="36139"/>
                    <a:pt x="50966" y="29880"/>
                    <a:pt x="49157" y="22246"/>
                  </a:cubicBezTo>
                  <a:cubicBezTo>
                    <a:pt x="47565" y="15481"/>
                    <a:pt x="41378" y="9656"/>
                    <a:pt x="29113" y="3433"/>
                  </a:cubicBezTo>
                  <a:close/>
                  <a:moveTo>
                    <a:pt x="33419" y="35126"/>
                  </a:moveTo>
                  <a:cubicBezTo>
                    <a:pt x="31546" y="37542"/>
                    <a:pt x="29818" y="40067"/>
                    <a:pt x="28245" y="42688"/>
                  </a:cubicBezTo>
                  <a:lnTo>
                    <a:pt x="25604" y="47391"/>
                  </a:lnTo>
                  <a:cubicBezTo>
                    <a:pt x="22181" y="54106"/>
                    <a:pt x="18161" y="60499"/>
                    <a:pt x="13592" y="66494"/>
                  </a:cubicBezTo>
                  <a:cubicBezTo>
                    <a:pt x="13339" y="62876"/>
                    <a:pt x="12941" y="58679"/>
                    <a:pt x="12543" y="54446"/>
                  </a:cubicBezTo>
                  <a:cubicBezTo>
                    <a:pt x="11168" y="39974"/>
                    <a:pt x="8925" y="15589"/>
                    <a:pt x="14822" y="11537"/>
                  </a:cubicBezTo>
                  <a:cubicBezTo>
                    <a:pt x="15465" y="11149"/>
                    <a:pt x="16207" y="10960"/>
                    <a:pt x="16957" y="10994"/>
                  </a:cubicBezTo>
                  <a:cubicBezTo>
                    <a:pt x="19508" y="11210"/>
                    <a:pt x="21979" y="11989"/>
                    <a:pt x="24193" y="13274"/>
                  </a:cubicBezTo>
                  <a:cubicBezTo>
                    <a:pt x="35734" y="19099"/>
                    <a:pt x="38158" y="23042"/>
                    <a:pt x="38665" y="24887"/>
                  </a:cubicBezTo>
                  <a:cubicBezTo>
                    <a:pt x="39208" y="27420"/>
                    <a:pt x="36422" y="31183"/>
                    <a:pt x="33419" y="35126"/>
                  </a:cubicBezTo>
                  <a:close/>
                </a:path>
              </a:pathLst>
            </a:custGeom>
            <a:grpFill/>
            <a:ln w="35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678" dirty="0"/>
            </a:p>
          </p:txBody>
        </p:sp>
        <p:sp>
          <p:nvSpPr>
            <p:cNvPr id="42" name="Graphic 26">
              <a:extLst>
                <a:ext uri="{FF2B5EF4-FFF2-40B4-BE49-F238E27FC236}">
                  <a16:creationId xmlns:a16="http://schemas.microsoft.com/office/drawing/2014/main" id="{4BC1B2B1-FE4B-401C-97FF-3BA090F19B8A}"/>
                </a:ext>
              </a:extLst>
            </p:cNvPr>
            <p:cNvSpPr/>
            <p:nvPr/>
          </p:nvSpPr>
          <p:spPr>
            <a:xfrm>
              <a:off x="1127839" y="4878935"/>
              <a:ext cx="67728" cy="89946"/>
            </a:xfrm>
            <a:custGeom>
              <a:avLst/>
              <a:gdLst>
                <a:gd name="connsiteX0" fmla="*/ 67307 w 67728"/>
                <a:gd name="connsiteY0" fmla="*/ 40091 h 89946"/>
                <a:gd name="connsiteX1" fmla="*/ 61084 w 67728"/>
                <a:gd name="connsiteY1" fmla="*/ 25619 h 89946"/>
                <a:gd name="connsiteX2" fmla="*/ 45490 w 67728"/>
                <a:gd name="connsiteY2" fmla="*/ 10171 h 89946"/>
                <a:gd name="connsiteX3" fmla="*/ 31235 w 67728"/>
                <a:gd name="connsiteY3" fmla="*/ 4852 h 89946"/>
                <a:gd name="connsiteX4" fmla="*/ 11590 w 67728"/>
                <a:gd name="connsiteY4" fmla="*/ 872 h 89946"/>
                <a:gd name="connsiteX5" fmla="*/ 5801 w 67728"/>
                <a:gd name="connsiteY5" fmla="*/ 9592 h 89946"/>
                <a:gd name="connsiteX6" fmla="*/ 3015 w 67728"/>
                <a:gd name="connsiteY6" fmla="*/ 16828 h 89946"/>
                <a:gd name="connsiteX7" fmla="*/ 2292 w 67728"/>
                <a:gd name="connsiteY7" fmla="*/ 36726 h 89946"/>
                <a:gd name="connsiteX8" fmla="*/ 18645 w 67728"/>
                <a:gd name="connsiteY8" fmla="*/ 47906 h 89946"/>
                <a:gd name="connsiteX9" fmla="*/ 22516 w 67728"/>
                <a:gd name="connsiteY9" fmla="*/ 47906 h 89946"/>
                <a:gd name="connsiteX10" fmla="*/ 24832 w 67728"/>
                <a:gd name="connsiteY10" fmla="*/ 47906 h 89946"/>
                <a:gd name="connsiteX11" fmla="*/ 26387 w 67728"/>
                <a:gd name="connsiteY11" fmla="*/ 65091 h 89946"/>
                <a:gd name="connsiteX12" fmla="*/ 26387 w 67728"/>
                <a:gd name="connsiteY12" fmla="*/ 65489 h 89946"/>
                <a:gd name="connsiteX13" fmla="*/ 37241 w 67728"/>
                <a:gd name="connsiteY13" fmla="*/ 89947 h 89946"/>
                <a:gd name="connsiteX14" fmla="*/ 38580 w 67728"/>
                <a:gd name="connsiteY14" fmla="*/ 89947 h 89946"/>
                <a:gd name="connsiteX15" fmla="*/ 66800 w 67728"/>
                <a:gd name="connsiteY15" fmla="*/ 45518 h 89946"/>
                <a:gd name="connsiteX16" fmla="*/ 67343 w 67728"/>
                <a:gd name="connsiteY16" fmla="*/ 44143 h 89946"/>
                <a:gd name="connsiteX17" fmla="*/ 67307 w 67728"/>
                <a:gd name="connsiteY17" fmla="*/ 40091 h 89946"/>
                <a:gd name="connsiteX18" fmla="*/ 39340 w 67728"/>
                <a:gd name="connsiteY18" fmla="*/ 77971 h 89946"/>
                <a:gd name="connsiteX19" fmla="*/ 37314 w 67728"/>
                <a:gd name="connsiteY19" fmla="*/ 64838 h 89946"/>
                <a:gd name="connsiteX20" fmla="*/ 22625 w 67728"/>
                <a:gd name="connsiteY20" fmla="*/ 36907 h 89946"/>
                <a:gd name="connsiteX21" fmla="*/ 19658 w 67728"/>
                <a:gd name="connsiteY21" fmla="*/ 36907 h 89946"/>
                <a:gd name="connsiteX22" fmla="*/ 11988 w 67728"/>
                <a:gd name="connsiteY22" fmla="*/ 31299 h 89946"/>
                <a:gd name="connsiteX23" fmla="*/ 12567 w 67728"/>
                <a:gd name="connsiteY23" fmla="*/ 21820 h 89946"/>
                <a:gd name="connsiteX24" fmla="*/ 16185 w 67728"/>
                <a:gd name="connsiteY24" fmla="*/ 12233 h 89946"/>
                <a:gd name="connsiteX25" fmla="*/ 16619 w 67728"/>
                <a:gd name="connsiteY25" fmla="*/ 10713 h 89946"/>
                <a:gd name="connsiteX26" fmla="*/ 26749 w 67728"/>
                <a:gd name="connsiteY26" fmla="*/ 14331 h 89946"/>
                <a:gd name="connsiteX27" fmla="*/ 42234 w 67728"/>
                <a:gd name="connsiteY27" fmla="*/ 20446 h 89946"/>
                <a:gd name="connsiteX28" fmla="*/ 51098 w 67728"/>
                <a:gd name="connsiteY28" fmla="*/ 29780 h 89946"/>
                <a:gd name="connsiteX29" fmla="*/ 56453 w 67728"/>
                <a:gd name="connsiteY29" fmla="*/ 42153 h 89946"/>
                <a:gd name="connsiteX30" fmla="*/ 39340 w 67728"/>
                <a:gd name="connsiteY30" fmla="*/ 77971 h 89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67728" h="89946">
                  <a:moveTo>
                    <a:pt x="67307" y="40091"/>
                  </a:moveTo>
                  <a:lnTo>
                    <a:pt x="61084" y="25619"/>
                  </a:lnTo>
                  <a:cubicBezTo>
                    <a:pt x="56272" y="14404"/>
                    <a:pt x="54173" y="12884"/>
                    <a:pt x="45490" y="10171"/>
                  </a:cubicBezTo>
                  <a:cubicBezTo>
                    <a:pt x="40622" y="8728"/>
                    <a:pt x="35859" y="6951"/>
                    <a:pt x="31235" y="4852"/>
                  </a:cubicBezTo>
                  <a:cubicBezTo>
                    <a:pt x="21431" y="511"/>
                    <a:pt x="16004" y="-1190"/>
                    <a:pt x="11590" y="872"/>
                  </a:cubicBezTo>
                  <a:cubicBezTo>
                    <a:pt x="8421" y="2733"/>
                    <a:pt x="6286" y="5949"/>
                    <a:pt x="5801" y="9592"/>
                  </a:cubicBezTo>
                  <a:cubicBezTo>
                    <a:pt x="5208" y="12120"/>
                    <a:pt x="4271" y="14554"/>
                    <a:pt x="3015" y="16828"/>
                  </a:cubicBezTo>
                  <a:cubicBezTo>
                    <a:pt x="-729" y="22865"/>
                    <a:pt x="-1004" y="30433"/>
                    <a:pt x="2292" y="36726"/>
                  </a:cubicBezTo>
                  <a:cubicBezTo>
                    <a:pt x="5545" y="42940"/>
                    <a:pt x="11674" y="47130"/>
                    <a:pt x="18645" y="47906"/>
                  </a:cubicBezTo>
                  <a:cubicBezTo>
                    <a:pt x="20020" y="47906"/>
                    <a:pt x="21322" y="47906"/>
                    <a:pt x="22516" y="47906"/>
                  </a:cubicBezTo>
                  <a:cubicBezTo>
                    <a:pt x="23710" y="47906"/>
                    <a:pt x="24325" y="47906"/>
                    <a:pt x="24832" y="47906"/>
                  </a:cubicBezTo>
                  <a:cubicBezTo>
                    <a:pt x="25411" y="48919"/>
                    <a:pt x="26387" y="52501"/>
                    <a:pt x="26387" y="65091"/>
                  </a:cubicBezTo>
                  <a:lnTo>
                    <a:pt x="26387" y="65489"/>
                  </a:lnTo>
                  <a:cubicBezTo>
                    <a:pt x="27292" y="77465"/>
                    <a:pt x="29209" y="88753"/>
                    <a:pt x="37241" y="89947"/>
                  </a:cubicBezTo>
                  <a:lnTo>
                    <a:pt x="38580" y="89947"/>
                  </a:lnTo>
                  <a:cubicBezTo>
                    <a:pt x="47661" y="89947"/>
                    <a:pt x="55078" y="75475"/>
                    <a:pt x="66800" y="45518"/>
                  </a:cubicBezTo>
                  <a:lnTo>
                    <a:pt x="67343" y="44143"/>
                  </a:lnTo>
                  <a:cubicBezTo>
                    <a:pt x="67870" y="42841"/>
                    <a:pt x="67857" y="41383"/>
                    <a:pt x="67307" y="40091"/>
                  </a:cubicBezTo>
                  <a:close/>
                  <a:moveTo>
                    <a:pt x="39340" y="77971"/>
                  </a:moveTo>
                  <a:cubicBezTo>
                    <a:pt x="38148" y="73689"/>
                    <a:pt x="37468" y="69280"/>
                    <a:pt x="37314" y="64838"/>
                  </a:cubicBezTo>
                  <a:cubicBezTo>
                    <a:pt x="37314" y="43962"/>
                    <a:pt x="35143" y="37016"/>
                    <a:pt x="22625" y="36907"/>
                  </a:cubicBezTo>
                  <a:cubicBezTo>
                    <a:pt x="21720" y="36907"/>
                    <a:pt x="20743" y="36907"/>
                    <a:pt x="19658" y="36907"/>
                  </a:cubicBezTo>
                  <a:cubicBezTo>
                    <a:pt x="16348" y="36380"/>
                    <a:pt x="13494" y="34293"/>
                    <a:pt x="11988" y="31299"/>
                  </a:cubicBezTo>
                  <a:cubicBezTo>
                    <a:pt x="10485" y="28261"/>
                    <a:pt x="10705" y="24654"/>
                    <a:pt x="12567" y="21820"/>
                  </a:cubicBezTo>
                  <a:cubicBezTo>
                    <a:pt x="14168" y="18788"/>
                    <a:pt x="15384" y="15567"/>
                    <a:pt x="16185" y="12233"/>
                  </a:cubicBezTo>
                  <a:cubicBezTo>
                    <a:pt x="16185" y="11762"/>
                    <a:pt x="16474" y="11184"/>
                    <a:pt x="16619" y="10713"/>
                  </a:cubicBezTo>
                  <a:cubicBezTo>
                    <a:pt x="20099" y="11609"/>
                    <a:pt x="23489" y="12820"/>
                    <a:pt x="26749" y="14331"/>
                  </a:cubicBezTo>
                  <a:cubicBezTo>
                    <a:pt x="31780" y="16688"/>
                    <a:pt x="36951" y="18730"/>
                    <a:pt x="42234" y="20446"/>
                  </a:cubicBezTo>
                  <a:cubicBezTo>
                    <a:pt x="47842" y="22182"/>
                    <a:pt x="47842" y="22182"/>
                    <a:pt x="51098" y="29780"/>
                  </a:cubicBezTo>
                  <a:lnTo>
                    <a:pt x="56453" y="42153"/>
                  </a:lnTo>
                  <a:cubicBezTo>
                    <a:pt x="48710" y="61944"/>
                    <a:pt x="42958" y="73919"/>
                    <a:pt x="39340" y="77971"/>
                  </a:cubicBezTo>
                  <a:close/>
                </a:path>
              </a:pathLst>
            </a:custGeom>
            <a:grpFill/>
            <a:ln w="35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678" dirty="0"/>
            </a:p>
          </p:txBody>
        </p:sp>
        <p:sp>
          <p:nvSpPr>
            <p:cNvPr id="43" name="Graphic 26">
              <a:extLst>
                <a:ext uri="{FF2B5EF4-FFF2-40B4-BE49-F238E27FC236}">
                  <a16:creationId xmlns:a16="http://schemas.microsoft.com/office/drawing/2014/main" id="{058D9CB3-7182-4786-95B8-A98A32E2DC2D}"/>
                </a:ext>
              </a:extLst>
            </p:cNvPr>
            <p:cNvSpPr/>
            <p:nvPr/>
          </p:nvSpPr>
          <p:spPr>
            <a:xfrm>
              <a:off x="956743" y="4865456"/>
              <a:ext cx="130481" cy="278028"/>
            </a:xfrm>
            <a:custGeom>
              <a:avLst/>
              <a:gdLst>
                <a:gd name="connsiteX0" fmla="*/ 102837 w 130481"/>
                <a:gd name="connsiteY0" fmla="*/ 148216 h 278028"/>
                <a:gd name="connsiteX1" fmla="*/ 77692 w 130481"/>
                <a:gd name="connsiteY1" fmla="*/ 125749 h 278028"/>
                <a:gd name="connsiteX2" fmla="*/ 70167 w 130481"/>
                <a:gd name="connsiteY2" fmla="*/ 119236 h 278028"/>
                <a:gd name="connsiteX3" fmla="*/ 52439 w 130481"/>
                <a:gd name="connsiteY3" fmla="*/ 112254 h 278028"/>
                <a:gd name="connsiteX4" fmla="*/ 35217 w 130481"/>
                <a:gd name="connsiteY4" fmla="*/ 10950 h 278028"/>
                <a:gd name="connsiteX5" fmla="*/ 19190 w 130481"/>
                <a:gd name="connsiteY5" fmla="*/ 97 h 278028"/>
                <a:gd name="connsiteX6" fmla="*/ 4175 w 130481"/>
                <a:gd name="connsiteY6" fmla="*/ 16920 h 278028"/>
                <a:gd name="connsiteX7" fmla="*/ 51 w 130481"/>
                <a:gd name="connsiteY7" fmla="*/ 125459 h 278028"/>
                <a:gd name="connsiteX8" fmla="*/ 12641 w 130481"/>
                <a:gd name="connsiteY8" fmla="*/ 164714 h 278028"/>
                <a:gd name="connsiteX9" fmla="*/ 14522 w 130481"/>
                <a:gd name="connsiteY9" fmla="*/ 166885 h 278028"/>
                <a:gd name="connsiteX10" fmla="*/ 54320 w 130481"/>
                <a:gd name="connsiteY10" fmla="*/ 209287 h 278028"/>
                <a:gd name="connsiteX11" fmla="*/ 65753 w 130481"/>
                <a:gd name="connsiteY11" fmla="*/ 230995 h 278028"/>
                <a:gd name="connsiteX12" fmla="*/ 65753 w 130481"/>
                <a:gd name="connsiteY12" fmla="*/ 233817 h 278028"/>
                <a:gd name="connsiteX13" fmla="*/ 63654 w 130481"/>
                <a:gd name="connsiteY13" fmla="*/ 272240 h 278028"/>
                <a:gd name="connsiteX14" fmla="*/ 65319 w 130481"/>
                <a:gd name="connsiteY14" fmla="*/ 276328 h 278028"/>
                <a:gd name="connsiteX15" fmla="*/ 69262 w 130481"/>
                <a:gd name="connsiteY15" fmla="*/ 278029 h 278028"/>
                <a:gd name="connsiteX16" fmla="*/ 69262 w 130481"/>
                <a:gd name="connsiteY16" fmla="*/ 278029 h 278028"/>
                <a:gd name="connsiteX17" fmla="*/ 124545 w 130481"/>
                <a:gd name="connsiteY17" fmla="*/ 276690 h 278028"/>
                <a:gd name="connsiteX18" fmla="*/ 129863 w 130481"/>
                <a:gd name="connsiteY18" fmla="*/ 271263 h 278028"/>
                <a:gd name="connsiteX19" fmla="*/ 130153 w 130481"/>
                <a:gd name="connsiteY19" fmla="*/ 246335 h 278028"/>
                <a:gd name="connsiteX20" fmla="*/ 102837 w 130481"/>
                <a:gd name="connsiteY20" fmla="*/ 148216 h 278028"/>
                <a:gd name="connsiteX21" fmla="*/ 119154 w 130481"/>
                <a:gd name="connsiteY21" fmla="*/ 266090 h 278028"/>
                <a:gd name="connsiteX22" fmla="*/ 75160 w 130481"/>
                <a:gd name="connsiteY22" fmla="*/ 267139 h 278028"/>
                <a:gd name="connsiteX23" fmla="*/ 76534 w 130481"/>
                <a:gd name="connsiteY23" fmla="*/ 244780 h 278028"/>
                <a:gd name="connsiteX24" fmla="*/ 119552 w 130481"/>
                <a:gd name="connsiteY24" fmla="*/ 241162 h 278028"/>
                <a:gd name="connsiteX25" fmla="*/ 119552 w 130481"/>
                <a:gd name="connsiteY25" fmla="*/ 246118 h 278028"/>
                <a:gd name="connsiteX26" fmla="*/ 119154 w 130481"/>
                <a:gd name="connsiteY26" fmla="*/ 266090 h 278028"/>
                <a:gd name="connsiteX27" fmla="*/ 119697 w 130481"/>
                <a:gd name="connsiteY27" fmla="*/ 230344 h 278028"/>
                <a:gd name="connsiteX28" fmla="*/ 76751 w 130481"/>
                <a:gd name="connsiteY28" fmla="*/ 233962 h 278028"/>
                <a:gd name="connsiteX29" fmla="*/ 76751 w 130481"/>
                <a:gd name="connsiteY29" fmla="*/ 230959 h 278028"/>
                <a:gd name="connsiteX30" fmla="*/ 61954 w 130481"/>
                <a:gd name="connsiteY30" fmla="*/ 201509 h 278028"/>
                <a:gd name="connsiteX31" fmla="*/ 22808 w 130481"/>
                <a:gd name="connsiteY31" fmla="*/ 159938 h 278028"/>
                <a:gd name="connsiteX32" fmla="*/ 20854 w 130481"/>
                <a:gd name="connsiteY32" fmla="*/ 157695 h 278028"/>
                <a:gd name="connsiteX33" fmla="*/ 10941 w 130481"/>
                <a:gd name="connsiteY33" fmla="*/ 125712 h 278028"/>
                <a:gd name="connsiteX34" fmla="*/ 15029 w 130481"/>
                <a:gd name="connsiteY34" fmla="*/ 17897 h 278028"/>
                <a:gd name="connsiteX35" fmla="*/ 20383 w 130481"/>
                <a:gd name="connsiteY35" fmla="*/ 10950 h 278028"/>
                <a:gd name="connsiteX36" fmla="*/ 20854 w 130481"/>
                <a:gd name="connsiteY36" fmla="*/ 10950 h 278028"/>
                <a:gd name="connsiteX37" fmla="*/ 24870 w 130481"/>
                <a:gd name="connsiteY37" fmla="*/ 14279 h 278028"/>
                <a:gd name="connsiteX38" fmla="*/ 42562 w 130481"/>
                <a:gd name="connsiteY38" fmla="*/ 119200 h 278028"/>
                <a:gd name="connsiteX39" fmla="*/ 44081 w 130481"/>
                <a:gd name="connsiteY39" fmla="*/ 137471 h 278028"/>
                <a:gd name="connsiteX40" fmla="*/ 64993 w 130481"/>
                <a:gd name="connsiteY40" fmla="*/ 173868 h 278028"/>
                <a:gd name="connsiteX41" fmla="*/ 72546 w 130481"/>
                <a:gd name="connsiteY41" fmla="*/ 175231 h 278028"/>
                <a:gd name="connsiteX42" fmla="*/ 74183 w 130481"/>
                <a:gd name="connsiteY42" fmla="*/ 168115 h 278028"/>
                <a:gd name="connsiteX43" fmla="*/ 53777 w 130481"/>
                <a:gd name="connsiteY43" fmla="*/ 132587 h 278028"/>
                <a:gd name="connsiteX44" fmla="*/ 52366 w 130481"/>
                <a:gd name="connsiteY44" fmla="*/ 123903 h 278028"/>
                <a:gd name="connsiteX45" fmla="*/ 52620 w 130481"/>
                <a:gd name="connsiteY45" fmla="*/ 123542 h 278028"/>
                <a:gd name="connsiteX46" fmla="*/ 52620 w 130481"/>
                <a:gd name="connsiteY46" fmla="*/ 123542 h 278028"/>
                <a:gd name="connsiteX47" fmla="*/ 63148 w 130481"/>
                <a:gd name="connsiteY47" fmla="*/ 127738 h 278028"/>
                <a:gd name="connsiteX48" fmla="*/ 70384 w 130481"/>
                <a:gd name="connsiteY48" fmla="*/ 133961 h 278028"/>
                <a:gd name="connsiteX49" fmla="*/ 95710 w 130481"/>
                <a:gd name="connsiteY49" fmla="*/ 156501 h 278028"/>
                <a:gd name="connsiteX50" fmla="*/ 119697 w 130481"/>
                <a:gd name="connsiteY50" fmla="*/ 230344 h 278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130481" h="278028">
                  <a:moveTo>
                    <a:pt x="102837" y="148216"/>
                  </a:moveTo>
                  <a:cubicBezTo>
                    <a:pt x="86592" y="133744"/>
                    <a:pt x="80659" y="128426"/>
                    <a:pt x="77692" y="125749"/>
                  </a:cubicBezTo>
                  <a:cubicBezTo>
                    <a:pt x="74725" y="123071"/>
                    <a:pt x="74653" y="122963"/>
                    <a:pt x="70167" y="119236"/>
                  </a:cubicBezTo>
                  <a:cubicBezTo>
                    <a:pt x="65458" y="114586"/>
                    <a:pt x="59053" y="112064"/>
                    <a:pt x="52439" y="112254"/>
                  </a:cubicBezTo>
                  <a:cubicBezTo>
                    <a:pt x="48821" y="89497"/>
                    <a:pt x="38184" y="20683"/>
                    <a:pt x="35217" y="10950"/>
                  </a:cubicBezTo>
                  <a:cubicBezTo>
                    <a:pt x="33283" y="3874"/>
                    <a:pt x="26478" y="-734"/>
                    <a:pt x="19190" y="97"/>
                  </a:cubicBezTo>
                  <a:cubicBezTo>
                    <a:pt x="10714" y="1222"/>
                    <a:pt x="4333" y="8372"/>
                    <a:pt x="4175" y="16920"/>
                  </a:cubicBezTo>
                  <a:cubicBezTo>
                    <a:pt x="2981" y="31392"/>
                    <a:pt x="557" y="104258"/>
                    <a:pt x="51" y="125459"/>
                  </a:cubicBezTo>
                  <a:cubicBezTo>
                    <a:pt x="-637" y="149699"/>
                    <a:pt x="5803" y="156935"/>
                    <a:pt x="12641" y="164714"/>
                  </a:cubicBezTo>
                  <a:lnTo>
                    <a:pt x="14522" y="166885"/>
                  </a:lnTo>
                  <a:cubicBezTo>
                    <a:pt x="22373" y="176147"/>
                    <a:pt x="40536" y="195829"/>
                    <a:pt x="54320" y="209287"/>
                  </a:cubicBezTo>
                  <a:cubicBezTo>
                    <a:pt x="65572" y="220141"/>
                    <a:pt x="65644" y="223000"/>
                    <a:pt x="65753" y="230995"/>
                  </a:cubicBezTo>
                  <a:lnTo>
                    <a:pt x="65753" y="233817"/>
                  </a:lnTo>
                  <a:cubicBezTo>
                    <a:pt x="66006" y="244237"/>
                    <a:pt x="63691" y="271987"/>
                    <a:pt x="63654" y="272240"/>
                  </a:cubicBezTo>
                  <a:cubicBezTo>
                    <a:pt x="63623" y="273774"/>
                    <a:pt x="64225" y="275253"/>
                    <a:pt x="65319" y="276328"/>
                  </a:cubicBezTo>
                  <a:cubicBezTo>
                    <a:pt x="66344" y="277413"/>
                    <a:pt x="67770" y="278028"/>
                    <a:pt x="69262" y="278029"/>
                  </a:cubicBezTo>
                  <a:lnTo>
                    <a:pt x="69262" y="278029"/>
                  </a:lnTo>
                  <a:lnTo>
                    <a:pt x="124545" y="276690"/>
                  </a:lnTo>
                  <a:cubicBezTo>
                    <a:pt x="127500" y="276631"/>
                    <a:pt x="129864" y="274218"/>
                    <a:pt x="129863" y="271263"/>
                  </a:cubicBezTo>
                  <a:cubicBezTo>
                    <a:pt x="129863" y="262580"/>
                    <a:pt x="129863" y="254331"/>
                    <a:pt x="130153" y="246335"/>
                  </a:cubicBezTo>
                  <a:cubicBezTo>
                    <a:pt x="131130" y="205887"/>
                    <a:pt x="131817" y="173868"/>
                    <a:pt x="102837" y="148216"/>
                  </a:cubicBezTo>
                  <a:close/>
                  <a:moveTo>
                    <a:pt x="119154" y="266090"/>
                  </a:moveTo>
                  <a:lnTo>
                    <a:pt x="75160" y="267139"/>
                  </a:lnTo>
                  <a:cubicBezTo>
                    <a:pt x="75594" y="261386"/>
                    <a:pt x="76209" y="252667"/>
                    <a:pt x="76534" y="244780"/>
                  </a:cubicBezTo>
                  <a:lnTo>
                    <a:pt x="119552" y="241162"/>
                  </a:lnTo>
                  <a:lnTo>
                    <a:pt x="119552" y="246118"/>
                  </a:lnTo>
                  <a:cubicBezTo>
                    <a:pt x="119299" y="252631"/>
                    <a:pt x="119154" y="259215"/>
                    <a:pt x="119154" y="266090"/>
                  </a:cubicBezTo>
                  <a:close/>
                  <a:moveTo>
                    <a:pt x="119697" y="230344"/>
                  </a:moveTo>
                  <a:lnTo>
                    <a:pt x="76751" y="233962"/>
                  </a:lnTo>
                  <a:lnTo>
                    <a:pt x="76751" y="230959"/>
                  </a:lnTo>
                  <a:cubicBezTo>
                    <a:pt x="76571" y="220431"/>
                    <a:pt x="75883" y="214787"/>
                    <a:pt x="61954" y="201509"/>
                  </a:cubicBezTo>
                  <a:cubicBezTo>
                    <a:pt x="48025" y="188231"/>
                    <a:pt x="30550" y="168947"/>
                    <a:pt x="22808" y="159938"/>
                  </a:cubicBezTo>
                  <a:lnTo>
                    <a:pt x="20854" y="157695"/>
                  </a:lnTo>
                  <a:cubicBezTo>
                    <a:pt x="14776" y="150749"/>
                    <a:pt x="10362" y="145720"/>
                    <a:pt x="10941" y="125712"/>
                  </a:cubicBezTo>
                  <a:cubicBezTo>
                    <a:pt x="11628" y="100387"/>
                    <a:pt x="13944" y="31247"/>
                    <a:pt x="15029" y="17897"/>
                  </a:cubicBezTo>
                  <a:cubicBezTo>
                    <a:pt x="15427" y="13157"/>
                    <a:pt x="18140" y="11204"/>
                    <a:pt x="20383" y="10950"/>
                  </a:cubicBezTo>
                  <a:lnTo>
                    <a:pt x="20854" y="10950"/>
                  </a:lnTo>
                  <a:cubicBezTo>
                    <a:pt x="22823" y="10936"/>
                    <a:pt x="24518" y="12341"/>
                    <a:pt x="24870" y="14279"/>
                  </a:cubicBezTo>
                  <a:cubicBezTo>
                    <a:pt x="27511" y="22890"/>
                    <a:pt x="38256" y="91088"/>
                    <a:pt x="42562" y="119200"/>
                  </a:cubicBezTo>
                  <a:cubicBezTo>
                    <a:pt x="40201" y="125195"/>
                    <a:pt x="40763" y="131948"/>
                    <a:pt x="44081" y="137471"/>
                  </a:cubicBezTo>
                  <a:cubicBezTo>
                    <a:pt x="51498" y="152196"/>
                    <a:pt x="64450" y="172963"/>
                    <a:pt x="64993" y="173868"/>
                  </a:cubicBezTo>
                  <a:cubicBezTo>
                    <a:pt x="66702" y="176330"/>
                    <a:pt x="70084" y="176940"/>
                    <a:pt x="72546" y="175231"/>
                  </a:cubicBezTo>
                  <a:cubicBezTo>
                    <a:pt x="74844" y="173635"/>
                    <a:pt x="75553" y="170554"/>
                    <a:pt x="74183" y="168115"/>
                  </a:cubicBezTo>
                  <a:cubicBezTo>
                    <a:pt x="74183" y="167898"/>
                    <a:pt x="60977" y="146877"/>
                    <a:pt x="53777" y="132587"/>
                  </a:cubicBezTo>
                  <a:cubicBezTo>
                    <a:pt x="52034" y="130048"/>
                    <a:pt x="51516" y="126863"/>
                    <a:pt x="52366" y="123903"/>
                  </a:cubicBezTo>
                  <a:cubicBezTo>
                    <a:pt x="52442" y="123777"/>
                    <a:pt x="52527" y="123656"/>
                    <a:pt x="52620" y="123542"/>
                  </a:cubicBezTo>
                  <a:lnTo>
                    <a:pt x="52620" y="123542"/>
                  </a:lnTo>
                  <a:cubicBezTo>
                    <a:pt x="53560" y="122818"/>
                    <a:pt x="57359" y="122854"/>
                    <a:pt x="63148" y="127738"/>
                  </a:cubicBezTo>
                  <a:cubicBezTo>
                    <a:pt x="67453" y="131356"/>
                    <a:pt x="67489" y="131356"/>
                    <a:pt x="70384" y="133961"/>
                  </a:cubicBezTo>
                  <a:cubicBezTo>
                    <a:pt x="73278" y="136566"/>
                    <a:pt x="79320" y="142029"/>
                    <a:pt x="95710" y="156501"/>
                  </a:cubicBezTo>
                  <a:cubicBezTo>
                    <a:pt x="117309" y="175532"/>
                    <a:pt x="119914" y="199193"/>
                    <a:pt x="119697" y="230344"/>
                  </a:cubicBezTo>
                  <a:close/>
                </a:path>
              </a:pathLst>
            </a:custGeom>
            <a:grpFill/>
            <a:ln w="35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678" dirty="0"/>
            </a:p>
          </p:txBody>
        </p:sp>
        <p:sp>
          <p:nvSpPr>
            <p:cNvPr id="44" name="Graphic 26">
              <a:extLst>
                <a:ext uri="{FF2B5EF4-FFF2-40B4-BE49-F238E27FC236}">
                  <a16:creationId xmlns:a16="http://schemas.microsoft.com/office/drawing/2014/main" id="{CCB2EB5C-F144-4F9D-A487-B7E8799251DE}"/>
                </a:ext>
              </a:extLst>
            </p:cNvPr>
            <p:cNvSpPr/>
            <p:nvPr/>
          </p:nvSpPr>
          <p:spPr>
            <a:xfrm>
              <a:off x="1141696" y="4865311"/>
              <a:ext cx="130562" cy="278140"/>
            </a:xfrm>
            <a:custGeom>
              <a:avLst/>
              <a:gdLst>
                <a:gd name="connsiteX0" fmla="*/ 130512 w 130562"/>
                <a:gd name="connsiteY0" fmla="*/ 125459 h 278140"/>
                <a:gd name="connsiteX1" fmla="*/ 126388 w 130562"/>
                <a:gd name="connsiteY1" fmla="*/ 16920 h 278140"/>
                <a:gd name="connsiteX2" fmla="*/ 111373 w 130562"/>
                <a:gd name="connsiteY2" fmla="*/ 97 h 278140"/>
                <a:gd name="connsiteX3" fmla="*/ 95345 w 130562"/>
                <a:gd name="connsiteY3" fmla="*/ 10950 h 278140"/>
                <a:gd name="connsiteX4" fmla="*/ 78124 w 130562"/>
                <a:gd name="connsiteY4" fmla="*/ 112254 h 278140"/>
                <a:gd name="connsiteX5" fmla="*/ 60432 w 130562"/>
                <a:gd name="connsiteY5" fmla="*/ 119200 h 278140"/>
                <a:gd name="connsiteX6" fmla="*/ 52870 w 130562"/>
                <a:gd name="connsiteY6" fmla="*/ 125749 h 278140"/>
                <a:gd name="connsiteX7" fmla="*/ 27726 w 130562"/>
                <a:gd name="connsiteY7" fmla="*/ 148216 h 278140"/>
                <a:gd name="connsiteX8" fmla="*/ 265 w 130562"/>
                <a:gd name="connsiteY8" fmla="*/ 246444 h 278140"/>
                <a:gd name="connsiteX9" fmla="*/ 555 w 130562"/>
                <a:gd name="connsiteY9" fmla="*/ 271372 h 278140"/>
                <a:gd name="connsiteX10" fmla="*/ 5873 w 130562"/>
                <a:gd name="connsiteY10" fmla="*/ 276799 h 278140"/>
                <a:gd name="connsiteX11" fmla="*/ 61156 w 130562"/>
                <a:gd name="connsiteY11" fmla="*/ 278137 h 278140"/>
                <a:gd name="connsiteX12" fmla="*/ 61156 w 130562"/>
                <a:gd name="connsiteY12" fmla="*/ 278137 h 278140"/>
                <a:gd name="connsiteX13" fmla="*/ 65244 w 130562"/>
                <a:gd name="connsiteY13" fmla="*/ 276473 h 278140"/>
                <a:gd name="connsiteX14" fmla="*/ 66872 w 130562"/>
                <a:gd name="connsiteY14" fmla="*/ 272385 h 278140"/>
                <a:gd name="connsiteX15" fmla="*/ 64774 w 130562"/>
                <a:gd name="connsiteY15" fmla="*/ 233962 h 278140"/>
                <a:gd name="connsiteX16" fmla="*/ 64774 w 130562"/>
                <a:gd name="connsiteY16" fmla="*/ 231140 h 278140"/>
                <a:gd name="connsiteX17" fmla="*/ 76170 w 130562"/>
                <a:gd name="connsiteY17" fmla="*/ 209432 h 278140"/>
                <a:gd name="connsiteX18" fmla="*/ 115968 w 130562"/>
                <a:gd name="connsiteY18" fmla="*/ 167030 h 278140"/>
                <a:gd name="connsiteX19" fmla="*/ 117849 w 130562"/>
                <a:gd name="connsiteY19" fmla="*/ 164859 h 278140"/>
                <a:gd name="connsiteX20" fmla="*/ 130512 w 130562"/>
                <a:gd name="connsiteY20" fmla="*/ 125459 h 278140"/>
                <a:gd name="connsiteX21" fmla="*/ 11408 w 130562"/>
                <a:gd name="connsiteY21" fmla="*/ 266234 h 278140"/>
                <a:gd name="connsiteX22" fmla="*/ 11119 w 130562"/>
                <a:gd name="connsiteY22" fmla="*/ 246335 h 278140"/>
                <a:gd name="connsiteX23" fmla="*/ 11119 w 130562"/>
                <a:gd name="connsiteY23" fmla="*/ 241379 h 278140"/>
                <a:gd name="connsiteX24" fmla="*/ 54137 w 130562"/>
                <a:gd name="connsiteY24" fmla="*/ 244997 h 278140"/>
                <a:gd name="connsiteX25" fmla="*/ 55512 w 130562"/>
                <a:gd name="connsiteY25" fmla="*/ 267356 h 278140"/>
                <a:gd name="connsiteX26" fmla="*/ 109745 w 130562"/>
                <a:gd name="connsiteY26" fmla="*/ 157695 h 278140"/>
                <a:gd name="connsiteX27" fmla="*/ 107791 w 130562"/>
                <a:gd name="connsiteY27" fmla="*/ 159938 h 278140"/>
                <a:gd name="connsiteX28" fmla="*/ 68645 w 130562"/>
                <a:gd name="connsiteY28" fmla="*/ 201509 h 278140"/>
                <a:gd name="connsiteX29" fmla="*/ 53847 w 130562"/>
                <a:gd name="connsiteY29" fmla="*/ 230959 h 278140"/>
                <a:gd name="connsiteX30" fmla="*/ 53847 w 130562"/>
                <a:gd name="connsiteY30" fmla="*/ 233962 h 278140"/>
                <a:gd name="connsiteX31" fmla="*/ 10902 w 130562"/>
                <a:gd name="connsiteY31" fmla="*/ 230344 h 278140"/>
                <a:gd name="connsiteX32" fmla="*/ 34961 w 130562"/>
                <a:gd name="connsiteY32" fmla="*/ 156320 h 278140"/>
                <a:gd name="connsiteX33" fmla="*/ 60287 w 130562"/>
                <a:gd name="connsiteY33" fmla="*/ 133780 h 278140"/>
                <a:gd name="connsiteX34" fmla="*/ 67523 w 130562"/>
                <a:gd name="connsiteY34" fmla="*/ 127558 h 278140"/>
                <a:gd name="connsiteX35" fmla="*/ 78015 w 130562"/>
                <a:gd name="connsiteY35" fmla="*/ 123361 h 278140"/>
                <a:gd name="connsiteX36" fmla="*/ 78015 w 130562"/>
                <a:gd name="connsiteY36" fmla="*/ 123361 h 278140"/>
                <a:gd name="connsiteX37" fmla="*/ 78269 w 130562"/>
                <a:gd name="connsiteY37" fmla="*/ 123722 h 278140"/>
                <a:gd name="connsiteX38" fmla="*/ 76858 w 130562"/>
                <a:gd name="connsiteY38" fmla="*/ 132406 h 278140"/>
                <a:gd name="connsiteX39" fmla="*/ 56452 w 130562"/>
                <a:gd name="connsiteY39" fmla="*/ 167934 h 278140"/>
                <a:gd name="connsiteX40" fmla="*/ 58526 w 130562"/>
                <a:gd name="connsiteY40" fmla="*/ 175323 h 278140"/>
                <a:gd name="connsiteX41" fmla="*/ 65642 w 130562"/>
                <a:gd name="connsiteY41" fmla="*/ 173687 h 278140"/>
                <a:gd name="connsiteX42" fmla="*/ 86554 w 130562"/>
                <a:gd name="connsiteY42" fmla="*/ 137290 h 278140"/>
                <a:gd name="connsiteX43" fmla="*/ 88073 w 130562"/>
                <a:gd name="connsiteY43" fmla="*/ 119019 h 278140"/>
                <a:gd name="connsiteX44" fmla="*/ 105765 w 130562"/>
                <a:gd name="connsiteY44" fmla="*/ 14098 h 278140"/>
                <a:gd name="connsiteX45" fmla="*/ 110288 w 130562"/>
                <a:gd name="connsiteY45" fmla="*/ 10987 h 278140"/>
                <a:gd name="connsiteX46" fmla="*/ 115642 w 130562"/>
                <a:gd name="connsiteY46" fmla="*/ 17933 h 278140"/>
                <a:gd name="connsiteX47" fmla="*/ 119730 w 130562"/>
                <a:gd name="connsiteY47" fmla="*/ 125749 h 278140"/>
                <a:gd name="connsiteX48" fmla="*/ 109745 w 130562"/>
                <a:gd name="connsiteY48" fmla="*/ 157731 h 278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130562" h="278140">
                  <a:moveTo>
                    <a:pt x="130512" y="125459"/>
                  </a:moveTo>
                  <a:cubicBezTo>
                    <a:pt x="129933" y="104366"/>
                    <a:pt x="127581" y="31609"/>
                    <a:pt x="126388" y="16920"/>
                  </a:cubicBezTo>
                  <a:cubicBezTo>
                    <a:pt x="126229" y="8372"/>
                    <a:pt x="119848" y="1222"/>
                    <a:pt x="111373" y="97"/>
                  </a:cubicBezTo>
                  <a:cubicBezTo>
                    <a:pt x="104085" y="-734"/>
                    <a:pt x="97279" y="3874"/>
                    <a:pt x="95345" y="10950"/>
                  </a:cubicBezTo>
                  <a:cubicBezTo>
                    <a:pt x="92379" y="20647"/>
                    <a:pt x="81633" y="89460"/>
                    <a:pt x="78124" y="112254"/>
                  </a:cubicBezTo>
                  <a:cubicBezTo>
                    <a:pt x="73348" y="111747"/>
                    <a:pt x="67270" y="113447"/>
                    <a:pt x="60432" y="119200"/>
                  </a:cubicBezTo>
                  <a:cubicBezTo>
                    <a:pt x="55910" y="122818"/>
                    <a:pt x="55910" y="122818"/>
                    <a:pt x="52870" y="125749"/>
                  </a:cubicBezTo>
                  <a:cubicBezTo>
                    <a:pt x="49831" y="128679"/>
                    <a:pt x="43970" y="133817"/>
                    <a:pt x="27726" y="148216"/>
                  </a:cubicBezTo>
                  <a:cubicBezTo>
                    <a:pt x="-1218" y="173868"/>
                    <a:pt x="-567" y="205887"/>
                    <a:pt x="265" y="246444"/>
                  </a:cubicBezTo>
                  <a:cubicBezTo>
                    <a:pt x="265" y="254440"/>
                    <a:pt x="627" y="262689"/>
                    <a:pt x="555" y="271372"/>
                  </a:cubicBezTo>
                  <a:cubicBezTo>
                    <a:pt x="554" y="274327"/>
                    <a:pt x="2918" y="276740"/>
                    <a:pt x="5873" y="276799"/>
                  </a:cubicBezTo>
                  <a:lnTo>
                    <a:pt x="61156" y="278137"/>
                  </a:lnTo>
                  <a:lnTo>
                    <a:pt x="61156" y="278137"/>
                  </a:lnTo>
                  <a:cubicBezTo>
                    <a:pt x="62692" y="278187"/>
                    <a:pt x="64178" y="277582"/>
                    <a:pt x="65244" y="276473"/>
                  </a:cubicBezTo>
                  <a:cubicBezTo>
                    <a:pt x="66325" y="275391"/>
                    <a:pt x="66913" y="273913"/>
                    <a:pt x="66872" y="272385"/>
                  </a:cubicBezTo>
                  <a:cubicBezTo>
                    <a:pt x="66872" y="272132"/>
                    <a:pt x="64520" y="244382"/>
                    <a:pt x="64774" y="233962"/>
                  </a:cubicBezTo>
                  <a:lnTo>
                    <a:pt x="64774" y="231140"/>
                  </a:lnTo>
                  <a:cubicBezTo>
                    <a:pt x="64774" y="223144"/>
                    <a:pt x="64774" y="220286"/>
                    <a:pt x="76170" y="209432"/>
                  </a:cubicBezTo>
                  <a:cubicBezTo>
                    <a:pt x="90099" y="196154"/>
                    <a:pt x="108262" y="176292"/>
                    <a:pt x="115968" y="167030"/>
                  </a:cubicBezTo>
                  <a:lnTo>
                    <a:pt x="117849" y="164859"/>
                  </a:lnTo>
                  <a:cubicBezTo>
                    <a:pt x="124759" y="157080"/>
                    <a:pt x="131199" y="149844"/>
                    <a:pt x="130512" y="125459"/>
                  </a:cubicBezTo>
                  <a:close/>
                  <a:moveTo>
                    <a:pt x="11408" y="266234"/>
                  </a:moveTo>
                  <a:cubicBezTo>
                    <a:pt x="11408" y="259360"/>
                    <a:pt x="11408" y="252775"/>
                    <a:pt x="11119" y="246335"/>
                  </a:cubicBezTo>
                  <a:lnTo>
                    <a:pt x="11119" y="241379"/>
                  </a:lnTo>
                  <a:lnTo>
                    <a:pt x="54137" y="244997"/>
                  </a:lnTo>
                  <a:cubicBezTo>
                    <a:pt x="54462" y="252739"/>
                    <a:pt x="55077" y="261603"/>
                    <a:pt x="55512" y="267356"/>
                  </a:cubicBezTo>
                  <a:close/>
                  <a:moveTo>
                    <a:pt x="109745" y="157695"/>
                  </a:moveTo>
                  <a:lnTo>
                    <a:pt x="107791" y="159938"/>
                  </a:lnTo>
                  <a:cubicBezTo>
                    <a:pt x="100049" y="169019"/>
                    <a:pt x="82248" y="188556"/>
                    <a:pt x="68645" y="201509"/>
                  </a:cubicBezTo>
                  <a:cubicBezTo>
                    <a:pt x="55041" y="214461"/>
                    <a:pt x="54173" y="220431"/>
                    <a:pt x="53847" y="230959"/>
                  </a:cubicBezTo>
                  <a:lnTo>
                    <a:pt x="53847" y="233962"/>
                  </a:lnTo>
                  <a:lnTo>
                    <a:pt x="10902" y="230344"/>
                  </a:lnTo>
                  <a:cubicBezTo>
                    <a:pt x="10685" y="199193"/>
                    <a:pt x="13290" y="175532"/>
                    <a:pt x="34961" y="156320"/>
                  </a:cubicBezTo>
                  <a:cubicBezTo>
                    <a:pt x="51279" y="141849"/>
                    <a:pt x="57212" y="136458"/>
                    <a:pt x="60287" y="133780"/>
                  </a:cubicBezTo>
                  <a:cubicBezTo>
                    <a:pt x="63363" y="131103"/>
                    <a:pt x="63182" y="131139"/>
                    <a:pt x="67523" y="127558"/>
                  </a:cubicBezTo>
                  <a:cubicBezTo>
                    <a:pt x="73276" y="122673"/>
                    <a:pt x="77075" y="122637"/>
                    <a:pt x="78015" y="123361"/>
                  </a:cubicBezTo>
                  <a:lnTo>
                    <a:pt x="78015" y="123361"/>
                  </a:lnTo>
                  <a:cubicBezTo>
                    <a:pt x="78108" y="123475"/>
                    <a:pt x="78193" y="123596"/>
                    <a:pt x="78269" y="123722"/>
                  </a:cubicBezTo>
                  <a:cubicBezTo>
                    <a:pt x="79118" y="126682"/>
                    <a:pt x="78601" y="129867"/>
                    <a:pt x="76858" y="132406"/>
                  </a:cubicBezTo>
                  <a:cubicBezTo>
                    <a:pt x="69622" y="146697"/>
                    <a:pt x="56561" y="167717"/>
                    <a:pt x="56452" y="167934"/>
                  </a:cubicBezTo>
                  <a:cubicBezTo>
                    <a:pt x="54984" y="170547"/>
                    <a:pt x="55913" y="173856"/>
                    <a:pt x="58526" y="175323"/>
                  </a:cubicBezTo>
                  <a:cubicBezTo>
                    <a:pt x="60965" y="176694"/>
                    <a:pt x="64046" y="175985"/>
                    <a:pt x="65642" y="173687"/>
                  </a:cubicBezTo>
                  <a:cubicBezTo>
                    <a:pt x="66185" y="172782"/>
                    <a:pt x="79137" y="151979"/>
                    <a:pt x="86554" y="137290"/>
                  </a:cubicBezTo>
                  <a:cubicBezTo>
                    <a:pt x="89872" y="131767"/>
                    <a:pt x="90434" y="125014"/>
                    <a:pt x="88073" y="119019"/>
                  </a:cubicBezTo>
                  <a:cubicBezTo>
                    <a:pt x="92379" y="90908"/>
                    <a:pt x="103124" y="22709"/>
                    <a:pt x="105765" y="14098"/>
                  </a:cubicBezTo>
                  <a:cubicBezTo>
                    <a:pt x="106249" y="12052"/>
                    <a:pt x="108204" y="10707"/>
                    <a:pt x="110288" y="10987"/>
                  </a:cubicBezTo>
                  <a:cubicBezTo>
                    <a:pt x="112531" y="11240"/>
                    <a:pt x="115244" y="13194"/>
                    <a:pt x="115642" y="17933"/>
                  </a:cubicBezTo>
                  <a:cubicBezTo>
                    <a:pt x="116728" y="31283"/>
                    <a:pt x="119043" y="100423"/>
                    <a:pt x="119730" y="125749"/>
                  </a:cubicBezTo>
                  <a:cubicBezTo>
                    <a:pt x="120237" y="145756"/>
                    <a:pt x="115823" y="150785"/>
                    <a:pt x="109745" y="157731"/>
                  </a:cubicBezTo>
                  <a:close/>
                </a:path>
              </a:pathLst>
            </a:custGeom>
            <a:grpFill/>
            <a:ln w="35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678" dirty="0"/>
            </a:p>
          </p:txBody>
        </p:sp>
      </p:grpSp>
      <p:sp>
        <p:nvSpPr>
          <p:cNvPr id="45" name="Graphic 39">
            <a:extLst>
              <a:ext uri="{FF2B5EF4-FFF2-40B4-BE49-F238E27FC236}">
                <a16:creationId xmlns:a16="http://schemas.microsoft.com/office/drawing/2014/main" id="{BED33472-89A5-4E51-85F2-2A707051023A}"/>
              </a:ext>
            </a:extLst>
          </p:cNvPr>
          <p:cNvSpPr/>
          <p:nvPr/>
        </p:nvSpPr>
        <p:spPr>
          <a:xfrm>
            <a:off x="3802181" y="5748220"/>
            <a:ext cx="387577" cy="328163"/>
          </a:xfrm>
          <a:custGeom>
            <a:avLst/>
            <a:gdLst>
              <a:gd name="connsiteX0" fmla="*/ 390491 w 780982"/>
              <a:gd name="connsiteY0" fmla="*/ 0 h 800125"/>
              <a:gd name="connsiteX1" fmla="*/ 302087 w 780982"/>
              <a:gd name="connsiteY1" fmla="*/ 88403 h 800125"/>
              <a:gd name="connsiteX2" fmla="*/ 390491 w 780982"/>
              <a:gd name="connsiteY2" fmla="*/ 176510 h 800125"/>
              <a:gd name="connsiteX3" fmla="*/ 478894 w 780982"/>
              <a:gd name="connsiteY3" fmla="*/ 88403 h 800125"/>
              <a:gd name="connsiteX4" fmla="*/ 390491 w 780982"/>
              <a:gd name="connsiteY4" fmla="*/ 0 h 800125"/>
              <a:gd name="connsiteX5" fmla="*/ 390491 w 780982"/>
              <a:gd name="connsiteY5" fmla="*/ 38100 h 800125"/>
              <a:gd name="connsiteX6" fmla="*/ 440794 w 780982"/>
              <a:gd name="connsiteY6" fmla="*/ 88403 h 800125"/>
              <a:gd name="connsiteX7" fmla="*/ 390491 w 780982"/>
              <a:gd name="connsiteY7" fmla="*/ 138410 h 800125"/>
              <a:gd name="connsiteX8" fmla="*/ 340187 w 780982"/>
              <a:gd name="connsiteY8" fmla="*/ 88403 h 800125"/>
              <a:gd name="connsiteX9" fmla="*/ 390491 w 780982"/>
              <a:gd name="connsiteY9" fmla="*/ 38100 h 800125"/>
              <a:gd name="connsiteX10" fmla="*/ 124684 w 780982"/>
              <a:gd name="connsiteY10" fmla="*/ 55364 h 800125"/>
              <a:gd name="connsiteX11" fmla="*/ 50269 w 780982"/>
              <a:gd name="connsiteY11" fmla="*/ 129778 h 800125"/>
              <a:gd name="connsiteX12" fmla="*/ 124684 w 780982"/>
              <a:gd name="connsiteY12" fmla="*/ 204192 h 800125"/>
              <a:gd name="connsiteX13" fmla="*/ 199097 w 780982"/>
              <a:gd name="connsiteY13" fmla="*/ 129778 h 800125"/>
              <a:gd name="connsiteX14" fmla="*/ 124684 w 780982"/>
              <a:gd name="connsiteY14" fmla="*/ 55364 h 800125"/>
              <a:gd name="connsiteX15" fmla="*/ 656297 w 780982"/>
              <a:gd name="connsiteY15" fmla="*/ 55364 h 800125"/>
              <a:gd name="connsiteX16" fmla="*/ 581884 w 780982"/>
              <a:gd name="connsiteY16" fmla="*/ 129778 h 800125"/>
              <a:gd name="connsiteX17" fmla="*/ 656297 w 780982"/>
              <a:gd name="connsiteY17" fmla="*/ 204192 h 800125"/>
              <a:gd name="connsiteX18" fmla="*/ 730712 w 780982"/>
              <a:gd name="connsiteY18" fmla="*/ 129778 h 800125"/>
              <a:gd name="connsiteX19" fmla="*/ 656297 w 780982"/>
              <a:gd name="connsiteY19" fmla="*/ 55364 h 800125"/>
              <a:gd name="connsiteX20" fmla="*/ 124684 w 780982"/>
              <a:gd name="connsiteY20" fmla="*/ 93464 h 800125"/>
              <a:gd name="connsiteX21" fmla="*/ 160997 w 780982"/>
              <a:gd name="connsiteY21" fmla="*/ 129778 h 800125"/>
              <a:gd name="connsiteX22" fmla="*/ 124684 w 780982"/>
              <a:gd name="connsiteY22" fmla="*/ 166092 h 800125"/>
              <a:gd name="connsiteX23" fmla="*/ 88369 w 780982"/>
              <a:gd name="connsiteY23" fmla="*/ 129778 h 800125"/>
              <a:gd name="connsiteX24" fmla="*/ 124684 w 780982"/>
              <a:gd name="connsiteY24" fmla="*/ 93464 h 800125"/>
              <a:gd name="connsiteX25" fmla="*/ 656297 w 780982"/>
              <a:gd name="connsiteY25" fmla="*/ 93464 h 800125"/>
              <a:gd name="connsiteX26" fmla="*/ 692612 w 780982"/>
              <a:gd name="connsiteY26" fmla="*/ 129778 h 800125"/>
              <a:gd name="connsiteX27" fmla="*/ 656297 w 780982"/>
              <a:gd name="connsiteY27" fmla="*/ 166092 h 800125"/>
              <a:gd name="connsiteX28" fmla="*/ 619984 w 780982"/>
              <a:gd name="connsiteY28" fmla="*/ 129778 h 800125"/>
              <a:gd name="connsiteX29" fmla="*/ 656297 w 780982"/>
              <a:gd name="connsiteY29" fmla="*/ 93464 h 800125"/>
              <a:gd name="connsiteX30" fmla="*/ 69617 w 780982"/>
              <a:gd name="connsiteY30" fmla="*/ 240209 h 800125"/>
              <a:gd name="connsiteX31" fmla="*/ 58009 w 780982"/>
              <a:gd name="connsiteY31" fmla="*/ 245566 h 800125"/>
              <a:gd name="connsiteX32" fmla="*/ 5621 w 780982"/>
              <a:gd name="connsiteY32" fmla="*/ 297656 h 800125"/>
              <a:gd name="connsiteX33" fmla="*/ 264 w 780982"/>
              <a:gd name="connsiteY33" fmla="*/ 314325 h 800125"/>
              <a:gd name="connsiteX34" fmla="*/ 41638 w 780982"/>
              <a:gd name="connsiteY34" fmla="*/ 556617 h 800125"/>
              <a:gd name="connsiteX35" fmla="*/ 60391 w 780982"/>
              <a:gd name="connsiteY35" fmla="*/ 572394 h 800125"/>
              <a:gd name="connsiteX36" fmla="*/ 129447 w 780982"/>
              <a:gd name="connsiteY36" fmla="*/ 572394 h 800125"/>
              <a:gd name="connsiteX37" fmla="*/ 148765 w 780982"/>
              <a:gd name="connsiteY37" fmla="*/ 553612 h 800125"/>
              <a:gd name="connsiteX38" fmla="*/ 129984 w 780982"/>
              <a:gd name="connsiteY38" fmla="*/ 534294 h 800125"/>
              <a:gd name="connsiteX39" fmla="*/ 129447 w 780982"/>
              <a:gd name="connsiteY39" fmla="*/ 534294 h 800125"/>
              <a:gd name="connsiteX40" fmla="*/ 76463 w 780982"/>
              <a:gd name="connsiteY40" fmla="*/ 534294 h 800125"/>
              <a:gd name="connsiteX41" fmla="*/ 39554 w 780982"/>
              <a:gd name="connsiteY41" fmla="*/ 317600 h 800125"/>
              <a:gd name="connsiteX42" fmla="*/ 79142 w 780982"/>
              <a:gd name="connsiteY42" fmla="*/ 278309 h 800125"/>
              <a:gd name="connsiteX43" fmla="*/ 188382 w 780982"/>
              <a:gd name="connsiteY43" fmla="*/ 278309 h 800125"/>
              <a:gd name="connsiteX44" fmla="*/ 207701 w 780982"/>
              <a:gd name="connsiteY44" fmla="*/ 259528 h 800125"/>
              <a:gd name="connsiteX45" fmla="*/ 188920 w 780982"/>
              <a:gd name="connsiteY45" fmla="*/ 240209 h 800125"/>
              <a:gd name="connsiteX46" fmla="*/ 188382 w 780982"/>
              <a:gd name="connsiteY46" fmla="*/ 240209 h 800125"/>
              <a:gd name="connsiteX47" fmla="*/ 71403 w 780982"/>
              <a:gd name="connsiteY47" fmla="*/ 240209 h 800125"/>
              <a:gd name="connsiteX48" fmla="*/ 69617 w 780982"/>
              <a:gd name="connsiteY48" fmla="*/ 240209 h 800125"/>
              <a:gd name="connsiteX49" fmla="*/ 590516 w 780982"/>
              <a:gd name="connsiteY49" fmla="*/ 240209 h 800125"/>
              <a:gd name="connsiteX50" fmla="*/ 572506 w 780982"/>
              <a:gd name="connsiteY50" fmla="*/ 260298 h 800125"/>
              <a:gd name="connsiteX51" fmla="*/ 592595 w 780982"/>
              <a:gd name="connsiteY51" fmla="*/ 278309 h 800125"/>
              <a:gd name="connsiteX52" fmla="*/ 592600 w 780982"/>
              <a:gd name="connsiteY52" fmla="*/ 278309 h 800125"/>
              <a:gd name="connsiteX53" fmla="*/ 701839 w 780982"/>
              <a:gd name="connsiteY53" fmla="*/ 278309 h 800125"/>
              <a:gd name="connsiteX54" fmla="*/ 741428 w 780982"/>
              <a:gd name="connsiteY54" fmla="*/ 317600 h 800125"/>
              <a:gd name="connsiteX55" fmla="*/ 704519 w 780982"/>
              <a:gd name="connsiteY55" fmla="*/ 534294 h 800125"/>
              <a:gd name="connsiteX56" fmla="*/ 651535 w 780982"/>
              <a:gd name="connsiteY56" fmla="*/ 534294 h 800125"/>
              <a:gd name="connsiteX57" fmla="*/ 632216 w 780982"/>
              <a:gd name="connsiteY57" fmla="*/ 553074 h 800125"/>
              <a:gd name="connsiteX58" fmla="*/ 650998 w 780982"/>
              <a:gd name="connsiteY58" fmla="*/ 572394 h 800125"/>
              <a:gd name="connsiteX59" fmla="*/ 651535 w 780982"/>
              <a:gd name="connsiteY59" fmla="*/ 572394 h 800125"/>
              <a:gd name="connsiteX60" fmla="*/ 720591 w 780982"/>
              <a:gd name="connsiteY60" fmla="*/ 572394 h 800125"/>
              <a:gd name="connsiteX61" fmla="*/ 739344 w 780982"/>
              <a:gd name="connsiteY61" fmla="*/ 556617 h 800125"/>
              <a:gd name="connsiteX62" fmla="*/ 780719 w 780982"/>
              <a:gd name="connsiteY62" fmla="*/ 314325 h 800125"/>
              <a:gd name="connsiteX63" fmla="*/ 775360 w 780982"/>
              <a:gd name="connsiteY63" fmla="*/ 297656 h 800125"/>
              <a:gd name="connsiteX64" fmla="*/ 722972 w 780982"/>
              <a:gd name="connsiteY64" fmla="*/ 245566 h 800125"/>
              <a:gd name="connsiteX65" fmla="*/ 709578 w 780982"/>
              <a:gd name="connsiteY65" fmla="*/ 240209 h 800125"/>
              <a:gd name="connsiteX66" fmla="*/ 592600 w 780982"/>
              <a:gd name="connsiteY66" fmla="*/ 240209 h 800125"/>
              <a:gd name="connsiteX67" fmla="*/ 590516 w 780982"/>
              <a:gd name="connsiteY67" fmla="*/ 240209 h 800125"/>
              <a:gd name="connsiteX68" fmla="*/ 309231 w 780982"/>
              <a:gd name="connsiteY68" fmla="*/ 245864 h 800125"/>
              <a:gd name="connsiteX69" fmla="*/ 297622 w 780982"/>
              <a:gd name="connsiteY69" fmla="*/ 251222 h 800125"/>
              <a:gd name="connsiteX70" fmla="*/ 245532 w 780982"/>
              <a:gd name="connsiteY70" fmla="*/ 303014 h 800125"/>
              <a:gd name="connsiteX71" fmla="*/ 240175 w 780982"/>
              <a:gd name="connsiteY71" fmla="*/ 319683 h 800125"/>
              <a:gd name="connsiteX72" fmla="*/ 254760 w 780982"/>
              <a:gd name="connsiteY72" fmla="*/ 408384 h 800125"/>
              <a:gd name="connsiteX73" fmla="*/ 275184 w 780982"/>
              <a:gd name="connsiteY73" fmla="*/ 425957 h 800125"/>
              <a:gd name="connsiteX74" fmla="*/ 292757 w 780982"/>
              <a:gd name="connsiteY74" fmla="*/ 405533 h 800125"/>
              <a:gd name="connsiteX75" fmla="*/ 292264 w 780982"/>
              <a:gd name="connsiteY75" fmla="*/ 402431 h 800125"/>
              <a:gd name="connsiteX76" fmla="*/ 279167 w 780982"/>
              <a:gd name="connsiteY76" fmla="*/ 323255 h 800125"/>
              <a:gd name="connsiteX77" fmla="*/ 318756 w 780982"/>
              <a:gd name="connsiteY77" fmla="*/ 283964 h 800125"/>
              <a:gd name="connsiteX78" fmla="*/ 462226 w 780982"/>
              <a:gd name="connsiteY78" fmla="*/ 283964 h 800125"/>
              <a:gd name="connsiteX79" fmla="*/ 501814 w 780982"/>
              <a:gd name="connsiteY79" fmla="*/ 323255 h 800125"/>
              <a:gd name="connsiteX80" fmla="*/ 488717 w 780982"/>
              <a:gd name="connsiteY80" fmla="*/ 402431 h 800125"/>
              <a:gd name="connsiteX81" fmla="*/ 502696 w 780982"/>
              <a:gd name="connsiteY81" fmla="*/ 425465 h 800125"/>
              <a:gd name="connsiteX82" fmla="*/ 525730 w 780982"/>
              <a:gd name="connsiteY82" fmla="*/ 411486 h 800125"/>
              <a:gd name="connsiteX83" fmla="*/ 526222 w 780982"/>
              <a:gd name="connsiteY83" fmla="*/ 408384 h 800125"/>
              <a:gd name="connsiteX84" fmla="*/ 540807 w 780982"/>
              <a:gd name="connsiteY84" fmla="*/ 319683 h 800125"/>
              <a:gd name="connsiteX85" fmla="*/ 535450 w 780982"/>
              <a:gd name="connsiteY85" fmla="*/ 303014 h 800125"/>
              <a:gd name="connsiteX86" fmla="*/ 483360 w 780982"/>
              <a:gd name="connsiteY86" fmla="*/ 251222 h 800125"/>
              <a:gd name="connsiteX87" fmla="*/ 469966 w 780982"/>
              <a:gd name="connsiteY87" fmla="*/ 245864 h 800125"/>
              <a:gd name="connsiteX88" fmla="*/ 311016 w 780982"/>
              <a:gd name="connsiteY88" fmla="*/ 245864 h 800125"/>
              <a:gd name="connsiteX89" fmla="*/ 309231 w 780982"/>
              <a:gd name="connsiteY89" fmla="*/ 245864 h 800125"/>
              <a:gd name="connsiteX90" fmla="*/ 306254 w 780982"/>
              <a:gd name="connsiteY90" fmla="*/ 452438 h 800125"/>
              <a:gd name="connsiteX91" fmla="*/ 203860 w 780982"/>
              <a:gd name="connsiteY91" fmla="*/ 508397 h 800125"/>
              <a:gd name="connsiteX92" fmla="*/ 188085 w 780982"/>
              <a:gd name="connsiteY92" fmla="*/ 576263 h 800125"/>
              <a:gd name="connsiteX93" fmla="*/ 278275 w 780982"/>
              <a:gd name="connsiteY93" fmla="*/ 736402 h 800125"/>
              <a:gd name="connsiteX94" fmla="*/ 383050 w 780982"/>
              <a:gd name="connsiteY94" fmla="*/ 798612 h 800125"/>
              <a:gd name="connsiteX95" fmla="*/ 397932 w 780982"/>
              <a:gd name="connsiteY95" fmla="*/ 798612 h 800125"/>
              <a:gd name="connsiteX96" fmla="*/ 502707 w 780982"/>
              <a:gd name="connsiteY96" fmla="*/ 736700 h 800125"/>
              <a:gd name="connsiteX97" fmla="*/ 592897 w 780982"/>
              <a:gd name="connsiteY97" fmla="*/ 576263 h 800125"/>
              <a:gd name="connsiteX98" fmla="*/ 540807 w 780982"/>
              <a:gd name="connsiteY98" fmla="*/ 470000 h 800125"/>
              <a:gd name="connsiteX99" fmla="*/ 539319 w 780982"/>
              <a:gd name="connsiteY99" fmla="*/ 469403 h 800125"/>
              <a:gd name="connsiteX100" fmla="*/ 539022 w 780982"/>
              <a:gd name="connsiteY100" fmla="*/ 469106 h 800125"/>
              <a:gd name="connsiteX101" fmla="*/ 538724 w 780982"/>
              <a:gd name="connsiteY101" fmla="*/ 469106 h 800125"/>
              <a:gd name="connsiteX102" fmla="*/ 537831 w 780982"/>
              <a:gd name="connsiteY102" fmla="*/ 468809 h 800125"/>
              <a:gd name="connsiteX103" fmla="*/ 537831 w 780982"/>
              <a:gd name="connsiteY103" fmla="*/ 468511 h 800125"/>
              <a:gd name="connsiteX104" fmla="*/ 537235 w 780982"/>
              <a:gd name="connsiteY104" fmla="*/ 468511 h 800125"/>
              <a:gd name="connsiteX105" fmla="*/ 536342 w 780982"/>
              <a:gd name="connsiteY105" fmla="*/ 468213 h 800125"/>
              <a:gd name="connsiteX106" fmla="*/ 535450 w 780982"/>
              <a:gd name="connsiteY106" fmla="*/ 467916 h 800125"/>
              <a:gd name="connsiteX107" fmla="*/ 474430 w 780982"/>
              <a:gd name="connsiteY107" fmla="*/ 452438 h 800125"/>
              <a:gd name="connsiteX108" fmla="*/ 406266 w 780982"/>
              <a:gd name="connsiteY108" fmla="*/ 481013 h 800125"/>
              <a:gd name="connsiteX109" fmla="*/ 389896 w 780982"/>
              <a:gd name="connsiteY109" fmla="*/ 497681 h 800125"/>
              <a:gd name="connsiteX110" fmla="*/ 374716 w 780982"/>
              <a:gd name="connsiteY110" fmla="*/ 481013 h 800125"/>
              <a:gd name="connsiteX111" fmla="*/ 306254 w 780982"/>
              <a:gd name="connsiteY111" fmla="*/ 452438 h 800125"/>
              <a:gd name="connsiteX112" fmla="*/ 306254 w 780982"/>
              <a:gd name="connsiteY112" fmla="*/ 490538 h 800125"/>
              <a:gd name="connsiteX113" fmla="*/ 349712 w 780982"/>
              <a:gd name="connsiteY113" fmla="*/ 509588 h 800125"/>
              <a:gd name="connsiteX114" fmla="*/ 368464 w 780982"/>
              <a:gd name="connsiteY114" fmla="*/ 530125 h 800125"/>
              <a:gd name="connsiteX115" fmla="*/ 390491 w 780982"/>
              <a:gd name="connsiteY115" fmla="*/ 541734 h 800125"/>
              <a:gd name="connsiteX116" fmla="*/ 412219 w 780982"/>
              <a:gd name="connsiteY116" fmla="*/ 530125 h 800125"/>
              <a:gd name="connsiteX117" fmla="*/ 416982 w 780982"/>
              <a:gd name="connsiteY117" fmla="*/ 524172 h 800125"/>
              <a:gd name="connsiteX118" fmla="*/ 431269 w 780982"/>
              <a:gd name="connsiteY118" fmla="*/ 509588 h 800125"/>
              <a:gd name="connsiteX119" fmla="*/ 474430 w 780982"/>
              <a:gd name="connsiteY119" fmla="*/ 490538 h 800125"/>
              <a:gd name="connsiteX120" fmla="*/ 519674 w 780982"/>
              <a:gd name="connsiteY120" fmla="*/ 502147 h 800125"/>
              <a:gd name="connsiteX121" fmla="*/ 519972 w 780982"/>
              <a:gd name="connsiteY121" fmla="*/ 502147 h 800125"/>
              <a:gd name="connsiteX122" fmla="*/ 520864 w 780982"/>
              <a:gd name="connsiteY122" fmla="*/ 502444 h 800125"/>
              <a:gd name="connsiteX123" fmla="*/ 521162 w 780982"/>
              <a:gd name="connsiteY123" fmla="*/ 502741 h 800125"/>
              <a:gd name="connsiteX124" fmla="*/ 554797 w 780982"/>
              <a:gd name="connsiteY124" fmla="*/ 576263 h 800125"/>
              <a:gd name="connsiteX125" fmla="*/ 478894 w 780982"/>
              <a:gd name="connsiteY125" fmla="*/ 706934 h 800125"/>
              <a:gd name="connsiteX126" fmla="*/ 390491 w 780982"/>
              <a:gd name="connsiteY126" fmla="*/ 759619 h 800125"/>
              <a:gd name="connsiteX127" fmla="*/ 302087 w 780982"/>
              <a:gd name="connsiteY127" fmla="*/ 706636 h 800125"/>
              <a:gd name="connsiteX128" fmla="*/ 226185 w 780982"/>
              <a:gd name="connsiteY128" fmla="*/ 576263 h 800125"/>
              <a:gd name="connsiteX129" fmla="*/ 237197 w 780982"/>
              <a:gd name="connsiteY129" fmla="*/ 526852 h 800125"/>
              <a:gd name="connsiteX130" fmla="*/ 306254 w 780982"/>
              <a:gd name="connsiteY130" fmla="*/ 490538 h 800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</a:cxnLst>
            <a:rect l="l" t="t" r="r" b="b"/>
            <a:pathLst>
              <a:path w="780982" h="800125">
                <a:moveTo>
                  <a:pt x="390491" y="0"/>
                </a:moveTo>
                <a:cubicBezTo>
                  <a:pt x="341934" y="0"/>
                  <a:pt x="302087" y="39939"/>
                  <a:pt x="302087" y="88403"/>
                </a:cubicBezTo>
                <a:cubicBezTo>
                  <a:pt x="302087" y="136869"/>
                  <a:pt x="341934" y="176510"/>
                  <a:pt x="390491" y="176510"/>
                </a:cubicBezTo>
                <a:cubicBezTo>
                  <a:pt x="439047" y="176510"/>
                  <a:pt x="478894" y="136869"/>
                  <a:pt x="478894" y="88403"/>
                </a:cubicBezTo>
                <a:cubicBezTo>
                  <a:pt x="478894" y="39939"/>
                  <a:pt x="439047" y="0"/>
                  <a:pt x="390491" y="0"/>
                </a:cubicBezTo>
                <a:close/>
                <a:moveTo>
                  <a:pt x="390491" y="38100"/>
                </a:moveTo>
                <a:cubicBezTo>
                  <a:pt x="418437" y="38100"/>
                  <a:pt x="440794" y="60510"/>
                  <a:pt x="440794" y="88403"/>
                </a:cubicBezTo>
                <a:cubicBezTo>
                  <a:pt x="440794" y="116297"/>
                  <a:pt x="418437" y="138410"/>
                  <a:pt x="390491" y="138410"/>
                </a:cubicBezTo>
                <a:cubicBezTo>
                  <a:pt x="362545" y="138410"/>
                  <a:pt x="340187" y="116297"/>
                  <a:pt x="340187" y="88403"/>
                </a:cubicBezTo>
                <a:cubicBezTo>
                  <a:pt x="340187" y="60510"/>
                  <a:pt x="362545" y="38100"/>
                  <a:pt x="390491" y="38100"/>
                </a:cubicBezTo>
                <a:close/>
                <a:moveTo>
                  <a:pt x="124684" y="55364"/>
                </a:moveTo>
                <a:cubicBezTo>
                  <a:pt x="83778" y="55364"/>
                  <a:pt x="50269" y="88949"/>
                  <a:pt x="50269" y="129778"/>
                </a:cubicBezTo>
                <a:cubicBezTo>
                  <a:pt x="50269" y="170607"/>
                  <a:pt x="83778" y="204192"/>
                  <a:pt x="124684" y="204192"/>
                </a:cubicBezTo>
                <a:cubicBezTo>
                  <a:pt x="165589" y="204192"/>
                  <a:pt x="199097" y="170607"/>
                  <a:pt x="199097" y="129778"/>
                </a:cubicBezTo>
                <a:cubicBezTo>
                  <a:pt x="199097" y="88949"/>
                  <a:pt x="165589" y="55364"/>
                  <a:pt x="124684" y="55364"/>
                </a:cubicBezTo>
                <a:close/>
                <a:moveTo>
                  <a:pt x="656297" y="55364"/>
                </a:moveTo>
                <a:cubicBezTo>
                  <a:pt x="615392" y="55364"/>
                  <a:pt x="581884" y="88949"/>
                  <a:pt x="581884" y="129778"/>
                </a:cubicBezTo>
                <a:cubicBezTo>
                  <a:pt x="581884" y="170607"/>
                  <a:pt x="615392" y="204192"/>
                  <a:pt x="656297" y="204192"/>
                </a:cubicBezTo>
                <a:cubicBezTo>
                  <a:pt x="697203" y="204192"/>
                  <a:pt x="730712" y="170607"/>
                  <a:pt x="730712" y="129778"/>
                </a:cubicBezTo>
                <a:cubicBezTo>
                  <a:pt x="730712" y="88949"/>
                  <a:pt x="697203" y="55364"/>
                  <a:pt x="656297" y="55364"/>
                </a:cubicBezTo>
                <a:close/>
                <a:moveTo>
                  <a:pt x="124684" y="93464"/>
                </a:moveTo>
                <a:cubicBezTo>
                  <a:pt x="144980" y="93464"/>
                  <a:pt x="160997" y="109520"/>
                  <a:pt x="160997" y="129778"/>
                </a:cubicBezTo>
                <a:cubicBezTo>
                  <a:pt x="160997" y="150036"/>
                  <a:pt x="144980" y="166092"/>
                  <a:pt x="124684" y="166092"/>
                </a:cubicBezTo>
                <a:cubicBezTo>
                  <a:pt x="104387" y="166092"/>
                  <a:pt x="88369" y="150036"/>
                  <a:pt x="88369" y="129778"/>
                </a:cubicBezTo>
                <a:cubicBezTo>
                  <a:pt x="88369" y="109520"/>
                  <a:pt x="104387" y="93464"/>
                  <a:pt x="124684" y="93464"/>
                </a:cubicBezTo>
                <a:close/>
                <a:moveTo>
                  <a:pt x="656297" y="93464"/>
                </a:moveTo>
                <a:cubicBezTo>
                  <a:pt x="676593" y="93464"/>
                  <a:pt x="692612" y="109520"/>
                  <a:pt x="692612" y="129778"/>
                </a:cubicBezTo>
                <a:cubicBezTo>
                  <a:pt x="692612" y="150036"/>
                  <a:pt x="676593" y="166092"/>
                  <a:pt x="656297" y="166092"/>
                </a:cubicBezTo>
                <a:cubicBezTo>
                  <a:pt x="636002" y="166092"/>
                  <a:pt x="619984" y="150036"/>
                  <a:pt x="619984" y="129778"/>
                </a:cubicBezTo>
                <a:cubicBezTo>
                  <a:pt x="619984" y="109520"/>
                  <a:pt x="636002" y="93464"/>
                  <a:pt x="656297" y="93464"/>
                </a:cubicBezTo>
                <a:close/>
                <a:moveTo>
                  <a:pt x="69617" y="240209"/>
                </a:moveTo>
                <a:cubicBezTo>
                  <a:pt x="65246" y="240604"/>
                  <a:pt x="61146" y="242497"/>
                  <a:pt x="58009" y="245566"/>
                </a:cubicBezTo>
                <a:lnTo>
                  <a:pt x="5621" y="297656"/>
                </a:lnTo>
                <a:cubicBezTo>
                  <a:pt x="1237" y="302014"/>
                  <a:pt x="-761" y="308229"/>
                  <a:pt x="264" y="314325"/>
                </a:cubicBezTo>
                <a:lnTo>
                  <a:pt x="41638" y="556617"/>
                </a:lnTo>
                <a:cubicBezTo>
                  <a:pt x="43228" y="565732"/>
                  <a:pt x="51138" y="572385"/>
                  <a:pt x="60391" y="572394"/>
                </a:cubicBezTo>
                <a:lnTo>
                  <a:pt x="129447" y="572394"/>
                </a:lnTo>
                <a:cubicBezTo>
                  <a:pt x="139967" y="572541"/>
                  <a:pt x="148617" y="564133"/>
                  <a:pt x="148765" y="553612"/>
                </a:cubicBezTo>
                <a:cubicBezTo>
                  <a:pt x="148914" y="543091"/>
                  <a:pt x="140505" y="534442"/>
                  <a:pt x="129984" y="534294"/>
                </a:cubicBezTo>
                <a:cubicBezTo>
                  <a:pt x="129805" y="534291"/>
                  <a:pt x="129626" y="534291"/>
                  <a:pt x="129447" y="534294"/>
                </a:cubicBezTo>
                <a:lnTo>
                  <a:pt x="76463" y="534294"/>
                </a:lnTo>
                <a:lnTo>
                  <a:pt x="39554" y="317600"/>
                </a:lnTo>
                <a:lnTo>
                  <a:pt x="79142" y="278309"/>
                </a:lnTo>
                <a:lnTo>
                  <a:pt x="188382" y="278309"/>
                </a:lnTo>
                <a:cubicBezTo>
                  <a:pt x="198903" y="278457"/>
                  <a:pt x="207553" y="270049"/>
                  <a:pt x="207701" y="259528"/>
                </a:cubicBezTo>
                <a:cubicBezTo>
                  <a:pt x="207850" y="249006"/>
                  <a:pt x="199441" y="240357"/>
                  <a:pt x="188920" y="240209"/>
                </a:cubicBezTo>
                <a:cubicBezTo>
                  <a:pt x="188741" y="240206"/>
                  <a:pt x="188562" y="240206"/>
                  <a:pt x="188382" y="240209"/>
                </a:cubicBezTo>
                <a:lnTo>
                  <a:pt x="71403" y="240209"/>
                </a:lnTo>
                <a:cubicBezTo>
                  <a:pt x="70808" y="240181"/>
                  <a:pt x="70213" y="240181"/>
                  <a:pt x="69617" y="240209"/>
                </a:cubicBezTo>
                <a:close/>
                <a:moveTo>
                  <a:pt x="590516" y="240209"/>
                </a:moveTo>
                <a:cubicBezTo>
                  <a:pt x="579995" y="240782"/>
                  <a:pt x="571932" y="249778"/>
                  <a:pt x="572506" y="260298"/>
                </a:cubicBezTo>
                <a:cubicBezTo>
                  <a:pt x="573080" y="270820"/>
                  <a:pt x="582075" y="278883"/>
                  <a:pt x="592595" y="278309"/>
                </a:cubicBezTo>
                <a:cubicBezTo>
                  <a:pt x="592597" y="278309"/>
                  <a:pt x="592598" y="278309"/>
                  <a:pt x="592600" y="278309"/>
                </a:cubicBezTo>
                <a:lnTo>
                  <a:pt x="701839" y="278309"/>
                </a:lnTo>
                <a:lnTo>
                  <a:pt x="741428" y="317600"/>
                </a:lnTo>
                <a:lnTo>
                  <a:pt x="704519" y="534294"/>
                </a:lnTo>
                <a:lnTo>
                  <a:pt x="651535" y="534294"/>
                </a:lnTo>
                <a:cubicBezTo>
                  <a:pt x="641015" y="534145"/>
                  <a:pt x="632365" y="542553"/>
                  <a:pt x="632216" y="553074"/>
                </a:cubicBezTo>
                <a:cubicBezTo>
                  <a:pt x="632068" y="563595"/>
                  <a:pt x="640476" y="572244"/>
                  <a:pt x="650998" y="572394"/>
                </a:cubicBezTo>
                <a:cubicBezTo>
                  <a:pt x="651177" y="572395"/>
                  <a:pt x="651356" y="572395"/>
                  <a:pt x="651535" y="572394"/>
                </a:cubicBezTo>
                <a:lnTo>
                  <a:pt x="720591" y="572394"/>
                </a:lnTo>
                <a:cubicBezTo>
                  <a:pt x="729844" y="572385"/>
                  <a:pt x="737753" y="565732"/>
                  <a:pt x="739344" y="556617"/>
                </a:cubicBezTo>
                <a:lnTo>
                  <a:pt x="780719" y="314325"/>
                </a:lnTo>
                <a:cubicBezTo>
                  <a:pt x="781743" y="308229"/>
                  <a:pt x="779745" y="302014"/>
                  <a:pt x="775360" y="297656"/>
                </a:cubicBezTo>
                <a:lnTo>
                  <a:pt x="722972" y="245566"/>
                </a:lnTo>
                <a:cubicBezTo>
                  <a:pt x="719383" y="242094"/>
                  <a:pt x="714573" y="240170"/>
                  <a:pt x="709578" y="240209"/>
                </a:cubicBezTo>
                <a:lnTo>
                  <a:pt x="592600" y="240209"/>
                </a:lnTo>
                <a:cubicBezTo>
                  <a:pt x="591906" y="240171"/>
                  <a:pt x="591210" y="240171"/>
                  <a:pt x="590516" y="240209"/>
                </a:cubicBezTo>
                <a:close/>
                <a:moveTo>
                  <a:pt x="309231" y="245864"/>
                </a:moveTo>
                <a:cubicBezTo>
                  <a:pt x="304859" y="246259"/>
                  <a:pt x="300759" y="248152"/>
                  <a:pt x="297622" y="251222"/>
                </a:cubicBezTo>
                <a:lnTo>
                  <a:pt x="245532" y="303014"/>
                </a:lnTo>
                <a:cubicBezTo>
                  <a:pt x="241147" y="307372"/>
                  <a:pt x="239150" y="313587"/>
                  <a:pt x="240175" y="319683"/>
                </a:cubicBezTo>
                <a:lnTo>
                  <a:pt x="254760" y="408384"/>
                </a:lnTo>
                <a:cubicBezTo>
                  <a:pt x="255547" y="418877"/>
                  <a:pt x="264691" y="426745"/>
                  <a:pt x="275184" y="425957"/>
                </a:cubicBezTo>
                <a:cubicBezTo>
                  <a:pt x="285677" y="425169"/>
                  <a:pt x="293544" y="416024"/>
                  <a:pt x="292757" y="405533"/>
                </a:cubicBezTo>
                <a:cubicBezTo>
                  <a:pt x="292678" y="404487"/>
                  <a:pt x="292514" y="403449"/>
                  <a:pt x="292264" y="402431"/>
                </a:cubicBezTo>
                <a:lnTo>
                  <a:pt x="279167" y="323255"/>
                </a:lnTo>
                <a:lnTo>
                  <a:pt x="318756" y="283964"/>
                </a:lnTo>
                <a:lnTo>
                  <a:pt x="462226" y="283964"/>
                </a:lnTo>
                <a:lnTo>
                  <a:pt x="501814" y="323255"/>
                </a:lnTo>
                <a:lnTo>
                  <a:pt x="488717" y="402431"/>
                </a:lnTo>
                <a:cubicBezTo>
                  <a:pt x="486217" y="412652"/>
                  <a:pt x="492476" y="422964"/>
                  <a:pt x="502696" y="425465"/>
                </a:cubicBezTo>
                <a:cubicBezTo>
                  <a:pt x="512918" y="427965"/>
                  <a:pt x="523229" y="421706"/>
                  <a:pt x="525730" y="411486"/>
                </a:cubicBezTo>
                <a:cubicBezTo>
                  <a:pt x="525979" y="410467"/>
                  <a:pt x="526144" y="409430"/>
                  <a:pt x="526222" y="408384"/>
                </a:cubicBezTo>
                <a:lnTo>
                  <a:pt x="540807" y="319683"/>
                </a:lnTo>
                <a:cubicBezTo>
                  <a:pt x="541832" y="313587"/>
                  <a:pt x="539834" y="307372"/>
                  <a:pt x="535450" y="303014"/>
                </a:cubicBezTo>
                <a:lnTo>
                  <a:pt x="483360" y="251222"/>
                </a:lnTo>
                <a:cubicBezTo>
                  <a:pt x="479770" y="247749"/>
                  <a:pt x="474960" y="245825"/>
                  <a:pt x="469966" y="245864"/>
                </a:cubicBezTo>
                <a:lnTo>
                  <a:pt x="311016" y="245864"/>
                </a:lnTo>
                <a:cubicBezTo>
                  <a:pt x="310422" y="245836"/>
                  <a:pt x="309826" y="245836"/>
                  <a:pt x="309231" y="245864"/>
                </a:cubicBezTo>
                <a:close/>
                <a:moveTo>
                  <a:pt x="306254" y="452438"/>
                </a:moveTo>
                <a:cubicBezTo>
                  <a:pt x="284990" y="452438"/>
                  <a:pt x="231826" y="458129"/>
                  <a:pt x="203860" y="508397"/>
                </a:cubicBezTo>
                <a:cubicBezTo>
                  <a:pt x="193056" y="527863"/>
                  <a:pt x="188085" y="550830"/>
                  <a:pt x="188085" y="576263"/>
                </a:cubicBezTo>
                <a:cubicBezTo>
                  <a:pt x="188085" y="646545"/>
                  <a:pt x="232899" y="700067"/>
                  <a:pt x="278275" y="736402"/>
                </a:cubicBezTo>
                <a:cubicBezTo>
                  <a:pt x="323650" y="772737"/>
                  <a:pt x="370778" y="793521"/>
                  <a:pt x="383050" y="798612"/>
                </a:cubicBezTo>
                <a:cubicBezTo>
                  <a:pt x="387805" y="800630"/>
                  <a:pt x="393177" y="800630"/>
                  <a:pt x="397932" y="798612"/>
                </a:cubicBezTo>
                <a:cubicBezTo>
                  <a:pt x="410200" y="793530"/>
                  <a:pt x="457331" y="773022"/>
                  <a:pt x="502707" y="736700"/>
                </a:cubicBezTo>
                <a:cubicBezTo>
                  <a:pt x="548084" y="700376"/>
                  <a:pt x="592897" y="646596"/>
                  <a:pt x="592897" y="576263"/>
                </a:cubicBezTo>
                <a:cubicBezTo>
                  <a:pt x="592897" y="530275"/>
                  <a:pt x="575108" y="491236"/>
                  <a:pt x="540807" y="470000"/>
                </a:cubicBezTo>
                <a:cubicBezTo>
                  <a:pt x="540320" y="469780"/>
                  <a:pt x="539823" y="469582"/>
                  <a:pt x="539319" y="469403"/>
                </a:cubicBezTo>
                <a:cubicBezTo>
                  <a:pt x="539198" y="469309"/>
                  <a:pt x="539145" y="469173"/>
                  <a:pt x="539022" y="469106"/>
                </a:cubicBezTo>
                <a:cubicBezTo>
                  <a:pt x="538922" y="469105"/>
                  <a:pt x="538823" y="469105"/>
                  <a:pt x="538724" y="469106"/>
                </a:cubicBezTo>
                <a:cubicBezTo>
                  <a:pt x="538428" y="469000"/>
                  <a:pt x="538131" y="468901"/>
                  <a:pt x="537831" y="468809"/>
                </a:cubicBezTo>
                <a:cubicBezTo>
                  <a:pt x="537831" y="468709"/>
                  <a:pt x="537831" y="468610"/>
                  <a:pt x="537831" y="468511"/>
                </a:cubicBezTo>
                <a:cubicBezTo>
                  <a:pt x="537632" y="468508"/>
                  <a:pt x="537434" y="468508"/>
                  <a:pt x="537235" y="468511"/>
                </a:cubicBezTo>
                <a:cubicBezTo>
                  <a:pt x="536938" y="468339"/>
                  <a:pt x="536641" y="468375"/>
                  <a:pt x="536342" y="468213"/>
                </a:cubicBezTo>
                <a:cubicBezTo>
                  <a:pt x="536047" y="468107"/>
                  <a:pt x="535750" y="468007"/>
                  <a:pt x="535450" y="467916"/>
                </a:cubicBezTo>
                <a:cubicBezTo>
                  <a:pt x="512780" y="455531"/>
                  <a:pt x="489922" y="452438"/>
                  <a:pt x="474430" y="452438"/>
                </a:cubicBezTo>
                <a:cubicBezTo>
                  <a:pt x="445140" y="452438"/>
                  <a:pt x="422036" y="467322"/>
                  <a:pt x="406266" y="481013"/>
                </a:cubicBezTo>
                <a:cubicBezTo>
                  <a:pt x="399265" y="487091"/>
                  <a:pt x="394086" y="492813"/>
                  <a:pt x="389896" y="497681"/>
                </a:cubicBezTo>
                <a:cubicBezTo>
                  <a:pt x="385737" y="492470"/>
                  <a:pt x="384083" y="489156"/>
                  <a:pt x="374716" y="481013"/>
                </a:cubicBezTo>
                <a:cubicBezTo>
                  <a:pt x="358956" y="467313"/>
                  <a:pt x="335596" y="452438"/>
                  <a:pt x="306254" y="452438"/>
                </a:cubicBezTo>
                <a:close/>
                <a:moveTo>
                  <a:pt x="306254" y="490538"/>
                </a:moveTo>
                <a:cubicBezTo>
                  <a:pt x="322208" y="490538"/>
                  <a:pt x="337867" y="499290"/>
                  <a:pt x="349712" y="509588"/>
                </a:cubicBezTo>
                <a:cubicBezTo>
                  <a:pt x="361557" y="519885"/>
                  <a:pt x="370303" y="532869"/>
                  <a:pt x="368464" y="530125"/>
                </a:cubicBezTo>
                <a:cubicBezTo>
                  <a:pt x="373348" y="537446"/>
                  <a:pt x="381730" y="541734"/>
                  <a:pt x="390491" y="541734"/>
                </a:cubicBezTo>
                <a:cubicBezTo>
                  <a:pt x="399252" y="541734"/>
                  <a:pt x="407337" y="537446"/>
                  <a:pt x="412219" y="530125"/>
                </a:cubicBezTo>
                <a:cubicBezTo>
                  <a:pt x="411002" y="531940"/>
                  <a:pt x="413684" y="528115"/>
                  <a:pt x="416982" y="524172"/>
                </a:cubicBezTo>
                <a:cubicBezTo>
                  <a:pt x="420280" y="520232"/>
                  <a:pt x="425333" y="514741"/>
                  <a:pt x="431269" y="509588"/>
                </a:cubicBezTo>
                <a:cubicBezTo>
                  <a:pt x="443142" y="499281"/>
                  <a:pt x="458575" y="490538"/>
                  <a:pt x="474430" y="490538"/>
                </a:cubicBezTo>
                <a:cubicBezTo>
                  <a:pt x="486339" y="490538"/>
                  <a:pt x="503879" y="492683"/>
                  <a:pt x="519674" y="502147"/>
                </a:cubicBezTo>
                <a:cubicBezTo>
                  <a:pt x="519773" y="502147"/>
                  <a:pt x="519872" y="502147"/>
                  <a:pt x="519972" y="502147"/>
                </a:cubicBezTo>
                <a:cubicBezTo>
                  <a:pt x="520256" y="502318"/>
                  <a:pt x="520577" y="502291"/>
                  <a:pt x="520864" y="502444"/>
                </a:cubicBezTo>
                <a:cubicBezTo>
                  <a:pt x="520986" y="502539"/>
                  <a:pt x="521040" y="502684"/>
                  <a:pt x="521162" y="502741"/>
                </a:cubicBezTo>
                <a:cubicBezTo>
                  <a:pt x="543167" y="516540"/>
                  <a:pt x="554797" y="539637"/>
                  <a:pt x="554797" y="576263"/>
                </a:cubicBezTo>
                <a:cubicBezTo>
                  <a:pt x="554797" y="630147"/>
                  <a:pt x="519606" y="674344"/>
                  <a:pt x="478894" y="706934"/>
                </a:cubicBezTo>
                <a:cubicBezTo>
                  <a:pt x="442214" y="736296"/>
                  <a:pt x="405562" y="753047"/>
                  <a:pt x="390491" y="759619"/>
                </a:cubicBezTo>
                <a:cubicBezTo>
                  <a:pt x="375320" y="752986"/>
                  <a:pt x="338664" y="735926"/>
                  <a:pt x="302087" y="706636"/>
                </a:cubicBezTo>
                <a:cubicBezTo>
                  <a:pt x="261371" y="674032"/>
                  <a:pt x="226185" y="630081"/>
                  <a:pt x="226185" y="576263"/>
                </a:cubicBezTo>
                <a:cubicBezTo>
                  <a:pt x="226185" y="555836"/>
                  <a:pt x="230181" y="539494"/>
                  <a:pt x="237197" y="526852"/>
                </a:cubicBezTo>
                <a:cubicBezTo>
                  <a:pt x="255644" y="493696"/>
                  <a:pt x="291313" y="490538"/>
                  <a:pt x="306254" y="490538"/>
                </a:cubicBezTo>
                <a:close/>
              </a:path>
            </a:pathLst>
          </a:custGeom>
          <a:solidFill>
            <a:srgbClr val="ED2939"/>
          </a:solidFill>
          <a:ln w="38100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678" dirty="0"/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3802A7C0-4794-4189-A01C-90DE393CBB04}"/>
              </a:ext>
            </a:extLst>
          </p:cNvPr>
          <p:cNvGrpSpPr/>
          <p:nvPr/>
        </p:nvGrpSpPr>
        <p:grpSpPr>
          <a:xfrm>
            <a:off x="6026803" y="5711904"/>
            <a:ext cx="423921" cy="375491"/>
            <a:chOff x="4103287" y="683315"/>
            <a:chExt cx="3985914" cy="4271970"/>
          </a:xfrm>
          <a:solidFill>
            <a:srgbClr val="5A245A"/>
          </a:solidFill>
        </p:grpSpPr>
        <p:sp>
          <p:nvSpPr>
            <p:cNvPr id="47" name="Graphic 47">
              <a:extLst>
                <a:ext uri="{FF2B5EF4-FFF2-40B4-BE49-F238E27FC236}">
                  <a16:creationId xmlns:a16="http://schemas.microsoft.com/office/drawing/2014/main" id="{29E5474E-2F72-4E3E-8526-749D9F638A30}"/>
                </a:ext>
              </a:extLst>
            </p:cNvPr>
            <p:cNvSpPr/>
            <p:nvPr/>
          </p:nvSpPr>
          <p:spPr>
            <a:xfrm>
              <a:off x="5424392" y="1874329"/>
              <a:ext cx="778763" cy="778763"/>
            </a:xfrm>
            <a:custGeom>
              <a:avLst/>
              <a:gdLst>
                <a:gd name="connsiteX0" fmla="*/ 389477 w 778763"/>
                <a:gd name="connsiteY0" fmla="*/ 0 h 778763"/>
                <a:gd name="connsiteX1" fmla="*/ 0 w 778763"/>
                <a:gd name="connsiteY1" fmla="*/ 389287 h 778763"/>
                <a:gd name="connsiteX2" fmla="*/ 389287 w 778763"/>
                <a:gd name="connsiteY2" fmla="*/ 778764 h 778763"/>
                <a:gd name="connsiteX3" fmla="*/ 778764 w 778763"/>
                <a:gd name="connsiteY3" fmla="*/ 389477 h 778763"/>
                <a:gd name="connsiteX4" fmla="*/ 778764 w 778763"/>
                <a:gd name="connsiteY4" fmla="*/ 389287 h 778763"/>
                <a:gd name="connsiteX5" fmla="*/ 389477 w 778763"/>
                <a:gd name="connsiteY5" fmla="*/ 0 h 778763"/>
                <a:gd name="connsiteX6" fmla="*/ 389477 w 778763"/>
                <a:gd name="connsiteY6" fmla="*/ 683705 h 778763"/>
                <a:gd name="connsiteX7" fmla="*/ 94964 w 778763"/>
                <a:gd name="connsiteY7" fmla="*/ 389382 h 778763"/>
                <a:gd name="connsiteX8" fmla="*/ 389287 w 778763"/>
                <a:gd name="connsiteY8" fmla="*/ 94869 h 778763"/>
                <a:gd name="connsiteX9" fmla="*/ 683800 w 778763"/>
                <a:gd name="connsiteY9" fmla="*/ 389192 h 778763"/>
                <a:gd name="connsiteX10" fmla="*/ 683800 w 778763"/>
                <a:gd name="connsiteY10" fmla="*/ 389287 h 778763"/>
                <a:gd name="connsiteX11" fmla="*/ 389477 w 778763"/>
                <a:gd name="connsiteY11" fmla="*/ 683705 h 7787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78763" h="778763">
                  <a:moveTo>
                    <a:pt x="389477" y="0"/>
                  </a:moveTo>
                  <a:cubicBezTo>
                    <a:pt x="174431" y="-57"/>
                    <a:pt x="57" y="174241"/>
                    <a:pt x="0" y="389287"/>
                  </a:cubicBezTo>
                  <a:cubicBezTo>
                    <a:pt x="-57" y="604333"/>
                    <a:pt x="174241" y="778707"/>
                    <a:pt x="389287" y="778764"/>
                  </a:cubicBezTo>
                  <a:cubicBezTo>
                    <a:pt x="604333" y="778821"/>
                    <a:pt x="778707" y="604523"/>
                    <a:pt x="778764" y="389477"/>
                  </a:cubicBezTo>
                  <a:cubicBezTo>
                    <a:pt x="778764" y="389411"/>
                    <a:pt x="778764" y="389353"/>
                    <a:pt x="778764" y="389287"/>
                  </a:cubicBezTo>
                  <a:cubicBezTo>
                    <a:pt x="778554" y="174374"/>
                    <a:pt x="604390" y="210"/>
                    <a:pt x="389477" y="0"/>
                  </a:cubicBezTo>
                  <a:close/>
                  <a:moveTo>
                    <a:pt x="389477" y="683705"/>
                  </a:moveTo>
                  <a:cubicBezTo>
                    <a:pt x="226876" y="683762"/>
                    <a:pt x="95021" y="551983"/>
                    <a:pt x="94964" y="389382"/>
                  </a:cubicBezTo>
                  <a:cubicBezTo>
                    <a:pt x="94907" y="226781"/>
                    <a:pt x="226685" y="94926"/>
                    <a:pt x="389287" y="94869"/>
                  </a:cubicBezTo>
                  <a:cubicBezTo>
                    <a:pt x="551888" y="94812"/>
                    <a:pt x="683742" y="226590"/>
                    <a:pt x="683800" y="389192"/>
                  </a:cubicBezTo>
                  <a:cubicBezTo>
                    <a:pt x="683800" y="389220"/>
                    <a:pt x="683800" y="389258"/>
                    <a:pt x="683800" y="389287"/>
                  </a:cubicBezTo>
                  <a:cubicBezTo>
                    <a:pt x="683638" y="551783"/>
                    <a:pt x="551974" y="683495"/>
                    <a:pt x="389477" y="6837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678" dirty="0"/>
            </a:p>
          </p:txBody>
        </p:sp>
        <p:sp>
          <p:nvSpPr>
            <p:cNvPr id="48" name="Graphic 47">
              <a:extLst>
                <a:ext uri="{FF2B5EF4-FFF2-40B4-BE49-F238E27FC236}">
                  <a16:creationId xmlns:a16="http://schemas.microsoft.com/office/drawing/2014/main" id="{803B4647-8066-4BBD-8868-C79A5A3EDF78}"/>
                </a:ext>
              </a:extLst>
            </p:cNvPr>
            <p:cNvSpPr/>
            <p:nvPr/>
          </p:nvSpPr>
          <p:spPr>
            <a:xfrm>
              <a:off x="6262116" y="893635"/>
              <a:ext cx="378237" cy="95250"/>
            </a:xfrm>
            <a:custGeom>
              <a:avLst/>
              <a:gdLst>
                <a:gd name="connsiteX0" fmla="*/ 47625 w 378237"/>
                <a:gd name="connsiteY0" fmla="*/ 95250 h 95250"/>
                <a:gd name="connsiteX1" fmla="*/ 330613 w 378237"/>
                <a:gd name="connsiteY1" fmla="*/ 95250 h 95250"/>
                <a:gd name="connsiteX2" fmla="*/ 378238 w 378237"/>
                <a:gd name="connsiteY2" fmla="*/ 47625 h 95250"/>
                <a:gd name="connsiteX3" fmla="*/ 330613 w 378237"/>
                <a:gd name="connsiteY3" fmla="*/ 0 h 95250"/>
                <a:gd name="connsiteX4" fmla="*/ 47625 w 378237"/>
                <a:gd name="connsiteY4" fmla="*/ 0 h 95250"/>
                <a:gd name="connsiteX5" fmla="*/ 0 w 378237"/>
                <a:gd name="connsiteY5" fmla="*/ 47625 h 95250"/>
                <a:gd name="connsiteX6" fmla="*/ 47625 w 378237"/>
                <a:gd name="connsiteY6" fmla="*/ 95250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78237" h="95250">
                  <a:moveTo>
                    <a:pt x="47625" y="95250"/>
                  </a:moveTo>
                  <a:lnTo>
                    <a:pt x="330613" y="95250"/>
                  </a:lnTo>
                  <a:cubicBezTo>
                    <a:pt x="356911" y="95250"/>
                    <a:pt x="378238" y="73927"/>
                    <a:pt x="378238" y="47625"/>
                  </a:cubicBezTo>
                  <a:cubicBezTo>
                    <a:pt x="378238" y="21323"/>
                    <a:pt x="356911" y="0"/>
                    <a:pt x="330613" y="0"/>
                  </a:cubicBezTo>
                  <a:lnTo>
                    <a:pt x="47625" y="0"/>
                  </a:lnTo>
                  <a:cubicBezTo>
                    <a:pt x="21326" y="0"/>
                    <a:pt x="0" y="21323"/>
                    <a:pt x="0" y="47625"/>
                  </a:cubicBezTo>
                  <a:cubicBezTo>
                    <a:pt x="0" y="73927"/>
                    <a:pt x="21326" y="95250"/>
                    <a:pt x="47625" y="952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678" dirty="0"/>
            </a:p>
          </p:txBody>
        </p:sp>
        <p:sp>
          <p:nvSpPr>
            <p:cNvPr id="49" name="Graphic 47">
              <a:extLst>
                <a:ext uri="{FF2B5EF4-FFF2-40B4-BE49-F238E27FC236}">
                  <a16:creationId xmlns:a16="http://schemas.microsoft.com/office/drawing/2014/main" id="{165C0341-402E-47B0-B1D2-2DDAFEF2885A}"/>
                </a:ext>
              </a:extLst>
            </p:cNvPr>
            <p:cNvSpPr/>
            <p:nvPr/>
          </p:nvSpPr>
          <p:spPr>
            <a:xfrm>
              <a:off x="7187088" y="3191827"/>
              <a:ext cx="378237" cy="95250"/>
            </a:xfrm>
            <a:custGeom>
              <a:avLst/>
              <a:gdLst>
                <a:gd name="connsiteX0" fmla="*/ 0 w 378237"/>
                <a:gd name="connsiteY0" fmla="*/ 47625 h 95250"/>
                <a:gd name="connsiteX1" fmla="*/ 47625 w 378237"/>
                <a:gd name="connsiteY1" fmla="*/ 95250 h 95250"/>
                <a:gd name="connsiteX2" fmla="*/ 330613 w 378237"/>
                <a:gd name="connsiteY2" fmla="*/ 95250 h 95250"/>
                <a:gd name="connsiteX3" fmla="*/ 378238 w 378237"/>
                <a:gd name="connsiteY3" fmla="*/ 47625 h 95250"/>
                <a:gd name="connsiteX4" fmla="*/ 330613 w 378237"/>
                <a:gd name="connsiteY4" fmla="*/ 0 h 95250"/>
                <a:gd name="connsiteX5" fmla="*/ 47435 w 378237"/>
                <a:gd name="connsiteY5" fmla="*/ 0 h 95250"/>
                <a:gd name="connsiteX6" fmla="*/ 0 w 378237"/>
                <a:gd name="connsiteY6" fmla="*/ 47625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78237" h="95250">
                  <a:moveTo>
                    <a:pt x="0" y="47625"/>
                  </a:moveTo>
                  <a:cubicBezTo>
                    <a:pt x="0" y="73923"/>
                    <a:pt x="21327" y="95250"/>
                    <a:pt x="47625" y="95250"/>
                  </a:cubicBezTo>
                  <a:lnTo>
                    <a:pt x="330613" y="95250"/>
                  </a:lnTo>
                  <a:cubicBezTo>
                    <a:pt x="356911" y="95250"/>
                    <a:pt x="378238" y="73923"/>
                    <a:pt x="378238" y="47625"/>
                  </a:cubicBezTo>
                  <a:cubicBezTo>
                    <a:pt x="378238" y="21326"/>
                    <a:pt x="356911" y="0"/>
                    <a:pt x="330613" y="0"/>
                  </a:cubicBezTo>
                  <a:lnTo>
                    <a:pt x="47435" y="0"/>
                  </a:lnTo>
                  <a:cubicBezTo>
                    <a:pt x="21203" y="105"/>
                    <a:pt x="0" y="21393"/>
                    <a:pt x="0" y="4762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678" dirty="0"/>
            </a:p>
          </p:txBody>
        </p:sp>
        <p:sp>
          <p:nvSpPr>
            <p:cNvPr id="50" name="Graphic 47">
              <a:extLst>
                <a:ext uri="{FF2B5EF4-FFF2-40B4-BE49-F238E27FC236}">
                  <a16:creationId xmlns:a16="http://schemas.microsoft.com/office/drawing/2014/main" id="{C2929FE7-3BDD-42AC-B765-8C92240C3991}"/>
                </a:ext>
              </a:extLst>
            </p:cNvPr>
            <p:cNvSpPr/>
            <p:nvPr/>
          </p:nvSpPr>
          <p:spPr>
            <a:xfrm>
              <a:off x="4103287" y="683315"/>
              <a:ext cx="3985914" cy="4271970"/>
            </a:xfrm>
            <a:custGeom>
              <a:avLst/>
              <a:gdLst>
                <a:gd name="connsiteX0" fmla="*/ 3938004 w 3985914"/>
                <a:gd name="connsiteY0" fmla="*/ 4176911 h 4271970"/>
                <a:gd name="connsiteX1" fmla="*/ 3601390 w 3985914"/>
                <a:gd name="connsiteY1" fmla="*/ 4176911 h 4271970"/>
                <a:gd name="connsiteX2" fmla="*/ 3601390 w 3985914"/>
                <a:gd name="connsiteY2" fmla="*/ 2791881 h 4271970"/>
                <a:gd name="connsiteX3" fmla="*/ 3938004 w 3985914"/>
                <a:gd name="connsiteY3" fmla="*/ 2791881 h 4271970"/>
                <a:gd name="connsiteX4" fmla="*/ 3985629 w 3985914"/>
                <a:gd name="connsiteY4" fmla="*/ 2744256 h 4271970"/>
                <a:gd name="connsiteX5" fmla="*/ 3938004 w 3985914"/>
                <a:gd name="connsiteY5" fmla="*/ 2696631 h 4271970"/>
                <a:gd name="connsiteX6" fmla="*/ 3553956 w 3985914"/>
                <a:gd name="connsiteY6" fmla="*/ 2696631 h 4271970"/>
                <a:gd name="connsiteX7" fmla="*/ 3506331 w 3985914"/>
                <a:gd name="connsiteY7" fmla="*/ 2744256 h 4271970"/>
                <a:gd name="connsiteX8" fmla="*/ 3506331 w 3985914"/>
                <a:gd name="connsiteY8" fmla="*/ 2956854 h 4271970"/>
                <a:gd name="connsiteX9" fmla="*/ 3095708 w 3985914"/>
                <a:gd name="connsiteY9" fmla="*/ 2956854 h 4271970"/>
                <a:gd name="connsiteX10" fmla="*/ 2749474 w 3985914"/>
                <a:gd name="connsiteY10" fmla="*/ 2829885 h 4271970"/>
                <a:gd name="connsiteX11" fmla="*/ 2910028 w 3985914"/>
                <a:gd name="connsiteY11" fmla="*/ 2442504 h 4271970"/>
                <a:gd name="connsiteX12" fmla="*/ 2522646 w 3985914"/>
                <a:gd name="connsiteY12" fmla="*/ 2281950 h 4271970"/>
                <a:gd name="connsiteX13" fmla="*/ 2437054 w 3985914"/>
                <a:gd name="connsiteY13" fmla="*/ 2336109 h 4271970"/>
                <a:gd name="connsiteX14" fmla="*/ 2202834 w 3985914"/>
                <a:gd name="connsiteY14" fmla="*/ 2109891 h 4271970"/>
                <a:gd name="connsiteX15" fmla="*/ 2427815 w 3985914"/>
                <a:gd name="connsiteY15" fmla="*/ 1485717 h 4271970"/>
                <a:gd name="connsiteX16" fmla="*/ 2782716 w 3985914"/>
                <a:gd name="connsiteY16" fmla="*/ 1396373 h 4271970"/>
                <a:gd name="connsiteX17" fmla="*/ 3185005 w 3985914"/>
                <a:gd name="connsiteY17" fmla="*/ 1514721 h 4271970"/>
                <a:gd name="connsiteX18" fmla="*/ 3303353 w 3985914"/>
                <a:gd name="connsiteY18" fmla="*/ 1112442 h 4271970"/>
                <a:gd name="connsiteX19" fmla="*/ 2901064 w 3985914"/>
                <a:gd name="connsiteY19" fmla="*/ 994084 h 4271970"/>
                <a:gd name="connsiteX20" fmla="*/ 2746522 w 3985914"/>
                <a:gd name="connsiteY20" fmla="*/ 1254450 h 4271970"/>
                <a:gd name="connsiteX21" fmla="*/ 2751189 w 3985914"/>
                <a:gd name="connsiteY21" fmla="*/ 1306362 h 4271970"/>
                <a:gd name="connsiteX22" fmla="*/ 2409241 w 3985914"/>
                <a:gd name="connsiteY22" fmla="*/ 1392563 h 4271970"/>
                <a:gd name="connsiteX23" fmla="*/ 1758112 w 3985914"/>
                <a:gd name="connsiteY23" fmla="*/ 858496 h 4271970"/>
                <a:gd name="connsiteX24" fmla="*/ 1758112 w 3985914"/>
                <a:gd name="connsiteY24" fmla="*/ 589605 h 4271970"/>
                <a:gd name="connsiteX25" fmla="*/ 2003343 w 3985914"/>
                <a:gd name="connsiteY25" fmla="*/ 249124 h 4271970"/>
                <a:gd name="connsiteX26" fmla="*/ 1662862 w 3985914"/>
                <a:gd name="connsiteY26" fmla="*/ 3892 h 4271970"/>
                <a:gd name="connsiteX27" fmla="*/ 1417631 w 3985914"/>
                <a:gd name="connsiteY27" fmla="*/ 344374 h 4271970"/>
                <a:gd name="connsiteX28" fmla="*/ 1662862 w 3985914"/>
                <a:gd name="connsiteY28" fmla="*/ 589605 h 4271970"/>
                <a:gd name="connsiteX29" fmla="*/ 1662862 w 3985914"/>
                <a:gd name="connsiteY29" fmla="*/ 858496 h 4271970"/>
                <a:gd name="connsiteX30" fmla="*/ 1012019 w 3985914"/>
                <a:gd name="connsiteY30" fmla="*/ 1391039 h 4271970"/>
                <a:gd name="connsiteX31" fmla="*/ 727412 w 3985914"/>
                <a:gd name="connsiteY31" fmla="*/ 1282549 h 4271970"/>
                <a:gd name="connsiteX32" fmla="*/ 524434 w 3985914"/>
                <a:gd name="connsiteY32" fmla="*/ 914998 h 4271970"/>
                <a:gd name="connsiteX33" fmla="*/ 156885 w 3985914"/>
                <a:gd name="connsiteY33" fmla="*/ 1117976 h 4271970"/>
                <a:gd name="connsiteX34" fmla="*/ 359862 w 3985914"/>
                <a:gd name="connsiteY34" fmla="*/ 1485527 h 4271970"/>
                <a:gd name="connsiteX35" fmla="*/ 686931 w 3985914"/>
                <a:gd name="connsiteY35" fmla="*/ 1368274 h 4271970"/>
                <a:gd name="connsiteX36" fmla="*/ 993064 w 3985914"/>
                <a:gd name="connsiteY36" fmla="*/ 1485050 h 4271970"/>
                <a:gd name="connsiteX37" fmla="*/ 1614666 w 3985914"/>
                <a:gd name="connsiteY37" fmla="*/ 2297124 h 4271970"/>
                <a:gd name="connsiteX38" fmla="*/ 2128444 w 3985914"/>
                <a:gd name="connsiteY38" fmla="*/ 2169993 h 4271970"/>
                <a:gd name="connsiteX39" fmla="*/ 2377142 w 3985914"/>
                <a:gd name="connsiteY39" fmla="*/ 2410118 h 4271970"/>
                <a:gd name="connsiteX40" fmla="*/ 2381714 w 3985914"/>
                <a:gd name="connsiteY40" fmla="*/ 2709204 h 4271970"/>
                <a:gd name="connsiteX41" fmla="*/ 2235029 w 3985914"/>
                <a:gd name="connsiteY41" fmla="*/ 2696535 h 4271970"/>
                <a:gd name="connsiteX42" fmla="*/ 1373588 w 3985914"/>
                <a:gd name="connsiteY42" fmla="*/ 2696535 h 4271970"/>
                <a:gd name="connsiteX43" fmla="*/ 1005828 w 3985914"/>
                <a:gd name="connsiteY43" fmla="*/ 2886083 h 4271970"/>
                <a:gd name="connsiteX44" fmla="*/ 375749 w 3985914"/>
                <a:gd name="connsiteY44" fmla="*/ 2659959 h 4271970"/>
                <a:gd name="connsiteX45" fmla="*/ 31039 w 3985914"/>
                <a:gd name="connsiteY45" fmla="*/ 2788547 h 4271970"/>
                <a:gd name="connsiteX46" fmla="*/ 122003 w 3985914"/>
                <a:gd name="connsiteY46" fmla="*/ 3116397 h 4271970"/>
                <a:gd name="connsiteX47" fmla="*/ 1641907 w 3985914"/>
                <a:gd name="connsiteY47" fmla="*/ 3978029 h 4271970"/>
                <a:gd name="connsiteX48" fmla="*/ 2080057 w 3985914"/>
                <a:gd name="connsiteY48" fmla="*/ 4042418 h 4271970"/>
                <a:gd name="connsiteX49" fmla="*/ 3097613 w 3985914"/>
                <a:gd name="connsiteY49" fmla="*/ 3810770 h 4271970"/>
                <a:gd name="connsiteX50" fmla="*/ 3506616 w 3985914"/>
                <a:gd name="connsiteY50" fmla="*/ 3810770 h 4271970"/>
                <a:gd name="connsiteX51" fmla="*/ 3506616 w 3985914"/>
                <a:gd name="connsiteY51" fmla="*/ 4224345 h 4271970"/>
                <a:gd name="connsiteX52" fmla="*/ 3554241 w 3985914"/>
                <a:gd name="connsiteY52" fmla="*/ 4271970 h 4271970"/>
                <a:gd name="connsiteX53" fmla="*/ 3938289 w 3985914"/>
                <a:gd name="connsiteY53" fmla="*/ 4271970 h 4271970"/>
                <a:gd name="connsiteX54" fmla="*/ 3985914 w 3985914"/>
                <a:gd name="connsiteY54" fmla="*/ 4224345 h 4271970"/>
                <a:gd name="connsiteX55" fmla="*/ 3938289 w 3985914"/>
                <a:gd name="connsiteY55" fmla="*/ 4176720 h 4271970"/>
                <a:gd name="connsiteX56" fmla="*/ 3042654 w 3985914"/>
                <a:gd name="connsiteY56" fmla="*/ 1052711 h 4271970"/>
                <a:gd name="connsiteX57" fmla="*/ 3244365 w 3985914"/>
                <a:gd name="connsiteY57" fmla="*/ 1254288 h 4271970"/>
                <a:gd name="connsiteX58" fmla="*/ 3042787 w 3985914"/>
                <a:gd name="connsiteY58" fmla="*/ 1455999 h 4271970"/>
                <a:gd name="connsiteX59" fmla="*/ 2854630 w 3985914"/>
                <a:gd name="connsiteY59" fmla="*/ 1327031 h 4271970"/>
                <a:gd name="connsiteX60" fmla="*/ 2852249 w 3985914"/>
                <a:gd name="connsiteY60" fmla="*/ 1320744 h 4271970"/>
                <a:gd name="connsiteX61" fmla="*/ 2976264 w 3985914"/>
                <a:gd name="connsiteY61" fmla="*/ 1063950 h 4271970"/>
                <a:gd name="connsiteX62" fmla="*/ 3042749 w 3985914"/>
                <a:gd name="connsiteY62" fmla="*/ 1052711 h 4271970"/>
                <a:gd name="connsiteX63" fmla="*/ 442614 w 3985914"/>
                <a:gd name="connsiteY63" fmla="*/ 1402659 h 4271970"/>
                <a:gd name="connsiteX64" fmla="*/ 240678 w 3985914"/>
                <a:gd name="connsiteY64" fmla="*/ 1201120 h 4271970"/>
                <a:gd name="connsiteX65" fmla="*/ 442219 w 3985914"/>
                <a:gd name="connsiteY65" fmla="*/ 999180 h 4271970"/>
                <a:gd name="connsiteX66" fmla="*/ 644154 w 3985914"/>
                <a:gd name="connsiteY66" fmla="*/ 1200720 h 4271970"/>
                <a:gd name="connsiteX67" fmla="*/ 625304 w 3985914"/>
                <a:gd name="connsiteY67" fmla="*/ 1286073 h 4271970"/>
                <a:gd name="connsiteX68" fmla="*/ 622351 w 3985914"/>
                <a:gd name="connsiteY68" fmla="*/ 1292169 h 4271970"/>
                <a:gd name="connsiteX69" fmla="*/ 442614 w 3985914"/>
                <a:gd name="connsiteY69" fmla="*/ 1402659 h 4271970"/>
                <a:gd name="connsiteX70" fmla="*/ 1509414 w 3985914"/>
                <a:gd name="connsiteY70" fmla="*/ 296711 h 4271970"/>
                <a:gd name="connsiteX71" fmla="*/ 1710963 w 3985914"/>
                <a:gd name="connsiteY71" fmla="*/ 94972 h 4271970"/>
                <a:gd name="connsiteX72" fmla="*/ 1912703 w 3985914"/>
                <a:gd name="connsiteY72" fmla="*/ 296521 h 4271970"/>
                <a:gd name="connsiteX73" fmla="*/ 1711154 w 3985914"/>
                <a:gd name="connsiteY73" fmla="*/ 498260 h 4271970"/>
                <a:gd name="connsiteX74" fmla="*/ 1711059 w 3985914"/>
                <a:gd name="connsiteY74" fmla="*/ 498260 h 4271970"/>
                <a:gd name="connsiteX75" fmla="*/ 1508938 w 3985914"/>
                <a:gd name="connsiteY75" fmla="*/ 296902 h 4271970"/>
                <a:gd name="connsiteX76" fmla="*/ 1082028 w 3985914"/>
                <a:gd name="connsiteY76" fmla="*/ 1580300 h 4271970"/>
                <a:gd name="connsiteX77" fmla="*/ 1710678 w 3985914"/>
                <a:gd name="connsiteY77" fmla="*/ 951650 h 4271970"/>
                <a:gd name="connsiteX78" fmla="*/ 2339328 w 3985914"/>
                <a:gd name="connsiteY78" fmla="*/ 1580300 h 4271970"/>
                <a:gd name="connsiteX79" fmla="*/ 1710678 w 3985914"/>
                <a:gd name="connsiteY79" fmla="*/ 2208951 h 4271970"/>
                <a:gd name="connsiteX80" fmla="*/ 1082028 w 3985914"/>
                <a:gd name="connsiteY80" fmla="*/ 1580300 h 4271970"/>
                <a:gd name="connsiteX81" fmla="*/ 2635555 w 3985914"/>
                <a:gd name="connsiteY81" fmla="*/ 2354588 h 4271970"/>
                <a:gd name="connsiteX82" fmla="*/ 2837104 w 3985914"/>
                <a:gd name="connsiteY82" fmla="*/ 2556137 h 4271970"/>
                <a:gd name="connsiteX83" fmla="*/ 2635555 w 3985914"/>
                <a:gd name="connsiteY83" fmla="*/ 2757686 h 4271970"/>
                <a:gd name="connsiteX84" fmla="*/ 2434006 w 3985914"/>
                <a:gd name="connsiteY84" fmla="*/ 2556137 h 4271970"/>
                <a:gd name="connsiteX85" fmla="*/ 2635555 w 3985914"/>
                <a:gd name="connsiteY85" fmla="*/ 2354588 h 4271970"/>
                <a:gd name="connsiteX86" fmla="*/ 3092089 w 3985914"/>
                <a:gd name="connsiteY86" fmla="*/ 3715806 h 4271970"/>
                <a:gd name="connsiteX87" fmla="*/ 3081516 w 3985914"/>
                <a:gd name="connsiteY87" fmla="*/ 3716949 h 4271970"/>
                <a:gd name="connsiteX88" fmla="*/ 2059388 w 3985914"/>
                <a:gd name="connsiteY88" fmla="*/ 3949835 h 4271970"/>
                <a:gd name="connsiteX89" fmla="*/ 1689151 w 3985914"/>
                <a:gd name="connsiteY89" fmla="*/ 3895352 h 4271970"/>
                <a:gd name="connsiteX90" fmla="*/ 168771 w 3985914"/>
                <a:gd name="connsiteY90" fmla="*/ 3033816 h 4271970"/>
                <a:gd name="connsiteX91" fmla="*/ 113716 w 3985914"/>
                <a:gd name="connsiteY91" fmla="*/ 2835124 h 4271970"/>
                <a:gd name="connsiteX92" fmla="*/ 343650 w 3985914"/>
                <a:gd name="connsiteY92" fmla="*/ 2749399 h 4271970"/>
                <a:gd name="connsiteX93" fmla="*/ 958679 w 3985914"/>
                <a:gd name="connsiteY93" fmla="*/ 2970093 h 4271970"/>
                <a:gd name="connsiteX94" fmla="*/ 930771 w 3985914"/>
                <a:gd name="connsiteY94" fmla="*/ 3058676 h 4271970"/>
                <a:gd name="connsiteX95" fmla="*/ 1041261 w 3985914"/>
                <a:gd name="connsiteY95" fmla="*/ 3231935 h 4271970"/>
                <a:gd name="connsiteX96" fmla="*/ 2292941 w 3985914"/>
                <a:gd name="connsiteY96" fmla="*/ 3530544 h 4271970"/>
                <a:gd name="connsiteX97" fmla="*/ 2303990 w 3985914"/>
                <a:gd name="connsiteY97" fmla="*/ 3531878 h 4271970"/>
                <a:gd name="connsiteX98" fmla="*/ 2350643 w 3985914"/>
                <a:gd name="connsiteY98" fmla="*/ 3483300 h 4271970"/>
                <a:gd name="connsiteX99" fmla="*/ 2314944 w 3985914"/>
                <a:gd name="connsiteY99" fmla="*/ 3438152 h 4271970"/>
                <a:gd name="connsiteX100" fmla="*/ 1063359 w 3985914"/>
                <a:gd name="connsiteY100" fmla="*/ 3139829 h 4271970"/>
                <a:gd name="connsiteX101" fmla="*/ 1023735 w 3985914"/>
                <a:gd name="connsiteY101" fmla="*/ 3077916 h 4271970"/>
                <a:gd name="connsiteX102" fmla="*/ 1373969 w 3985914"/>
                <a:gd name="connsiteY102" fmla="*/ 2792166 h 4271970"/>
                <a:gd name="connsiteX103" fmla="*/ 2235315 w 3985914"/>
                <a:gd name="connsiteY103" fmla="*/ 2792166 h 4271970"/>
                <a:gd name="connsiteX104" fmla="*/ 2496395 w 3985914"/>
                <a:gd name="connsiteY104" fmla="*/ 2838553 h 4271970"/>
                <a:gd name="connsiteX105" fmla="*/ 3070848 w 3985914"/>
                <a:gd name="connsiteY105" fmla="*/ 3049246 h 4271970"/>
                <a:gd name="connsiteX106" fmla="*/ 3087231 w 3985914"/>
                <a:gd name="connsiteY106" fmla="*/ 3052199 h 4271970"/>
                <a:gd name="connsiteX107" fmla="*/ 3506331 w 3985914"/>
                <a:gd name="connsiteY107" fmla="*/ 3052199 h 4271970"/>
                <a:gd name="connsiteX108" fmla="*/ 3506331 w 3985914"/>
                <a:gd name="connsiteY108" fmla="*/ 3716091 h 4271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</a:cxnLst>
              <a:rect l="l" t="t" r="r" b="b"/>
              <a:pathLst>
                <a:path w="3985914" h="4271970">
                  <a:moveTo>
                    <a:pt x="3938004" y="4176911"/>
                  </a:moveTo>
                  <a:lnTo>
                    <a:pt x="3601390" y="4176911"/>
                  </a:lnTo>
                  <a:lnTo>
                    <a:pt x="3601390" y="2791881"/>
                  </a:lnTo>
                  <a:lnTo>
                    <a:pt x="3938004" y="2791881"/>
                  </a:lnTo>
                  <a:cubicBezTo>
                    <a:pt x="3964302" y="2791881"/>
                    <a:pt x="3985629" y="2770554"/>
                    <a:pt x="3985629" y="2744256"/>
                  </a:cubicBezTo>
                  <a:cubicBezTo>
                    <a:pt x="3985629" y="2717957"/>
                    <a:pt x="3964302" y="2696631"/>
                    <a:pt x="3938004" y="2696631"/>
                  </a:cubicBezTo>
                  <a:lnTo>
                    <a:pt x="3553956" y="2696631"/>
                  </a:lnTo>
                  <a:cubicBezTo>
                    <a:pt x="3527657" y="2696631"/>
                    <a:pt x="3506331" y="2717957"/>
                    <a:pt x="3506331" y="2744256"/>
                  </a:cubicBezTo>
                  <a:lnTo>
                    <a:pt x="3506331" y="2956854"/>
                  </a:lnTo>
                  <a:lnTo>
                    <a:pt x="3095708" y="2956854"/>
                  </a:lnTo>
                  <a:lnTo>
                    <a:pt x="2749474" y="2829885"/>
                  </a:lnTo>
                  <a:cubicBezTo>
                    <a:pt x="2900779" y="2767249"/>
                    <a:pt x="2972664" y="2593818"/>
                    <a:pt x="2910028" y="2442504"/>
                  </a:cubicBezTo>
                  <a:cubicBezTo>
                    <a:pt x="2847391" y="2291199"/>
                    <a:pt x="2673960" y="2219314"/>
                    <a:pt x="2522646" y="2281950"/>
                  </a:cubicBezTo>
                  <a:cubicBezTo>
                    <a:pt x="2491223" y="2294961"/>
                    <a:pt x="2462267" y="2313278"/>
                    <a:pt x="2437054" y="2336109"/>
                  </a:cubicBezTo>
                  <a:lnTo>
                    <a:pt x="2202834" y="2109891"/>
                  </a:lnTo>
                  <a:cubicBezTo>
                    <a:pt x="2374551" y="1950585"/>
                    <a:pt x="2458409" y="1717937"/>
                    <a:pt x="2427815" y="1485717"/>
                  </a:cubicBezTo>
                  <a:lnTo>
                    <a:pt x="2782716" y="1396373"/>
                  </a:lnTo>
                  <a:cubicBezTo>
                    <a:pt x="2861126" y="1540143"/>
                    <a:pt x="3041234" y="1593131"/>
                    <a:pt x="3185005" y="1514721"/>
                  </a:cubicBezTo>
                  <a:cubicBezTo>
                    <a:pt x="3328775" y="1436321"/>
                    <a:pt x="3381763" y="1256212"/>
                    <a:pt x="3303353" y="1112442"/>
                  </a:cubicBezTo>
                  <a:cubicBezTo>
                    <a:pt x="3224943" y="968672"/>
                    <a:pt x="3044835" y="915684"/>
                    <a:pt x="2901064" y="994084"/>
                  </a:cubicBezTo>
                  <a:cubicBezTo>
                    <a:pt x="2805786" y="1046053"/>
                    <a:pt x="2746502" y="1145922"/>
                    <a:pt x="2746522" y="1254450"/>
                  </a:cubicBezTo>
                  <a:cubicBezTo>
                    <a:pt x="2746522" y="1271862"/>
                    <a:pt x="2748083" y="1289236"/>
                    <a:pt x="2751189" y="1306362"/>
                  </a:cubicBezTo>
                  <a:lnTo>
                    <a:pt x="2409241" y="1392563"/>
                  </a:lnTo>
                  <a:cubicBezTo>
                    <a:pt x="2328450" y="1093802"/>
                    <a:pt x="2066903" y="879280"/>
                    <a:pt x="1758112" y="858496"/>
                  </a:cubicBezTo>
                  <a:lnTo>
                    <a:pt x="1758112" y="589605"/>
                  </a:lnTo>
                  <a:cubicBezTo>
                    <a:pt x="1919856" y="563303"/>
                    <a:pt x="2029651" y="410864"/>
                    <a:pt x="2003343" y="249124"/>
                  </a:cubicBezTo>
                  <a:cubicBezTo>
                    <a:pt x="1977044" y="87383"/>
                    <a:pt x="1824606" y="-22410"/>
                    <a:pt x="1662862" y="3892"/>
                  </a:cubicBezTo>
                  <a:cubicBezTo>
                    <a:pt x="1501118" y="30194"/>
                    <a:pt x="1391323" y="182633"/>
                    <a:pt x="1417631" y="344374"/>
                  </a:cubicBezTo>
                  <a:cubicBezTo>
                    <a:pt x="1438120" y="470356"/>
                    <a:pt x="1536884" y="569118"/>
                    <a:pt x="1662862" y="589605"/>
                  </a:cubicBezTo>
                  <a:lnTo>
                    <a:pt x="1662862" y="858496"/>
                  </a:lnTo>
                  <a:cubicBezTo>
                    <a:pt x="1354586" y="879156"/>
                    <a:pt x="1093296" y="1092954"/>
                    <a:pt x="1012019" y="1391039"/>
                  </a:cubicBezTo>
                  <a:lnTo>
                    <a:pt x="727412" y="1282549"/>
                  </a:lnTo>
                  <a:cubicBezTo>
                    <a:pt x="772856" y="1125006"/>
                    <a:pt x="681978" y="960442"/>
                    <a:pt x="524434" y="914998"/>
                  </a:cubicBezTo>
                  <a:cubicBezTo>
                    <a:pt x="366890" y="869554"/>
                    <a:pt x="202332" y="960433"/>
                    <a:pt x="156885" y="1117976"/>
                  </a:cubicBezTo>
                  <a:cubicBezTo>
                    <a:pt x="111440" y="1275519"/>
                    <a:pt x="202315" y="1440083"/>
                    <a:pt x="359862" y="1485527"/>
                  </a:cubicBezTo>
                  <a:cubicBezTo>
                    <a:pt x="482759" y="1520979"/>
                    <a:pt x="614550" y="1473735"/>
                    <a:pt x="686931" y="1368274"/>
                  </a:cubicBezTo>
                  <a:lnTo>
                    <a:pt x="993064" y="1485050"/>
                  </a:lnTo>
                  <a:cubicBezTo>
                    <a:pt x="940467" y="1880948"/>
                    <a:pt x="1218769" y="2244527"/>
                    <a:pt x="1614666" y="2297124"/>
                  </a:cubicBezTo>
                  <a:cubicBezTo>
                    <a:pt x="1795841" y="2321193"/>
                    <a:pt x="1979406" y="2275778"/>
                    <a:pt x="2128444" y="2169993"/>
                  </a:cubicBezTo>
                  <a:lnTo>
                    <a:pt x="2377142" y="2410118"/>
                  </a:lnTo>
                  <a:cubicBezTo>
                    <a:pt x="2324316" y="2503264"/>
                    <a:pt x="2326069" y="2617716"/>
                    <a:pt x="2381714" y="2709204"/>
                  </a:cubicBezTo>
                  <a:cubicBezTo>
                    <a:pt x="2333270" y="2700784"/>
                    <a:pt x="2284197" y="2696545"/>
                    <a:pt x="2235029" y="2696535"/>
                  </a:cubicBezTo>
                  <a:lnTo>
                    <a:pt x="1373588" y="2696535"/>
                  </a:lnTo>
                  <a:cubicBezTo>
                    <a:pt x="1227655" y="2696916"/>
                    <a:pt x="1090810" y="2767449"/>
                    <a:pt x="1005828" y="2886083"/>
                  </a:cubicBezTo>
                  <a:lnTo>
                    <a:pt x="375749" y="2659959"/>
                  </a:lnTo>
                  <a:cubicBezTo>
                    <a:pt x="244861" y="2612725"/>
                    <a:pt x="99016" y="2667132"/>
                    <a:pt x="31039" y="2788547"/>
                  </a:cubicBezTo>
                  <a:cubicBezTo>
                    <a:pt x="-34083" y="2904237"/>
                    <a:pt x="6583" y="3050799"/>
                    <a:pt x="122003" y="3116397"/>
                  </a:cubicBezTo>
                  <a:lnTo>
                    <a:pt x="1641907" y="3978029"/>
                  </a:lnTo>
                  <a:cubicBezTo>
                    <a:pt x="1774790" y="4053467"/>
                    <a:pt x="1931096" y="4076432"/>
                    <a:pt x="2080057" y="4042418"/>
                  </a:cubicBezTo>
                  <a:lnTo>
                    <a:pt x="3097613" y="3810770"/>
                  </a:lnTo>
                  <a:lnTo>
                    <a:pt x="3506616" y="3810770"/>
                  </a:lnTo>
                  <a:lnTo>
                    <a:pt x="3506616" y="4224345"/>
                  </a:lnTo>
                  <a:cubicBezTo>
                    <a:pt x="3506616" y="4250644"/>
                    <a:pt x="3527943" y="4271970"/>
                    <a:pt x="3554241" y="4271970"/>
                  </a:cubicBezTo>
                  <a:lnTo>
                    <a:pt x="3938289" y="4271970"/>
                  </a:lnTo>
                  <a:cubicBezTo>
                    <a:pt x="3964588" y="4271970"/>
                    <a:pt x="3985914" y="4250644"/>
                    <a:pt x="3985914" y="4224345"/>
                  </a:cubicBezTo>
                  <a:cubicBezTo>
                    <a:pt x="3985914" y="4198047"/>
                    <a:pt x="3964588" y="4176720"/>
                    <a:pt x="3938289" y="4176720"/>
                  </a:cubicBezTo>
                  <a:close/>
                  <a:moveTo>
                    <a:pt x="3042654" y="1052711"/>
                  </a:moveTo>
                  <a:cubicBezTo>
                    <a:pt x="3154020" y="1052673"/>
                    <a:pt x="3244327" y="1142922"/>
                    <a:pt x="3244365" y="1254288"/>
                  </a:cubicBezTo>
                  <a:cubicBezTo>
                    <a:pt x="3244403" y="1365655"/>
                    <a:pt x="3154153" y="1455961"/>
                    <a:pt x="3042787" y="1455999"/>
                  </a:cubicBezTo>
                  <a:cubicBezTo>
                    <a:pt x="2959443" y="1456028"/>
                    <a:pt x="2884672" y="1404774"/>
                    <a:pt x="2854630" y="1327031"/>
                  </a:cubicBezTo>
                  <a:cubicBezTo>
                    <a:pt x="2853992" y="1324878"/>
                    <a:pt x="2853201" y="1322773"/>
                    <a:pt x="2852249" y="1320744"/>
                  </a:cubicBezTo>
                  <a:cubicBezTo>
                    <a:pt x="2815587" y="1215588"/>
                    <a:pt x="2871108" y="1100621"/>
                    <a:pt x="2976264" y="1063950"/>
                  </a:cubicBezTo>
                  <a:cubicBezTo>
                    <a:pt x="2997638" y="1056502"/>
                    <a:pt x="3020108" y="1052701"/>
                    <a:pt x="3042749" y="1052711"/>
                  </a:cubicBezTo>
                  <a:close/>
                  <a:moveTo>
                    <a:pt x="442614" y="1402659"/>
                  </a:moveTo>
                  <a:cubicBezTo>
                    <a:pt x="331197" y="1402764"/>
                    <a:pt x="240786" y="1312534"/>
                    <a:pt x="240678" y="1201120"/>
                  </a:cubicBezTo>
                  <a:cubicBezTo>
                    <a:pt x="240568" y="1089696"/>
                    <a:pt x="330801" y="999285"/>
                    <a:pt x="442219" y="999180"/>
                  </a:cubicBezTo>
                  <a:cubicBezTo>
                    <a:pt x="553638" y="999075"/>
                    <a:pt x="644049" y="1089306"/>
                    <a:pt x="644154" y="1200720"/>
                  </a:cubicBezTo>
                  <a:cubicBezTo>
                    <a:pt x="644182" y="1230209"/>
                    <a:pt x="637753" y="1259346"/>
                    <a:pt x="625304" y="1286073"/>
                  </a:cubicBezTo>
                  <a:cubicBezTo>
                    <a:pt x="624151" y="1288016"/>
                    <a:pt x="623161" y="1290055"/>
                    <a:pt x="622351" y="1292169"/>
                  </a:cubicBezTo>
                  <a:cubicBezTo>
                    <a:pt x="588023" y="1359902"/>
                    <a:pt x="518548" y="1402612"/>
                    <a:pt x="442614" y="1402659"/>
                  </a:cubicBezTo>
                  <a:close/>
                  <a:moveTo>
                    <a:pt x="1509414" y="296711"/>
                  </a:moveTo>
                  <a:cubicBezTo>
                    <a:pt x="1509357" y="185346"/>
                    <a:pt x="1599597" y="95024"/>
                    <a:pt x="1710963" y="94972"/>
                  </a:cubicBezTo>
                  <a:cubicBezTo>
                    <a:pt x="1822330" y="94920"/>
                    <a:pt x="1912646" y="185156"/>
                    <a:pt x="1912703" y="296521"/>
                  </a:cubicBezTo>
                  <a:cubicBezTo>
                    <a:pt x="1912760" y="407886"/>
                    <a:pt x="1822520" y="498208"/>
                    <a:pt x="1711154" y="498260"/>
                  </a:cubicBezTo>
                  <a:cubicBezTo>
                    <a:pt x="1711125" y="498260"/>
                    <a:pt x="1711087" y="498260"/>
                    <a:pt x="1711059" y="498260"/>
                  </a:cubicBezTo>
                  <a:cubicBezTo>
                    <a:pt x="1599683" y="498366"/>
                    <a:pt x="1509252" y="408276"/>
                    <a:pt x="1508938" y="296902"/>
                  </a:cubicBezTo>
                  <a:close/>
                  <a:moveTo>
                    <a:pt x="1082028" y="1580300"/>
                  </a:moveTo>
                  <a:cubicBezTo>
                    <a:pt x="1082028" y="1233105"/>
                    <a:pt x="1363482" y="951650"/>
                    <a:pt x="1710678" y="951650"/>
                  </a:cubicBezTo>
                  <a:cubicBezTo>
                    <a:pt x="2057873" y="951650"/>
                    <a:pt x="2339328" y="1233105"/>
                    <a:pt x="2339328" y="1580300"/>
                  </a:cubicBezTo>
                  <a:cubicBezTo>
                    <a:pt x="2339328" y="1927496"/>
                    <a:pt x="2057873" y="2208951"/>
                    <a:pt x="1710678" y="2208951"/>
                  </a:cubicBezTo>
                  <a:cubicBezTo>
                    <a:pt x="1363634" y="2208579"/>
                    <a:pt x="1082399" y="1927344"/>
                    <a:pt x="1082028" y="1580300"/>
                  </a:cubicBezTo>
                  <a:close/>
                  <a:moveTo>
                    <a:pt x="2635555" y="2354588"/>
                  </a:moveTo>
                  <a:cubicBezTo>
                    <a:pt x="2746864" y="2354588"/>
                    <a:pt x="2837104" y="2444828"/>
                    <a:pt x="2837104" y="2556137"/>
                  </a:cubicBezTo>
                  <a:cubicBezTo>
                    <a:pt x="2837104" y="2667446"/>
                    <a:pt x="2746864" y="2757686"/>
                    <a:pt x="2635555" y="2757686"/>
                  </a:cubicBezTo>
                  <a:cubicBezTo>
                    <a:pt x="2524246" y="2757686"/>
                    <a:pt x="2434006" y="2667446"/>
                    <a:pt x="2434006" y="2556137"/>
                  </a:cubicBezTo>
                  <a:cubicBezTo>
                    <a:pt x="2434159" y="2444894"/>
                    <a:pt x="2524303" y="2354750"/>
                    <a:pt x="2635555" y="2354588"/>
                  </a:cubicBezTo>
                  <a:close/>
                  <a:moveTo>
                    <a:pt x="3092089" y="3715806"/>
                  </a:moveTo>
                  <a:cubicBezTo>
                    <a:pt x="3088536" y="3715796"/>
                    <a:pt x="3084983" y="3716177"/>
                    <a:pt x="3081516" y="3716949"/>
                  </a:cubicBezTo>
                  <a:lnTo>
                    <a:pt x="2059388" y="3949835"/>
                  </a:lnTo>
                  <a:cubicBezTo>
                    <a:pt x="1933505" y="3978534"/>
                    <a:pt x="1801432" y="3959093"/>
                    <a:pt x="1689151" y="3895352"/>
                  </a:cubicBezTo>
                  <a:lnTo>
                    <a:pt x="168771" y="3033816"/>
                  </a:lnTo>
                  <a:cubicBezTo>
                    <a:pt x="98897" y="2994001"/>
                    <a:pt x="74299" y="2905228"/>
                    <a:pt x="113716" y="2835124"/>
                  </a:cubicBezTo>
                  <a:cubicBezTo>
                    <a:pt x="159081" y="2754162"/>
                    <a:pt x="256354" y="2717900"/>
                    <a:pt x="343650" y="2749399"/>
                  </a:cubicBezTo>
                  <a:lnTo>
                    <a:pt x="958679" y="2970093"/>
                  </a:lnTo>
                  <a:cubicBezTo>
                    <a:pt x="946315" y="2998573"/>
                    <a:pt x="936962" y="3028253"/>
                    <a:pt x="930771" y="3058676"/>
                  </a:cubicBezTo>
                  <a:cubicBezTo>
                    <a:pt x="914559" y="3136828"/>
                    <a:pt x="963565" y="3213667"/>
                    <a:pt x="1041261" y="3231935"/>
                  </a:cubicBezTo>
                  <a:lnTo>
                    <a:pt x="2292941" y="3530544"/>
                  </a:lnTo>
                  <a:cubicBezTo>
                    <a:pt x="2296560" y="3531421"/>
                    <a:pt x="2300266" y="3531868"/>
                    <a:pt x="2303990" y="3531878"/>
                  </a:cubicBezTo>
                  <a:cubicBezTo>
                    <a:pt x="2330289" y="3531345"/>
                    <a:pt x="2351177" y="3509599"/>
                    <a:pt x="2350643" y="3483300"/>
                  </a:cubicBezTo>
                  <a:cubicBezTo>
                    <a:pt x="2350215" y="3461945"/>
                    <a:pt x="2335622" y="3443495"/>
                    <a:pt x="2314944" y="3438152"/>
                  </a:cubicBezTo>
                  <a:lnTo>
                    <a:pt x="1063359" y="3139829"/>
                  </a:lnTo>
                  <a:cubicBezTo>
                    <a:pt x="1035555" y="3133342"/>
                    <a:pt x="1017981" y="3105882"/>
                    <a:pt x="1023735" y="3077916"/>
                  </a:cubicBezTo>
                  <a:cubicBezTo>
                    <a:pt x="1058206" y="2911819"/>
                    <a:pt x="1204338" y="2792595"/>
                    <a:pt x="1373969" y="2792166"/>
                  </a:cubicBezTo>
                  <a:lnTo>
                    <a:pt x="2235315" y="2792166"/>
                  </a:lnTo>
                  <a:cubicBezTo>
                    <a:pt x="2324392" y="2792128"/>
                    <a:pt x="2412784" y="2807835"/>
                    <a:pt x="2496395" y="2838553"/>
                  </a:cubicBezTo>
                  <a:lnTo>
                    <a:pt x="3070848" y="3049246"/>
                  </a:lnTo>
                  <a:cubicBezTo>
                    <a:pt x="3076086" y="3051218"/>
                    <a:pt x="3081639" y="3052218"/>
                    <a:pt x="3087231" y="3052199"/>
                  </a:cubicBezTo>
                  <a:lnTo>
                    <a:pt x="3506331" y="3052199"/>
                  </a:lnTo>
                  <a:lnTo>
                    <a:pt x="3506331" y="371609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678" dirty="0"/>
            </a:p>
          </p:txBody>
        </p:sp>
        <p:sp>
          <p:nvSpPr>
            <p:cNvPr id="51" name="Graphic 47">
              <a:extLst>
                <a:ext uri="{FF2B5EF4-FFF2-40B4-BE49-F238E27FC236}">
                  <a16:creationId xmlns:a16="http://schemas.microsoft.com/office/drawing/2014/main" id="{3394D13D-16D6-44B8-A330-E4E6A3C07D71}"/>
                </a:ext>
              </a:extLst>
            </p:cNvPr>
            <p:cNvSpPr/>
            <p:nvPr/>
          </p:nvSpPr>
          <p:spPr>
            <a:xfrm>
              <a:off x="7623524" y="1889950"/>
              <a:ext cx="378237" cy="95250"/>
            </a:xfrm>
            <a:custGeom>
              <a:avLst/>
              <a:gdLst>
                <a:gd name="connsiteX0" fmla="*/ 47625 w 378237"/>
                <a:gd name="connsiteY0" fmla="*/ 95250 h 95250"/>
                <a:gd name="connsiteX1" fmla="*/ 330613 w 378237"/>
                <a:gd name="connsiteY1" fmla="*/ 95250 h 95250"/>
                <a:gd name="connsiteX2" fmla="*/ 378238 w 378237"/>
                <a:gd name="connsiteY2" fmla="*/ 47625 h 95250"/>
                <a:gd name="connsiteX3" fmla="*/ 330613 w 378237"/>
                <a:gd name="connsiteY3" fmla="*/ 0 h 95250"/>
                <a:gd name="connsiteX4" fmla="*/ 47625 w 378237"/>
                <a:gd name="connsiteY4" fmla="*/ 0 h 95250"/>
                <a:gd name="connsiteX5" fmla="*/ 0 w 378237"/>
                <a:gd name="connsiteY5" fmla="*/ 47625 h 95250"/>
                <a:gd name="connsiteX6" fmla="*/ 47625 w 378237"/>
                <a:gd name="connsiteY6" fmla="*/ 95250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78237" h="95250">
                  <a:moveTo>
                    <a:pt x="47625" y="95250"/>
                  </a:moveTo>
                  <a:lnTo>
                    <a:pt x="330613" y="95250"/>
                  </a:lnTo>
                  <a:cubicBezTo>
                    <a:pt x="356911" y="95250"/>
                    <a:pt x="378238" y="73924"/>
                    <a:pt x="378238" y="47625"/>
                  </a:cubicBezTo>
                  <a:cubicBezTo>
                    <a:pt x="378238" y="21326"/>
                    <a:pt x="356911" y="0"/>
                    <a:pt x="330613" y="0"/>
                  </a:cubicBezTo>
                  <a:lnTo>
                    <a:pt x="47625" y="0"/>
                  </a:lnTo>
                  <a:cubicBezTo>
                    <a:pt x="21327" y="0"/>
                    <a:pt x="0" y="21326"/>
                    <a:pt x="0" y="47625"/>
                  </a:cubicBezTo>
                  <a:cubicBezTo>
                    <a:pt x="0" y="73924"/>
                    <a:pt x="21327" y="95250"/>
                    <a:pt x="47625" y="952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678" dirty="0"/>
            </a:p>
          </p:txBody>
        </p:sp>
      </p:grpSp>
      <p:sp>
        <p:nvSpPr>
          <p:cNvPr id="52" name="Rectangle: Rounded Corners 51">
            <a:extLst>
              <a:ext uri="{FF2B5EF4-FFF2-40B4-BE49-F238E27FC236}">
                <a16:creationId xmlns:a16="http://schemas.microsoft.com/office/drawing/2014/main" id="{97B96BEA-6506-441B-8977-832FF05FB52D}"/>
              </a:ext>
            </a:extLst>
          </p:cNvPr>
          <p:cNvSpPr/>
          <p:nvPr/>
        </p:nvSpPr>
        <p:spPr>
          <a:xfrm>
            <a:off x="7955715" y="1477066"/>
            <a:ext cx="6201951" cy="671090"/>
          </a:xfrm>
          <a:prstGeom prst="roundRect">
            <a:avLst>
              <a:gd name="adj" fmla="val 50000"/>
            </a:avLst>
          </a:prstGeom>
          <a:noFill/>
          <a:ln w="19050">
            <a:solidFill>
              <a:srgbClr val="FFA1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373120" tIns="0" bIns="0" rtlCol="0" anchor="ctr"/>
          <a:lstStyle/>
          <a:p>
            <a:pPr defTabSz="1095791">
              <a:defRPr/>
            </a:pPr>
            <a:r>
              <a:rPr lang="en-US" altLang="ja-JP" sz="2397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tainability Policy</a:t>
            </a:r>
          </a:p>
        </p:txBody>
      </p:sp>
      <p:grpSp>
        <p:nvGrpSpPr>
          <p:cNvPr id="53" name="Graphic 239">
            <a:extLst>
              <a:ext uri="{FF2B5EF4-FFF2-40B4-BE49-F238E27FC236}">
                <a16:creationId xmlns:a16="http://schemas.microsoft.com/office/drawing/2014/main" id="{B3E14E13-1898-4A50-9DE6-BD61C7736057}"/>
              </a:ext>
            </a:extLst>
          </p:cNvPr>
          <p:cNvGrpSpPr/>
          <p:nvPr/>
        </p:nvGrpSpPr>
        <p:grpSpPr>
          <a:xfrm>
            <a:off x="9594209" y="1547399"/>
            <a:ext cx="591157" cy="500975"/>
            <a:chOff x="2073532" y="3242938"/>
            <a:chExt cx="837247" cy="885825"/>
          </a:xfrm>
          <a:solidFill>
            <a:srgbClr val="ED2939"/>
          </a:solidFill>
        </p:grpSpPr>
        <p:sp>
          <p:nvSpPr>
            <p:cNvPr id="54" name="Graphic 239">
              <a:extLst>
                <a:ext uri="{FF2B5EF4-FFF2-40B4-BE49-F238E27FC236}">
                  <a16:creationId xmlns:a16="http://schemas.microsoft.com/office/drawing/2014/main" id="{EC0AEF4E-5947-4AD8-8D4C-505198FB3AB9}"/>
                </a:ext>
              </a:extLst>
            </p:cNvPr>
            <p:cNvSpPr/>
            <p:nvPr/>
          </p:nvSpPr>
          <p:spPr>
            <a:xfrm>
              <a:off x="2373532" y="3338188"/>
              <a:ext cx="238162" cy="263842"/>
            </a:xfrm>
            <a:custGeom>
              <a:avLst/>
              <a:gdLst>
                <a:gd name="connsiteX0" fmla="*/ 51473 w 238162"/>
                <a:gd name="connsiteY0" fmla="*/ 236220 h 263842"/>
                <a:gd name="connsiteX1" fmla="*/ 117195 w 238162"/>
                <a:gd name="connsiteY1" fmla="*/ 263843 h 263842"/>
                <a:gd name="connsiteX2" fmla="*/ 119100 w 238162"/>
                <a:gd name="connsiteY2" fmla="*/ 263843 h 263842"/>
                <a:gd name="connsiteX3" fmla="*/ 185775 w 238162"/>
                <a:gd name="connsiteY3" fmla="*/ 237173 h 263842"/>
                <a:gd name="connsiteX4" fmla="*/ 238163 w 238162"/>
                <a:gd name="connsiteY4" fmla="*/ 72390 h 263842"/>
                <a:gd name="connsiteX5" fmla="*/ 228638 w 238162"/>
                <a:gd name="connsiteY5" fmla="*/ 59055 h 263842"/>
                <a:gd name="connsiteX6" fmla="*/ 128625 w 238162"/>
                <a:gd name="connsiteY6" fmla="*/ 2858 h 263842"/>
                <a:gd name="connsiteX7" fmla="*/ 110528 w 238162"/>
                <a:gd name="connsiteY7" fmla="*/ 2858 h 263842"/>
                <a:gd name="connsiteX8" fmla="*/ 9563 w 238162"/>
                <a:gd name="connsiteY8" fmla="*/ 59055 h 263842"/>
                <a:gd name="connsiteX9" fmla="*/ 38 w 238162"/>
                <a:gd name="connsiteY9" fmla="*/ 72390 h 263842"/>
                <a:gd name="connsiteX10" fmla="*/ 51473 w 238162"/>
                <a:gd name="connsiteY10" fmla="*/ 236220 h 263842"/>
                <a:gd name="connsiteX11" fmla="*/ 118148 w 238162"/>
                <a:gd name="connsiteY11" fmla="*/ 31432 h 263842"/>
                <a:gd name="connsiteX12" fmla="*/ 208635 w 238162"/>
                <a:gd name="connsiteY12" fmla="*/ 81915 h 263842"/>
                <a:gd name="connsiteX13" fmla="*/ 166725 w 238162"/>
                <a:gd name="connsiteY13" fmla="*/ 215265 h 263842"/>
                <a:gd name="connsiteX14" fmla="*/ 120053 w 238162"/>
                <a:gd name="connsiteY14" fmla="*/ 235268 h 263842"/>
                <a:gd name="connsiteX15" fmla="*/ 119100 w 238162"/>
                <a:gd name="connsiteY15" fmla="*/ 235268 h 263842"/>
                <a:gd name="connsiteX16" fmla="*/ 118148 w 238162"/>
                <a:gd name="connsiteY16" fmla="*/ 235268 h 263842"/>
                <a:gd name="connsiteX17" fmla="*/ 70523 w 238162"/>
                <a:gd name="connsiteY17" fmla="*/ 215265 h 263842"/>
                <a:gd name="connsiteX18" fmla="*/ 28613 w 238162"/>
                <a:gd name="connsiteY18" fmla="*/ 81915 h 263842"/>
                <a:gd name="connsiteX19" fmla="*/ 118148 w 238162"/>
                <a:gd name="connsiteY19" fmla="*/ 31432 h 263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38162" h="263842">
                  <a:moveTo>
                    <a:pt x="51473" y="236220"/>
                  </a:moveTo>
                  <a:cubicBezTo>
                    <a:pt x="79095" y="260985"/>
                    <a:pt x="107670" y="263843"/>
                    <a:pt x="117195" y="263843"/>
                  </a:cubicBezTo>
                  <a:cubicBezTo>
                    <a:pt x="118148" y="263843"/>
                    <a:pt x="118148" y="263843"/>
                    <a:pt x="119100" y="263843"/>
                  </a:cubicBezTo>
                  <a:cubicBezTo>
                    <a:pt x="125768" y="263843"/>
                    <a:pt x="156248" y="263843"/>
                    <a:pt x="185775" y="237173"/>
                  </a:cubicBezTo>
                  <a:cubicBezTo>
                    <a:pt x="220065" y="204788"/>
                    <a:pt x="238163" y="149543"/>
                    <a:pt x="238163" y="72390"/>
                  </a:cubicBezTo>
                  <a:cubicBezTo>
                    <a:pt x="238163" y="66675"/>
                    <a:pt x="234353" y="60960"/>
                    <a:pt x="228638" y="59055"/>
                  </a:cubicBezTo>
                  <a:cubicBezTo>
                    <a:pt x="190538" y="44768"/>
                    <a:pt x="166725" y="33338"/>
                    <a:pt x="128625" y="2858"/>
                  </a:cubicBezTo>
                  <a:cubicBezTo>
                    <a:pt x="123863" y="-953"/>
                    <a:pt x="116243" y="-953"/>
                    <a:pt x="110528" y="2858"/>
                  </a:cubicBezTo>
                  <a:cubicBezTo>
                    <a:pt x="71475" y="33338"/>
                    <a:pt x="47663" y="44768"/>
                    <a:pt x="9563" y="59055"/>
                  </a:cubicBezTo>
                  <a:cubicBezTo>
                    <a:pt x="3848" y="60960"/>
                    <a:pt x="38" y="66675"/>
                    <a:pt x="38" y="72390"/>
                  </a:cubicBezTo>
                  <a:cubicBezTo>
                    <a:pt x="-915" y="148590"/>
                    <a:pt x="16230" y="204788"/>
                    <a:pt x="51473" y="236220"/>
                  </a:cubicBezTo>
                  <a:close/>
                  <a:moveTo>
                    <a:pt x="118148" y="31432"/>
                  </a:moveTo>
                  <a:cubicBezTo>
                    <a:pt x="151485" y="57150"/>
                    <a:pt x="175298" y="69532"/>
                    <a:pt x="208635" y="81915"/>
                  </a:cubicBezTo>
                  <a:cubicBezTo>
                    <a:pt x="207683" y="144780"/>
                    <a:pt x="192443" y="190500"/>
                    <a:pt x="166725" y="215265"/>
                  </a:cubicBezTo>
                  <a:cubicBezTo>
                    <a:pt x="143865" y="236220"/>
                    <a:pt x="121005" y="235268"/>
                    <a:pt x="120053" y="235268"/>
                  </a:cubicBezTo>
                  <a:cubicBezTo>
                    <a:pt x="120053" y="235268"/>
                    <a:pt x="119100" y="235268"/>
                    <a:pt x="119100" y="235268"/>
                  </a:cubicBezTo>
                  <a:cubicBezTo>
                    <a:pt x="119100" y="235268"/>
                    <a:pt x="118148" y="235268"/>
                    <a:pt x="118148" y="235268"/>
                  </a:cubicBezTo>
                  <a:cubicBezTo>
                    <a:pt x="117195" y="235268"/>
                    <a:pt x="93383" y="236220"/>
                    <a:pt x="70523" y="215265"/>
                  </a:cubicBezTo>
                  <a:cubicBezTo>
                    <a:pt x="43853" y="190500"/>
                    <a:pt x="29565" y="144780"/>
                    <a:pt x="28613" y="81915"/>
                  </a:cubicBezTo>
                  <a:cubicBezTo>
                    <a:pt x="60998" y="69532"/>
                    <a:pt x="84810" y="57150"/>
                    <a:pt x="118148" y="3143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dirty="0"/>
            </a:p>
          </p:txBody>
        </p:sp>
        <p:sp>
          <p:nvSpPr>
            <p:cNvPr id="55" name="Graphic 239">
              <a:extLst>
                <a:ext uri="{FF2B5EF4-FFF2-40B4-BE49-F238E27FC236}">
                  <a16:creationId xmlns:a16="http://schemas.microsoft.com/office/drawing/2014/main" id="{837252B9-D1D8-4EE6-BB4B-8EE138C946B4}"/>
                </a:ext>
              </a:extLst>
            </p:cNvPr>
            <p:cNvSpPr/>
            <p:nvPr/>
          </p:nvSpPr>
          <p:spPr>
            <a:xfrm>
              <a:off x="2073532" y="3242938"/>
              <a:ext cx="837247" cy="885825"/>
            </a:xfrm>
            <a:custGeom>
              <a:avLst/>
              <a:gdLst>
                <a:gd name="connsiteX0" fmla="*/ 751523 w 837247"/>
                <a:gd name="connsiteY0" fmla="*/ 0 h 885825"/>
                <a:gd name="connsiteX1" fmla="*/ 240983 w 837247"/>
                <a:gd name="connsiteY1" fmla="*/ 0 h 885825"/>
                <a:gd name="connsiteX2" fmla="*/ 156210 w 837247"/>
                <a:gd name="connsiteY2" fmla="*/ 92393 h 885825"/>
                <a:gd name="connsiteX3" fmla="*/ 156210 w 837247"/>
                <a:gd name="connsiteY3" fmla="*/ 701040 h 885825"/>
                <a:gd name="connsiteX4" fmla="*/ 14288 w 837247"/>
                <a:gd name="connsiteY4" fmla="*/ 701040 h 885825"/>
                <a:gd name="connsiteX5" fmla="*/ 0 w 837247"/>
                <a:gd name="connsiteY5" fmla="*/ 715328 h 885825"/>
                <a:gd name="connsiteX6" fmla="*/ 0 w 837247"/>
                <a:gd name="connsiteY6" fmla="*/ 793433 h 885825"/>
                <a:gd name="connsiteX7" fmla="*/ 0 w 837247"/>
                <a:gd name="connsiteY7" fmla="*/ 801053 h 885825"/>
                <a:gd name="connsiteX8" fmla="*/ 92393 w 837247"/>
                <a:gd name="connsiteY8" fmla="*/ 885825 h 885825"/>
                <a:gd name="connsiteX9" fmla="*/ 587693 w 837247"/>
                <a:gd name="connsiteY9" fmla="*/ 885825 h 885825"/>
                <a:gd name="connsiteX10" fmla="*/ 655320 w 837247"/>
                <a:gd name="connsiteY10" fmla="*/ 856298 h 885825"/>
                <a:gd name="connsiteX11" fmla="*/ 681038 w 837247"/>
                <a:gd name="connsiteY11" fmla="*/ 792480 h 885825"/>
                <a:gd name="connsiteX12" fmla="*/ 681038 w 837247"/>
                <a:gd name="connsiteY12" fmla="*/ 184785 h 885825"/>
                <a:gd name="connsiteX13" fmla="*/ 822960 w 837247"/>
                <a:gd name="connsiteY13" fmla="*/ 184785 h 885825"/>
                <a:gd name="connsiteX14" fmla="*/ 837248 w 837247"/>
                <a:gd name="connsiteY14" fmla="*/ 170498 h 885825"/>
                <a:gd name="connsiteX15" fmla="*/ 837248 w 837247"/>
                <a:gd name="connsiteY15" fmla="*/ 92393 h 885825"/>
                <a:gd name="connsiteX16" fmla="*/ 751523 w 837247"/>
                <a:gd name="connsiteY16" fmla="*/ 0 h 885825"/>
                <a:gd name="connsiteX17" fmla="*/ 92393 w 837247"/>
                <a:gd name="connsiteY17" fmla="*/ 857250 h 885825"/>
                <a:gd name="connsiteX18" fmla="*/ 28575 w 837247"/>
                <a:gd name="connsiteY18" fmla="*/ 798195 h 885825"/>
                <a:gd name="connsiteX19" fmla="*/ 28575 w 837247"/>
                <a:gd name="connsiteY19" fmla="*/ 792480 h 885825"/>
                <a:gd name="connsiteX20" fmla="*/ 28575 w 837247"/>
                <a:gd name="connsiteY20" fmla="*/ 787718 h 885825"/>
                <a:gd name="connsiteX21" fmla="*/ 28575 w 837247"/>
                <a:gd name="connsiteY21" fmla="*/ 786765 h 885825"/>
                <a:gd name="connsiteX22" fmla="*/ 28575 w 837247"/>
                <a:gd name="connsiteY22" fmla="*/ 729615 h 885825"/>
                <a:gd name="connsiteX23" fmla="*/ 495300 w 837247"/>
                <a:gd name="connsiteY23" fmla="*/ 729615 h 885825"/>
                <a:gd name="connsiteX24" fmla="*/ 495300 w 837247"/>
                <a:gd name="connsiteY24" fmla="*/ 793433 h 885825"/>
                <a:gd name="connsiteX25" fmla="*/ 501968 w 837247"/>
                <a:gd name="connsiteY25" fmla="*/ 827723 h 885825"/>
                <a:gd name="connsiteX26" fmla="*/ 507683 w 837247"/>
                <a:gd name="connsiteY26" fmla="*/ 839153 h 885825"/>
                <a:gd name="connsiteX27" fmla="*/ 508635 w 837247"/>
                <a:gd name="connsiteY27" fmla="*/ 841058 h 885825"/>
                <a:gd name="connsiteX28" fmla="*/ 515303 w 837247"/>
                <a:gd name="connsiteY28" fmla="*/ 850583 h 885825"/>
                <a:gd name="connsiteX29" fmla="*/ 516255 w 837247"/>
                <a:gd name="connsiteY29" fmla="*/ 851535 h 885825"/>
                <a:gd name="connsiteX30" fmla="*/ 520065 w 837247"/>
                <a:gd name="connsiteY30" fmla="*/ 856298 h 885825"/>
                <a:gd name="connsiteX31" fmla="*/ 92393 w 837247"/>
                <a:gd name="connsiteY31" fmla="*/ 856298 h 885825"/>
                <a:gd name="connsiteX32" fmla="*/ 651510 w 837247"/>
                <a:gd name="connsiteY32" fmla="*/ 793433 h 885825"/>
                <a:gd name="connsiteX33" fmla="*/ 634365 w 837247"/>
                <a:gd name="connsiteY33" fmla="*/ 837248 h 885825"/>
                <a:gd name="connsiteX34" fmla="*/ 587693 w 837247"/>
                <a:gd name="connsiteY34" fmla="*/ 857250 h 885825"/>
                <a:gd name="connsiteX35" fmla="*/ 568643 w 837247"/>
                <a:gd name="connsiteY35" fmla="*/ 854393 h 885825"/>
                <a:gd name="connsiteX36" fmla="*/ 528638 w 837247"/>
                <a:gd name="connsiteY36" fmla="*/ 817245 h 885825"/>
                <a:gd name="connsiteX37" fmla="*/ 523875 w 837247"/>
                <a:gd name="connsiteY37" fmla="*/ 793433 h 885825"/>
                <a:gd name="connsiteX38" fmla="*/ 523875 w 837247"/>
                <a:gd name="connsiteY38" fmla="*/ 715328 h 885825"/>
                <a:gd name="connsiteX39" fmla="*/ 509588 w 837247"/>
                <a:gd name="connsiteY39" fmla="*/ 701040 h 885825"/>
                <a:gd name="connsiteX40" fmla="*/ 184785 w 837247"/>
                <a:gd name="connsiteY40" fmla="*/ 701040 h 885825"/>
                <a:gd name="connsiteX41" fmla="*/ 184785 w 837247"/>
                <a:gd name="connsiteY41" fmla="*/ 92393 h 885825"/>
                <a:gd name="connsiteX42" fmla="*/ 243840 w 837247"/>
                <a:gd name="connsiteY42" fmla="*/ 28575 h 885825"/>
                <a:gd name="connsiteX43" fmla="*/ 255270 w 837247"/>
                <a:gd name="connsiteY43" fmla="*/ 28575 h 885825"/>
                <a:gd name="connsiteX44" fmla="*/ 677228 w 837247"/>
                <a:gd name="connsiteY44" fmla="*/ 28575 h 885825"/>
                <a:gd name="connsiteX45" fmla="*/ 676275 w 837247"/>
                <a:gd name="connsiteY45" fmla="*/ 29528 h 885825"/>
                <a:gd name="connsiteX46" fmla="*/ 672465 w 837247"/>
                <a:gd name="connsiteY46" fmla="*/ 34290 h 885825"/>
                <a:gd name="connsiteX47" fmla="*/ 671513 w 837247"/>
                <a:gd name="connsiteY47" fmla="*/ 35243 h 885825"/>
                <a:gd name="connsiteX48" fmla="*/ 667703 w 837247"/>
                <a:gd name="connsiteY48" fmla="*/ 40958 h 885825"/>
                <a:gd name="connsiteX49" fmla="*/ 667703 w 837247"/>
                <a:gd name="connsiteY49" fmla="*/ 40958 h 885825"/>
                <a:gd name="connsiteX50" fmla="*/ 652463 w 837247"/>
                <a:gd name="connsiteY50" fmla="*/ 82868 h 885825"/>
                <a:gd name="connsiteX51" fmla="*/ 652463 w 837247"/>
                <a:gd name="connsiteY51" fmla="*/ 84773 h 885825"/>
                <a:gd name="connsiteX52" fmla="*/ 652463 w 837247"/>
                <a:gd name="connsiteY52" fmla="*/ 85725 h 885825"/>
                <a:gd name="connsiteX53" fmla="*/ 652463 w 837247"/>
                <a:gd name="connsiteY53" fmla="*/ 88583 h 885825"/>
                <a:gd name="connsiteX54" fmla="*/ 652463 w 837247"/>
                <a:gd name="connsiteY54" fmla="*/ 91440 h 885825"/>
                <a:gd name="connsiteX55" fmla="*/ 652463 w 837247"/>
                <a:gd name="connsiteY55" fmla="*/ 95250 h 885825"/>
                <a:gd name="connsiteX56" fmla="*/ 652463 w 837247"/>
                <a:gd name="connsiteY56" fmla="*/ 97155 h 885825"/>
                <a:gd name="connsiteX57" fmla="*/ 652463 w 837247"/>
                <a:gd name="connsiteY57" fmla="*/ 793433 h 885825"/>
                <a:gd name="connsiteX58" fmla="*/ 807720 w 837247"/>
                <a:gd name="connsiteY58" fmla="*/ 156210 h 885825"/>
                <a:gd name="connsiteX59" fmla="*/ 680085 w 837247"/>
                <a:gd name="connsiteY59" fmla="*/ 156210 h 885825"/>
                <a:gd name="connsiteX60" fmla="*/ 680085 w 837247"/>
                <a:gd name="connsiteY60" fmla="*/ 99060 h 885825"/>
                <a:gd name="connsiteX61" fmla="*/ 680085 w 837247"/>
                <a:gd name="connsiteY61" fmla="*/ 86678 h 885825"/>
                <a:gd name="connsiteX62" fmla="*/ 685800 w 837247"/>
                <a:gd name="connsiteY62" fmla="*/ 64770 h 885825"/>
                <a:gd name="connsiteX63" fmla="*/ 726758 w 837247"/>
                <a:gd name="connsiteY63" fmla="*/ 30480 h 885825"/>
                <a:gd name="connsiteX64" fmla="*/ 738188 w 837247"/>
                <a:gd name="connsiteY64" fmla="*/ 28575 h 885825"/>
                <a:gd name="connsiteX65" fmla="*/ 738188 w 837247"/>
                <a:gd name="connsiteY65" fmla="*/ 28575 h 885825"/>
                <a:gd name="connsiteX66" fmla="*/ 748665 w 837247"/>
                <a:gd name="connsiteY66" fmla="*/ 28575 h 885825"/>
                <a:gd name="connsiteX67" fmla="*/ 748665 w 837247"/>
                <a:gd name="connsiteY67" fmla="*/ 28575 h 885825"/>
                <a:gd name="connsiteX68" fmla="*/ 807720 w 837247"/>
                <a:gd name="connsiteY68" fmla="*/ 92393 h 885825"/>
                <a:gd name="connsiteX69" fmla="*/ 807720 w 837247"/>
                <a:gd name="connsiteY69" fmla="*/ 156210 h 885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</a:cxnLst>
              <a:rect l="l" t="t" r="r" b="b"/>
              <a:pathLst>
                <a:path w="837247" h="885825">
                  <a:moveTo>
                    <a:pt x="751523" y="0"/>
                  </a:moveTo>
                  <a:cubicBezTo>
                    <a:pt x="746760" y="0"/>
                    <a:pt x="245745" y="0"/>
                    <a:pt x="240983" y="0"/>
                  </a:cubicBezTo>
                  <a:cubicBezTo>
                    <a:pt x="193358" y="3810"/>
                    <a:pt x="156210" y="44768"/>
                    <a:pt x="156210" y="92393"/>
                  </a:cubicBezTo>
                  <a:lnTo>
                    <a:pt x="156210" y="701040"/>
                  </a:lnTo>
                  <a:lnTo>
                    <a:pt x="14288" y="701040"/>
                  </a:lnTo>
                  <a:cubicBezTo>
                    <a:pt x="6668" y="701040"/>
                    <a:pt x="0" y="707708"/>
                    <a:pt x="0" y="715328"/>
                  </a:cubicBezTo>
                  <a:cubicBezTo>
                    <a:pt x="0" y="715328"/>
                    <a:pt x="0" y="790575"/>
                    <a:pt x="0" y="793433"/>
                  </a:cubicBezTo>
                  <a:cubicBezTo>
                    <a:pt x="0" y="796290"/>
                    <a:pt x="0" y="798195"/>
                    <a:pt x="0" y="801053"/>
                  </a:cubicBezTo>
                  <a:cubicBezTo>
                    <a:pt x="3810" y="848678"/>
                    <a:pt x="44768" y="885825"/>
                    <a:pt x="92393" y="885825"/>
                  </a:cubicBezTo>
                  <a:lnTo>
                    <a:pt x="587693" y="885825"/>
                  </a:lnTo>
                  <a:cubicBezTo>
                    <a:pt x="613410" y="885825"/>
                    <a:pt x="637223" y="875348"/>
                    <a:pt x="655320" y="856298"/>
                  </a:cubicBezTo>
                  <a:cubicBezTo>
                    <a:pt x="671513" y="839153"/>
                    <a:pt x="681038" y="816293"/>
                    <a:pt x="681038" y="792480"/>
                  </a:cubicBezTo>
                  <a:lnTo>
                    <a:pt x="681038" y="184785"/>
                  </a:lnTo>
                  <a:lnTo>
                    <a:pt x="822960" y="184785"/>
                  </a:lnTo>
                  <a:cubicBezTo>
                    <a:pt x="830580" y="184785"/>
                    <a:pt x="837248" y="178118"/>
                    <a:pt x="837248" y="170498"/>
                  </a:cubicBezTo>
                  <a:lnTo>
                    <a:pt x="837248" y="92393"/>
                  </a:lnTo>
                  <a:cubicBezTo>
                    <a:pt x="836295" y="44768"/>
                    <a:pt x="799148" y="3810"/>
                    <a:pt x="751523" y="0"/>
                  </a:cubicBezTo>
                  <a:close/>
                  <a:moveTo>
                    <a:pt x="92393" y="857250"/>
                  </a:moveTo>
                  <a:cubicBezTo>
                    <a:pt x="59055" y="857250"/>
                    <a:pt x="31432" y="831533"/>
                    <a:pt x="28575" y="798195"/>
                  </a:cubicBezTo>
                  <a:cubicBezTo>
                    <a:pt x="28575" y="796290"/>
                    <a:pt x="28575" y="794385"/>
                    <a:pt x="28575" y="792480"/>
                  </a:cubicBezTo>
                  <a:cubicBezTo>
                    <a:pt x="28575" y="790575"/>
                    <a:pt x="28575" y="788670"/>
                    <a:pt x="28575" y="787718"/>
                  </a:cubicBezTo>
                  <a:cubicBezTo>
                    <a:pt x="28575" y="787718"/>
                    <a:pt x="28575" y="786765"/>
                    <a:pt x="28575" y="786765"/>
                  </a:cubicBezTo>
                  <a:lnTo>
                    <a:pt x="28575" y="729615"/>
                  </a:lnTo>
                  <a:lnTo>
                    <a:pt x="495300" y="729615"/>
                  </a:lnTo>
                  <a:lnTo>
                    <a:pt x="495300" y="793433"/>
                  </a:lnTo>
                  <a:cubicBezTo>
                    <a:pt x="495300" y="804863"/>
                    <a:pt x="497205" y="817245"/>
                    <a:pt x="501968" y="827723"/>
                  </a:cubicBezTo>
                  <a:cubicBezTo>
                    <a:pt x="503873" y="831533"/>
                    <a:pt x="505778" y="835343"/>
                    <a:pt x="507683" y="839153"/>
                  </a:cubicBezTo>
                  <a:cubicBezTo>
                    <a:pt x="507683" y="840105"/>
                    <a:pt x="508635" y="841058"/>
                    <a:pt x="508635" y="841058"/>
                  </a:cubicBezTo>
                  <a:cubicBezTo>
                    <a:pt x="510540" y="844868"/>
                    <a:pt x="513398" y="847725"/>
                    <a:pt x="515303" y="850583"/>
                  </a:cubicBezTo>
                  <a:cubicBezTo>
                    <a:pt x="515303" y="850583"/>
                    <a:pt x="516255" y="851535"/>
                    <a:pt x="516255" y="851535"/>
                  </a:cubicBezTo>
                  <a:cubicBezTo>
                    <a:pt x="517208" y="853440"/>
                    <a:pt x="519113" y="854393"/>
                    <a:pt x="520065" y="856298"/>
                  </a:cubicBezTo>
                  <a:lnTo>
                    <a:pt x="92393" y="856298"/>
                  </a:lnTo>
                  <a:close/>
                  <a:moveTo>
                    <a:pt x="651510" y="793433"/>
                  </a:moveTo>
                  <a:cubicBezTo>
                    <a:pt x="651510" y="809625"/>
                    <a:pt x="644843" y="824865"/>
                    <a:pt x="634365" y="837248"/>
                  </a:cubicBezTo>
                  <a:cubicBezTo>
                    <a:pt x="621983" y="850583"/>
                    <a:pt x="605790" y="857250"/>
                    <a:pt x="587693" y="857250"/>
                  </a:cubicBezTo>
                  <a:cubicBezTo>
                    <a:pt x="581025" y="857250"/>
                    <a:pt x="574358" y="856298"/>
                    <a:pt x="568643" y="854393"/>
                  </a:cubicBezTo>
                  <a:cubicBezTo>
                    <a:pt x="550545" y="848678"/>
                    <a:pt x="535305" y="835343"/>
                    <a:pt x="528638" y="817245"/>
                  </a:cubicBezTo>
                  <a:cubicBezTo>
                    <a:pt x="525780" y="809625"/>
                    <a:pt x="523875" y="801053"/>
                    <a:pt x="523875" y="793433"/>
                  </a:cubicBezTo>
                  <a:lnTo>
                    <a:pt x="523875" y="715328"/>
                  </a:lnTo>
                  <a:cubicBezTo>
                    <a:pt x="523875" y="707708"/>
                    <a:pt x="517208" y="701040"/>
                    <a:pt x="509588" y="701040"/>
                  </a:cubicBezTo>
                  <a:lnTo>
                    <a:pt x="184785" y="701040"/>
                  </a:lnTo>
                  <a:lnTo>
                    <a:pt x="184785" y="92393"/>
                  </a:lnTo>
                  <a:cubicBezTo>
                    <a:pt x="184785" y="59055"/>
                    <a:pt x="210503" y="31433"/>
                    <a:pt x="243840" y="28575"/>
                  </a:cubicBezTo>
                  <a:cubicBezTo>
                    <a:pt x="247650" y="28575"/>
                    <a:pt x="255270" y="28575"/>
                    <a:pt x="255270" y="28575"/>
                  </a:cubicBezTo>
                  <a:lnTo>
                    <a:pt x="677228" y="28575"/>
                  </a:lnTo>
                  <a:cubicBezTo>
                    <a:pt x="677228" y="28575"/>
                    <a:pt x="676275" y="29528"/>
                    <a:pt x="676275" y="29528"/>
                  </a:cubicBezTo>
                  <a:cubicBezTo>
                    <a:pt x="675323" y="31433"/>
                    <a:pt x="673418" y="32385"/>
                    <a:pt x="672465" y="34290"/>
                  </a:cubicBezTo>
                  <a:cubicBezTo>
                    <a:pt x="672465" y="34290"/>
                    <a:pt x="672465" y="35243"/>
                    <a:pt x="671513" y="35243"/>
                  </a:cubicBezTo>
                  <a:cubicBezTo>
                    <a:pt x="670560" y="37148"/>
                    <a:pt x="668655" y="39053"/>
                    <a:pt x="667703" y="40958"/>
                  </a:cubicBezTo>
                  <a:cubicBezTo>
                    <a:pt x="667703" y="40958"/>
                    <a:pt x="667703" y="40958"/>
                    <a:pt x="667703" y="40958"/>
                  </a:cubicBezTo>
                  <a:cubicBezTo>
                    <a:pt x="659130" y="53340"/>
                    <a:pt x="654368" y="67628"/>
                    <a:pt x="652463" y="82868"/>
                  </a:cubicBezTo>
                  <a:cubicBezTo>
                    <a:pt x="652463" y="83820"/>
                    <a:pt x="652463" y="83820"/>
                    <a:pt x="652463" y="84773"/>
                  </a:cubicBezTo>
                  <a:cubicBezTo>
                    <a:pt x="652463" y="84773"/>
                    <a:pt x="652463" y="84773"/>
                    <a:pt x="652463" y="85725"/>
                  </a:cubicBezTo>
                  <a:cubicBezTo>
                    <a:pt x="652463" y="86678"/>
                    <a:pt x="652463" y="87630"/>
                    <a:pt x="652463" y="88583"/>
                  </a:cubicBezTo>
                  <a:cubicBezTo>
                    <a:pt x="652463" y="89535"/>
                    <a:pt x="652463" y="90488"/>
                    <a:pt x="652463" y="91440"/>
                  </a:cubicBezTo>
                  <a:lnTo>
                    <a:pt x="652463" y="95250"/>
                  </a:lnTo>
                  <a:cubicBezTo>
                    <a:pt x="652463" y="96203"/>
                    <a:pt x="652463" y="96203"/>
                    <a:pt x="652463" y="97155"/>
                  </a:cubicBezTo>
                  <a:lnTo>
                    <a:pt x="652463" y="793433"/>
                  </a:lnTo>
                  <a:close/>
                  <a:moveTo>
                    <a:pt x="807720" y="156210"/>
                  </a:moveTo>
                  <a:lnTo>
                    <a:pt x="680085" y="156210"/>
                  </a:lnTo>
                  <a:lnTo>
                    <a:pt x="680085" y="99060"/>
                  </a:lnTo>
                  <a:lnTo>
                    <a:pt x="680085" y="86678"/>
                  </a:lnTo>
                  <a:cubicBezTo>
                    <a:pt x="681038" y="79058"/>
                    <a:pt x="682943" y="71438"/>
                    <a:pt x="685800" y="64770"/>
                  </a:cubicBezTo>
                  <a:cubicBezTo>
                    <a:pt x="693420" y="47625"/>
                    <a:pt x="708660" y="35243"/>
                    <a:pt x="726758" y="30480"/>
                  </a:cubicBezTo>
                  <a:cubicBezTo>
                    <a:pt x="730568" y="29528"/>
                    <a:pt x="734378" y="28575"/>
                    <a:pt x="738188" y="28575"/>
                  </a:cubicBezTo>
                  <a:cubicBezTo>
                    <a:pt x="738188" y="28575"/>
                    <a:pt x="738188" y="28575"/>
                    <a:pt x="738188" y="28575"/>
                  </a:cubicBezTo>
                  <a:cubicBezTo>
                    <a:pt x="741998" y="28575"/>
                    <a:pt x="744855" y="28575"/>
                    <a:pt x="748665" y="28575"/>
                  </a:cubicBezTo>
                  <a:cubicBezTo>
                    <a:pt x="748665" y="28575"/>
                    <a:pt x="748665" y="28575"/>
                    <a:pt x="748665" y="28575"/>
                  </a:cubicBezTo>
                  <a:cubicBezTo>
                    <a:pt x="782003" y="31433"/>
                    <a:pt x="807720" y="59055"/>
                    <a:pt x="807720" y="92393"/>
                  </a:cubicBezTo>
                  <a:lnTo>
                    <a:pt x="807720" y="15621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dirty="0"/>
            </a:p>
          </p:txBody>
        </p:sp>
        <p:sp>
          <p:nvSpPr>
            <p:cNvPr id="56" name="Graphic 239">
              <a:extLst>
                <a:ext uri="{FF2B5EF4-FFF2-40B4-BE49-F238E27FC236}">
                  <a16:creationId xmlns:a16="http://schemas.microsoft.com/office/drawing/2014/main" id="{FDDFBE06-C834-403B-8D1B-1CD15566F51C}"/>
                </a:ext>
              </a:extLst>
            </p:cNvPr>
            <p:cNvSpPr/>
            <p:nvPr/>
          </p:nvSpPr>
          <p:spPr>
            <a:xfrm>
              <a:off x="2438220" y="3440264"/>
              <a:ext cx="106640" cy="101759"/>
            </a:xfrm>
            <a:custGeom>
              <a:avLst/>
              <a:gdLst>
                <a:gd name="connsiteX0" fmla="*/ 40124 w 106640"/>
                <a:gd name="connsiteY0" fmla="*/ 101759 h 101759"/>
                <a:gd name="connsiteX1" fmla="*/ 51554 w 106640"/>
                <a:gd name="connsiteY1" fmla="*/ 96044 h 101759"/>
                <a:gd name="connsiteX2" fmla="*/ 103942 w 106640"/>
                <a:gd name="connsiteY2" fmla="*/ 22702 h 101759"/>
                <a:gd name="connsiteX3" fmla="*/ 101084 w 106640"/>
                <a:gd name="connsiteY3" fmla="*/ 2699 h 101759"/>
                <a:gd name="connsiteX4" fmla="*/ 81082 w 106640"/>
                <a:gd name="connsiteY4" fmla="*/ 5557 h 101759"/>
                <a:gd name="connsiteX5" fmla="*/ 40124 w 106640"/>
                <a:gd name="connsiteY5" fmla="*/ 62707 h 101759"/>
                <a:gd name="connsiteX6" fmla="*/ 25837 w 106640"/>
                <a:gd name="connsiteY6" fmla="*/ 42704 h 101759"/>
                <a:gd name="connsiteX7" fmla="*/ 5834 w 106640"/>
                <a:gd name="connsiteY7" fmla="*/ 39847 h 101759"/>
                <a:gd name="connsiteX8" fmla="*/ 2977 w 106640"/>
                <a:gd name="connsiteY8" fmla="*/ 59849 h 101759"/>
                <a:gd name="connsiteX9" fmla="*/ 29647 w 106640"/>
                <a:gd name="connsiteY9" fmla="*/ 96997 h 101759"/>
                <a:gd name="connsiteX10" fmla="*/ 40124 w 106640"/>
                <a:gd name="connsiteY10" fmla="*/ 101759 h 101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6640" h="101759">
                  <a:moveTo>
                    <a:pt x="40124" y="101759"/>
                  </a:moveTo>
                  <a:cubicBezTo>
                    <a:pt x="44887" y="101759"/>
                    <a:pt x="48697" y="99854"/>
                    <a:pt x="51554" y="96044"/>
                  </a:cubicBezTo>
                  <a:lnTo>
                    <a:pt x="103942" y="22702"/>
                  </a:lnTo>
                  <a:cubicBezTo>
                    <a:pt x="108704" y="16034"/>
                    <a:pt x="106799" y="7462"/>
                    <a:pt x="101084" y="2699"/>
                  </a:cubicBezTo>
                  <a:cubicBezTo>
                    <a:pt x="94417" y="-2063"/>
                    <a:pt x="85844" y="-158"/>
                    <a:pt x="81082" y="5557"/>
                  </a:cubicBezTo>
                  <a:lnTo>
                    <a:pt x="40124" y="62707"/>
                  </a:lnTo>
                  <a:lnTo>
                    <a:pt x="25837" y="42704"/>
                  </a:lnTo>
                  <a:cubicBezTo>
                    <a:pt x="21074" y="36037"/>
                    <a:pt x="12502" y="35084"/>
                    <a:pt x="5834" y="39847"/>
                  </a:cubicBezTo>
                  <a:cubicBezTo>
                    <a:pt x="-833" y="44609"/>
                    <a:pt x="-1786" y="53182"/>
                    <a:pt x="2977" y="59849"/>
                  </a:cubicBezTo>
                  <a:lnTo>
                    <a:pt x="29647" y="96997"/>
                  </a:lnTo>
                  <a:cubicBezTo>
                    <a:pt x="31552" y="99854"/>
                    <a:pt x="35362" y="101759"/>
                    <a:pt x="40124" y="10175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dirty="0"/>
            </a:p>
          </p:txBody>
        </p:sp>
        <p:sp>
          <p:nvSpPr>
            <p:cNvPr id="57" name="Graphic 239">
              <a:extLst>
                <a:ext uri="{FF2B5EF4-FFF2-40B4-BE49-F238E27FC236}">
                  <a16:creationId xmlns:a16="http://schemas.microsoft.com/office/drawing/2014/main" id="{B4986767-542D-4499-B356-9EAC58C08483}"/>
                </a:ext>
              </a:extLst>
            </p:cNvPr>
            <p:cNvSpPr/>
            <p:nvPr/>
          </p:nvSpPr>
          <p:spPr>
            <a:xfrm>
              <a:off x="2335469" y="3820153"/>
              <a:ext cx="311467" cy="28575"/>
            </a:xfrm>
            <a:custGeom>
              <a:avLst/>
              <a:gdLst>
                <a:gd name="connsiteX0" fmla="*/ 297180 w 311467"/>
                <a:gd name="connsiteY0" fmla="*/ 0 h 28575"/>
                <a:gd name="connsiteX1" fmla="*/ 14288 w 311467"/>
                <a:gd name="connsiteY1" fmla="*/ 0 h 28575"/>
                <a:gd name="connsiteX2" fmla="*/ 0 w 311467"/>
                <a:gd name="connsiteY2" fmla="*/ 14288 h 28575"/>
                <a:gd name="connsiteX3" fmla="*/ 14288 w 311467"/>
                <a:gd name="connsiteY3" fmla="*/ 28575 h 28575"/>
                <a:gd name="connsiteX4" fmla="*/ 297180 w 311467"/>
                <a:gd name="connsiteY4" fmla="*/ 28575 h 28575"/>
                <a:gd name="connsiteX5" fmla="*/ 311468 w 311467"/>
                <a:gd name="connsiteY5" fmla="*/ 14288 h 28575"/>
                <a:gd name="connsiteX6" fmla="*/ 297180 w 311467"/>
                <a:gd name="connsiteY6" fmla="*/ 0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1467" h="28575">
                  <a:moveTo>
                    <a:pt x="297180" y="0"/>
                  </a:moveTo>
                  <a:lnTo>
                    <a:pt x="14288" y="0"/>
                  </a:lnTo>
                  <a:cubicBezTo>
                    <a:pt x="6668" y="0"/>
                    <a:pt x="0" y="6668"/>
                    <a:pt x="0" y="14288"/>
                  </a:cubicBezTo>
                  <a:cubicBezTo>
                    <a:pt x="0" y="21908"/>
                    <a:pt x="6668" y="28575"/>
                    <a:pt x="14288" y="28575"/>
                  </a:cubicBezTo>
                  <a:lnTo>
                    <a:pt x="297180" y="28575"/>
                  </a:lnTo>
                  <a:cubicBezTo>
                    <a:pt x="304800" y="28575"/>
                    <a:pt x="311468" y="21908"/>
                    <a:pt x="311468" y="14288"/>
                  </a:cubicBezTo>
                  <a:cubicBezTo>
                    <a:pt x="311468" y="6668"/>
                    <a:pt x="304800" y="0"/>
                    <a:pt x="297180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dirty="0"/>
            </a:p>
          </p:txBody>
        </p:sp>
        <p:sp>
          <p:nvSpPr>
            <p:cNvPr id="58" name="Graphic 239">
              <a:extLst>
                <a:ext uri="{FF2B5EF4-FFF2-40B4-BE49-F238E27FC236}">
                  <a16:creationId xmlns:a16="http://schemas.microsoft.com/office/drawing/2014/main" id="{D1E325F2-4582-4492-8A36-4E66349D539F}"/>
                </a:ext>
              </a:extLst>
            </p:cNvPr>
            <p:cNvSpPr/>
            <p:nvPr/>
          </p:nvSpPr>
          <p:spPr>
            <a:xfrm>
              <a:off x="2335469" y="3744906"/>
              <a:ext cx="311467" cy="28575"/>
            </a:xfrm>
            <a:custGeom>
              <a:avLst/>
              <a:gdLst>
                <a:gd name="connsiteX0" fmla="*/ 297180 w 311467"/>
                <a:gd name="connsiteY0" fmla="*/ 0 h 28575"/>
                <a:gd name="connsiteX1" fmla="*/ 14288 w 311467"/>
                <a:gd name="connsiteY1" fmla="*/ 0 h 28575"/>
                <a:gd name="connsiteX2" fmla="*/ 0 w 311467"/>
                <a:gd name="connsiteY2" fmla="*/ 14288 h 28575"/>
                <a:gd name="connsiteX3" fmla="*/ 14288 w 311467"/>
                <a:gd name="connsiteY3" fmla="*/ 28575 h 28575"/>
                <a:gd name="connsiteX4" fmla="*/ 297180 w 311467"/>
                <a:gd name="connsiteY4" fmla="*/ 28575 h 28575"/>
                <a:gd name="connsiteX5" fmla="*/ 311468 w 311467"/>
                <a:gd name="connsiteY5" fmla="*/ 14288 h 28575"/>
                <a:gd name="connsiteX6" fmla="*/ 297180 w 311467"/>
                <a:gd name="connsiteY6" fmla="*/ 0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1467" h="28575">
                  <a:moveTo>
                    <a:pt x="297180" y="0"/>
                  </a:moveTo>
                  <a:lnTo>
                    <a:pt x="14288" y="0"/>
                  </a:lnTo>
                  <a:cubicBezTo>
                    <a:pt x="6668" y="0"/>
                    <a:pt x="0" y="6668"/>
                    <a:pt x="0" y="14288"/>
                  </a:cubicBezTo>
                  <a:cubicBezTo>
                    <a:pt x="0" y="21907"/>
                    <a:pt x="6668" y="28575"/>
                    <a:pt x="14288" y="28575"/>
                  </a:cubicBezTo>
                  <a:lnTo>
                    <a:pt x="297180" y="28575"/>
                  </a:lnTo>
                  <a:cubicBezTo>
                    <a:pt x="304800" y="28575"/>
                    <a:pt x="311468" y="21907"/>
                    <a:pt x="311468" y="14288"/>
                  </a:cubicBezTo>
                  <a:cubicBezTo>
                    <a:pt x="311468" y="6668"/>
                    <a:pt x="304800" y="0"/>
                    <a:pt x="297180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dirty="0"/>
            </a:p>
          </p:txBody>
        </p:sp>
        <p:sp>
          <p:nvSpPr>
            <p:cNvPr id="59" name="Graphic 239">
              <a:extLst>
                <a:ext uri="{FF2B5EF4-FFF2-40B4-BE49-F238E27FC236}">
                  <a16:creationId xmlns:a16="http://schemas.microsoft.com/office/drawing/2014/main" id="{39F4B008-5C62-422A-AF5B-4696E291CDA2}"/>
                </a:ext>
              </a:extLst>
            </p:cNvPr>
            <p:cNvSpPr/>
            <p:nvPr/>
          </p:nvSpPr>
          <p:spPr>
            <a:xfrm>
              <a:off x="2335469" y="3670611"/>
              <a:ext cx="311467" cy="28575"/>
            </a:xfrm>
            <a:custGeom>
              <a:avLst/>
              <a:gdLst>
                <a:gd name="connsiteX0" fmla="*/ 297180 w 311467"/>
                <a:gd name="connsiteY0" fmla="*/ 0 h 28575"/>
                <a:gd name="connsiteX1" fmla="*/ 14288 w 311467"/>
                <a:gd name="connsiteY1" fmla="*/ 0 h 28575"/>
                <a:gd name="connsiteX2" fmla="*/ 0 w 311467"/>
                <a:gd name="connsiteY2" fmla="*/ 14288 h 28575"/>
                <a:gd name="connsiteX3" fmla="*/ 14288 w 311467"/>
                <a:gd name="connsiteY3" fmla="*/ 28575 h 28575"/>
                <a:gd name="connsiteX4" fmla="*/ 297180 w 311467"/>
                <a:gd name="connsiteY4" fmla="*/ 28575 h 28575"/>
                <a:gd name="connsiteX5" fmla="*/ 311468 w 311467"/>
                <a:gd name="connsiteY5" fmla="*/ 14288 h 28575"/>
                <a:gd name="connsiteX6" fmla="*/ 297180 w 311467"/>
                <a:gd name="connsiteY6" fmla="*/ 0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1467" h="28575">
                  <a:moveTo>
                    <a:pt x="297180" y="0"/>
                  </a:moveTo>
                  <a:lnTo>
                    <a:pt x="14288" y="0"/>
                  </a:lnTo>
                  <a:cubicBezTo>
                    <a:pt x="6668" y="0"/>
                    <a:pt x="0" y="6667"/>
                    <a:pt x="0" y="14288"/>
                  </a:cubicBezTo>
                  <a:cubicBezTo>
                    <a:pt x="0" y="21907"/>
                    <a:pt x="6668" y="28575"/>
                    <a:pt x="14288" y="28575"/>
                  </a:cubicBezTo>
                  <a:lnTo>
                    <a:pt x="297180" y="28575"/>
                  </a:lnTo>
                  <a:cubicBezTo>
                    <a:pt x="304800" y="28575"/>
                    <a:pt x="311468" y="21907"/>
                    <a:pt x="311468" y="14288"/>
                  </a:cubicBezTo>
                  <a:cubicBezTo>
                    <a:pt x="311468" y="6667"/>
                    <a:pt x="304800" y="0"/>
                    <a:pt x="297180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dirty="0"/>
            </a:p>
          </p:txBody>
        </p:sp>
      </p:grp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30BCBCC1-8EA6-402B-A4B3-D89476E0A08A}"/>
              </a:ext>
            </a:extLst>
          </p:cNvPr>
          <p:cNvCxnSpPr>
            <a:cxnSpLocks/>
          </p:cNvCxnSpPr>
          <p:nvPr/>
        </p:nvCxnSpPr>
        <p:spPr>
          <a:xfrm>
            <a:off x="10312456" y="1549468"/>
            <a:ext cx="0" cy="471405"/>
          </a:xfrm>
          <a:prstGeom prst="line">
            <a:avLst/>
          </a:prstGeom>
          <a:ln w="3175">
            <a:solidFill>
              <a:srgbClr val="0083A9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tangle: Rounded Corners 60">
            <a:extLst>
              <a:ext uri="{FF2B5EF4-FFF2-40B4-BE49-F238E27FC236}">
                <a16:creationId xmlns:a16="http://schemas.microsoft.com/office/drawing/2014/main" id="{E10B1D9D-DE1E-4ED9-BC2D-4F413C4B5AEC}"/>
              </a:ext>
            </a:extLst>
          </p:cNvPr>
          <p:cNvSpPr/>
          <p:nvPr/>
        </p:nvSpPr>
        <p:spPr>
          <a:xfrm>
            <a:off x="7863709" y="2778459"/>
            <a:ext cx="6507167" cy="1237730"/>
          </a:xfrm>
          <a:prstGeom prst="roundRect">
            <a:avLst>
              <a:gd name="adj" fmla="val 50000"/>
            </a:avLst>
          </a:prstGeom>
          <a:solidFill>
            <a:srgbClr val="3D7EDB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algn="ctr" defTabSz="1095791">
              <a:defRPr/>
            </a:pPr>
            <a:r>
              <a:rPr lang="en-US" altLang="ja-JP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terial Issues</a:t>
            </a: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C2803B1A-9B29-4CB6-A4C5-6BAA21B957D7}"/>
              </a:ext>
            </a:extLst>
          </p:cNvPr>
          <p:cNvCxnSpPr>
            <a:cxnSpLocks/>
          </p:cNvCxnSpPr>
          <p:nvPr/>
        </p:nvCxnSpPr>
        <p:spPr>
          <a:xfrm>
            <a:off x="10088459" y="3887916"/>
            <a:ext cx="0" cy="11366"/>
          </a:xfrm>
          <a:prstGeom prst="line">
            <a:avLst/>
          </a:prstGeom>
          <a:ln w="3175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D690AD07-ADF8-4992-B884-61610E92F1B9}"/>
              </a:ext>
            </a:extLst>
          </p:cNvPr>
          <p:cNvCxnSpPr>
            <a:cxnSpLocks/>
          </p:cNvCxnSpPr>
          <p:nvPr/>
        </p:nvCxnSpPr>
        <p:spPr>
          <a:xfrm>
            <a:off x="8148740" y="3346381"/>
            <a:ext cx="5955392" cy="0"/>
          </a:xfrm>
          <a:prstGeom prst="line">
            <a:avLst/>
          </a:prstGeom>
          <a:ln w="3175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>
            <a:extLst>
              <a:ext uri="{FF2B5EF4-FFF2-40B4-BE49-F238E27FC236}">
                <a16:creationId xmlns:a16="http://schemas.microsoft.com/office/drawing/2014/main" id="{0A75CBC8-D180-446A-A8D7-C23393959F73}"/>
              </a:ext>
            </a:extLst>
          </p:cNvPr>
          <p:cNvSpPr txBox="1"/>
          <p:nvPr/>
        </p:nvSpPr>
        <p:spPr>
          <a:xfrm>
            <a:off x="8221846" y="3497932"/>
            <a:ext cx="199049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IN" b="1" dirty="0">
                <a:solidFill>
                  <a:schemeClr val="bg1"/>
                </a:solidFill>
              </a:rPr>
              <a:t>E</a:t>
            </a:r>
            <a:r>
              <a:rPr lang="en-IN" dirty="0">
                <a:solidFill>
                  <a:schemeClr val="bg1"/>
                </a:solidFill>
              </a:rPr>
              <a:t>nvironment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3E3A01AB-47EB-4443-9646-210D58892422}"/>
              </a:ext>
            </a:extLst>
          </p:cNvPr>
          <p:cNvSpPr txBox="1"/>
          <p:nvPr/>
        </p:nvSpPr>
        <p:spPr>
          <a:xfrm>
            <a:off x="9902710" y="3497930"/>
            <a:ext cx="199049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IN" b="1" dirty="0">
                <a:solidFill>
                  <a:schemeClr val="bg1"/>
                </a:solidFill>
              </a:rPr>
              <a:t>Social 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82E25A08-7CD1-431F-9152-166AFB5E871D}"/>
              </a:ext>
            </a:extLst>
          </p:cNvPr>
          <p:cNvSpPr txBox="1"/>
          <p:nvPr/>
        </p:nvSpPr>
        <p:spPr>
          <a:xfrm>
            <a:off x="11514436" y="3497932"/>
            <a:ext cx="199049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IN" b="1" dirty="0">
                <a:solidFill>
                  <a:schemeClr val="bg1"/>
                </a:solidFill>
              </a:rPr>
              <a:t>G</a:t>
            </a:r>
            <a:r>
              <a:rPr lang="en-IN" dirty="0">
                <a:solidFill>
                  <a:schemeClr val="bg1"/>
                </a:solidFill>
              </a:rPr>
              <a:t>overnance</a:t>
            </a:r>
          </a:p>
        </p:txBody>
      </p: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17F77756-FBDB-4D2F-8B4A-34EFE43E98F1}"/>
              </a:ext>
            </a:extLst>
          </p:cNvPr>
          <p:cNvCxnSpPr>
            <a:cxnSpLocks/>
          </p:cNvCxnSpPr>
          <p:nvPr/>
        </p:nvCxnSpPr>
        <p:spPr>
          <a:xfrm>
            <a:off x="11524235" y="3887916"/>
            <a:ext cx="0" cy="11366"/>
          </a:xfrm>
          <a:prstGeom prst="line">
            <a:avLst/>
          </a:prstGeom>
          <a:ln w="3175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tangle: Rounded Corners 67">
            <a:extLst>
              <a:ext uri="{FF2B5EF4-FFF2-40B4-BE49-F238E27FC236}">
                <a16:creationId xmlns:a16="http://schemas.microsoft.com/office/drawing/2014/main" id="{A4D7EEF6-5D1D-4E60-AF1A-375627BD5443}"/>
              </a:ext>
            </a:extLst>
          </p:cNvPr>
          <p:cNvSpPr/>
          <p:nvPr/>
        </p:nvSpPr>
        <p:spPr>
          <a:xfrm>
            <a:off x="7851408" y="4698146"/>
            <a:ext cx="6611473" cy="742465"/>
          </a:xfrm>
          <a:prstGeom prst="roundRect">
            <a:avLst>
              <a:gd name="adj" fmla="val 50000"/>
            </a:avLst>
          </a:prstGeom>
          <a:noFill/>
          <a:ln w="3175">
            <a:solidFill>
              <a:srgbClr val="0083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121839" tIns="0" bIns="0" rtlCol="0" anchor="ctr"/>
          <a:lstStyle/>
          <a:p>
            <a:pPr defTabSz="1095791">
              <a:defRPr/>
            </a:pPr>
            <a:r>
              <a:rPr lang="en-US" altLang="ja-JP" b="1" dirty="0">
                <a:solidFill>
                  <a:srgbClr val="3D7ED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ategy Development</a:t>
            </a:r>
          </a:p>
          <a:p>
            <a:pPr defTabSz="1095791">
              <a:defRPr/>
            </a:pPr>
            <a:r>
              <a:rPr lang="en-US" altLang="ja-JP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ategic Objectives &amp; Strategic Enablers</a:t>
            </a:r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id="{CB5CDF6B-F5D4-4FB8-A03F-AD2C06024BDD}"/>
              </a:ext>
            </a:extLst>
          </p:cNvPr>
          <p:cNvGrpSpPr/>
          <p:nvPr/>
        </p:nvGrpSpPr>
        <p:grpSpPr>
          <a:xfrm>
            <a:off x="8196505" y="4778936"/>
            <a:ext cx="816829" cy="615742"/>
            <a:chOff x="7354293" y="3772850"/>
            <a:chExt cx="544164" cy="477813"/>
          </a:xfrm>
        </p:grpSpPr>
        <p:grpSp>
          <p:nvGrpSpPr>
            <p:cNvPr id="70" name="Graphic 250">
              <a:extLst>
                <a:ext uri="{FF2B5EF4-FFF2-40B4-BE49-F238E27FC236}">
                  <a16:creationId xmlns:a16="http://schemas.microsoft.com/office/drawing/2014/main" id="{1993F92E-35FE-401F-B2CD-D63457D632BD}"/>
                </a:ext>
              </a:extLst>
            </p:cNvPr>
            <p:cNvGrpSpPr/>
            <p:nvPr/>
          </p:nvGrpSpPr>
          <p:grpSpPr>
            <a:xfrm>
              <a:off x="7354293" y="3772850"/>
              <a:ext cx="477813" cy="477813"/>
              <a:chOff x="6378363" y="4057390"/>
              <a:chExt cx="590550" cy="590550"/>
            </a:xfrm>
            <a:solidFill>
              <a:srgbClr val="34B233"/>
            </a:solidFill>
          </p:grpSpPr>
          <p:sp>
            <p:nvSpPr>
              <p:cNvPr id="72" name="Graphic 250">
                <a:extLst>
                  <a:ext uri="{FF2B5EF4-FFF2-40B4-BE49-F238E27FC236}">
                    <a16:creationId xmlns:a16="http://schemas.microsoft.com/office/drawing/2014/main" id="{69F4ABFA-052A-4267-B48A-030987C58F45}"/>
                  </a:ext>
                </a:extLst>
              </p:cNvPr>
              <p:cNvSpPr/>
              <p:nvPr/>
            </p:nvSpPr>
            <p:spPr>
              <a:xfrm>
                <a:off x="6797463" y="4324090"/>
                <a:ext cx="76200" cy="76200"/>
              </a:xfrm>
              <a:custGeom>
                <a:avLst/>
                <a:gdLst>
                  <a:gd name="connsiteX0" fmla="*/ 38100 w 76200"/>
                  <a:gd name="connsiteY0" fmla="*/ 0 h 76200"/>
                  <a:gd name="connsiteX1" fmla="*/ 0 w 76200"/>
                  <a:gd name="connsiteY1" fmla="*/ 38100 h 76200"/>
                  <a:gd name="connsiteX2" fmla="*/ 38100 w 76200"/>
                  <a:gd name="connsiteY2" fmla="*/ 76200 h 76200"/>
                  <a:gd name="connsiteX3" fmla="*/ 76200 w 76200"/>
                  <a:gd name="connsiteY3" fmla="*/ 38100 h 76200"/>
                  <a:gd name="connsiteX4" fmla="*/ 38100 w 76200"/>
                  <a:gd name="connsiteY4" fmla="*/ 0 h 76200"/>
                  <a:gd name="connsiteX5" fmla="*/ 38100 w 76200"/>
                  <a:gd name="connsiteY5" fmla="*/ 57150 h 76200"/>
                  <a:gd name="connsiteX6" fmla="*/ 19050 w 76200"/>
                  <a:gd name="connsiteY6" fmla="*/ 38100 h 76200"/>
                  <a:gd name="connsiteX7" fmla="*/ 38100 w 76200"/>
                  <a:gd name="connsiteY7" fmla="*/ 19050 h 76200"/>
                  <a:gd name="connsiteX8" fmla="*/ 57150 w 76200"/>
                  <a:gd name="connsiteY8" fmla="*/ 38100 h 76200"/>
                  <a:gd name="connsiteX9" fmla="*/ 38100 w 76200"/>
                  <a:gd name="connsiteY9" fmla="*/ 57150 h 76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6200" h="76200">
                    <a:moveTo>
                      <a:pt x="38100" y="0"/>
                    </a:moveTo>
                    <a:cubicBezTo>
                      <a:pt x="17088" y="0"/>
                      <a:pt x="0" y="17088"/>
                      <a:pt x="0" y="38100"/>
                    </a:cubicBezTo>
                    <a:cubicBezTo>
                      <a:pt x="0" y="59112"/>
                      <a:pt x="17088" y="76200"/>
                      <a:pt x="38100" y="76200"/>
                    </a:cubicBezTo>
                    <a:cubicBezTo>
                      <a:pt x="59112" y="76200"/>
                      <a:pt x="76200" y="59112"/>
                      <a:pt x="76200" y="38100"/>
                    </a:cubicBezTo>
                    <a:cubicBezTo>
                      <a:pt x="76200" y="17088"/>
                      <a:pt x="59112" y="0"/>
                      <a:pt x="38100" y="0"/>
                    </a:cubicBezTo>
                    <a:close/>
                    <a:moveTo>
                      <a:pt x="38100" y="57150"/>
                    </a:moveTo>
                    <a:cubicBezTo>
                      <a:pt x="27594" y="57150"/>
                      <a:pt x="19050" y="48606"/>
                      <a:pt x="19050" y="38100"/>
                    </a:cubicBezTo>
                    <a:cubicBezTo>
                      <a:pt x="19050" y="27594"/>
                      <a:pt x="27594" y="19050"/>
                      <a:pt x="38100" y="19050"/>
                    </a:cubicBezTo>
                    <a:cubicBezTo>
                      <a:pt x="48606" y="19050"/>
                      <a:pt x="57150" y="27594"/>
                      <a:pt x="57150" y="38100"/>
                    </a:cubicBezTo>
                    <a:cubicBezTo>
                      <a:pt x="57150" y="48606"/>
                      <a:pt x="48606" y="57150"/>
                      <a:pt x="38100" y="571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86295" rtlCol="0" anchor="ctr"/>
              <a:lstStyle/>
              <a:p>
                <a:endParaRPr lang="en-IN" dirty="0"/>
              </a:p>
            </p:txBody>
          </p:sp>
          <p:sp>
            <p:nvSpPr>
              <p:cNvPr id="73" name="Graphic 250">
                <a:extLst>
                  <a:ext uri="{FF2B5EF4-FFF2-40B4-BE49-F238E27FC236}">
                    <a16:creationId xmlns:a16="http://schemas.microsoft.com/office/drawing/2014/main" id="{13CFE937-AE7E-49BC-97DC-88BDC0F3688B}"/>
                  </a:ext>
                </a:extLst>
              </p:cNvPr>
              <p:cNvSpPr/>
              <p:nvPr/>
            </p:nvSpPr>
            <p:spPr>
              <a:xfrm>
                <a:off x="6759363" y="4285990"/>
                <a:ext cx="152400" cy="152400"/>
              </a:xfrm>
              <a:custGeom>
                <a:avLst/>
                <a:gdLst>
                  <a:gd name="connsiteX0" fmla="*/ 76200 w 152400"/>
                  <a:gd name="connsiteY0" fmla="*/ 0 h 152400"/>
                  <a:gd name="connsiteX1" fmla="*/ 0 w 152400"/>
                  <a:gd name="connsiteY1" fmla="*/ 76200 h 152400"/>
                  <a:gd name="connsiteX2" fmla="*/ 76200 w 152400"/>
                  <a:gd name="connsiteY2" fmla="*/ 152400 h 152400"/>
                  <a:gd name="connsiteX3" fmla="*/ 152400 w 152400"/>
                  <a:gd name="connsiteY3" fmla="*/ 76200 h 152400"/>
                  <a:gd name="connsiteX4" fmla="*/ 76200 w 152400"/>
                  <a:gd name="connsiteY4" fmla="*/ 0 h 152400"/>
                  <a:gd name="connsiteX5" fmla="*/ 76200 w 152400"/>
                  <a:gd name="connsiteY5" fmla="*/ 133350 h 152400"/>
                  <a:gd name="connsiteX6" fmla="*/ 19050 w 152400"/>
                  <a:gd name="connsiteY6" fmla="*/ 76200 h 152400"/>
                  <a:gd name="connsiteX7" fmla="*/ 76200 w 152400"/>
                  <a:gd name="connsiteY7" fmla="*/ 19050 h 152400"/>
                  <a:gd name="connsiteX8" fmla="*/ 133350 w 152400"/>
                  <a:gd name="connsiteY8" fmla="*/ 76200 h 152400"/>
                  <a:gd name="connsiteX9" fmla="*/ 76200 w 152400"/>
                  <a:gd name="connsiteY9" fmla="*/ 133350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2400" h="152400">
                    <a:moveTo>
                      <a:pt x="76200" y="0"/>
                    </a:moveTo>
                    <a:cubicBezTo>
                      <a:pt x="34185" y="0"/>
                      <a:pt x="0" y="34185"/>
                      <a:pt x="0" y="76200"/>
                    </a:cubicBezTo>
                    <a:cubicBezTo>
                      <a:pt x="0" y="118215"/>
                      <a:pt x="34185" y="152400"/>
                      <a:pt x="76200" y="152400"/>
                    </a:cubicBezTo>
                    <a:cubicBezTo>
                      <a:pt x="118215" y="152400"/>
                      <a:pt x="152400" y="118215"/>
                      <a:pt x="152400" y="76200"/>
                    </a:cubicBezTo>
                    <a:cubicBezTo>
                      <a:pt x="152400" y="34185"/>
                      <a:pt x="118215" y="0"/>
                      <a:pt x="76200" y="0"/>
                    </a:cubicBezTo>
                    <a:close/>
                    <a:moveTo>
                      <a:pt x="76200" y="133350"/>
                    </a:moveTo>
                    <a:cubicBezTo>
                      <a:pt x="44682" y="133350"/>
                      <a:pt x="19050" y="107718"/>
                      <a:pt x="19050" y="76200"/>
                    </a:cubicBezTo>
                    <a:cubicBezTo>
                      <a:pt x="19050" y="44682"/>
                      <a:pt x="44682" y="19050"/>
                      <a:pt x="76200" y="19050"/>
                    </a:cubicBezTo>
                    <a:cubicBezTo>
                      <a:pt x="107718" y="19050"/>
                      <a:pt x="133350" y="44682"/>
                      <a:pt x="133350" y="76200"/>
                    </a:cubicBezTo>
                    <a:cubicBezTo>
                      <a:pt x="133350" y="107718"/>
                      <a:pt x="107718" y="133350"/>
                      <a:pt x="76200" y="13335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86295" rtlCol="0" anchor="ctr"/>
              <a:lstStyle/>
              <a:p>
                <a:endParaRPr lang="en-IN" dirty="0"/>
              </a:p>
            </p:txBody>
          </p:sp>
          <p:sp>
            <p:nvSpPr>
              <p:cNvPr id="74" name="Graphic 250">
                <a:extLst>
                  <a:ext uri="{FF2B5EF4-FFF2-40B4-BE49-F238E27FC236}">
                    <a16:creationId xmlns:a16="http://schemas.microsoft.com/office/drawing/2014/main" id="{A134004D-3C57-49A0-990F-CB04608E8807}"/>
                  </a:ext>
                </a:extLst>
              </p:cNvPr>
              <p:cNvSpPr/>
              <p:nvPr/>
            </p:nvSpPr>
            <p:spPr>
              <a:xfrm>
                <a:off x="6378363" y="4057390"/>
                <a:ext cx="590550" cy="590550"/>
              </a:xfrm>
              <a:custGeom>
                <a:avLst/>
                <a:gdLst>
                  <a:gd name="connsiteX0" fmla="*/ 572176 w 590550"/>
                  <a:gd name="connsiteY0" fmla="*/ 342900 h 590550"/>
                  <a:gd name="connsiteX1" fmla="*/ 590550 w 590550"/>
                  <a:gd name="connsiteY1" fmla="*/ 342900 h 590550"/>
                  <a:gd name="connsiteX2" fmla="*/ 590550 w 590550"/>
                  <a:gd name="connsiteY2" fmla="*/ 266700 h 590550"/>
                  <a:gd name="connsiteX3" fmla="*/ 572176 w 590550"/>
                  <a:gd name="connsiteY3" fmla="*/ 266700 h 590550"/>
                  <a:gd name="connsiteX4" fmla="*/ 563366 w 590550"/>
                  <a:gd name="connsiteY4" fmla="*/ 260823 h 590550"/>
                  <a:gd name="connsiteX5" fmla="*/ 565452 w 590550"/>
                  <a:gd name="connsiteY5" fmla="*/ 250441 h 590550"/>
                  <a:gd name="connsiteX6" fmla="*/ 578425 w 590550"/>
                  <a:gd name="connsiteY6" fmla="*/ 237439 h 590550"/>
                  <a:gd name="connsiteX7" fmla="*/ 524561 w 590550"/>
                  <a:gd name="connsiteY7" fmla="*/ 183575 h 590550"/>
                  <a:gd name="connsiteX8" fmla="*/ 511559 w 590550"/>
                  <a:gd name="connsiteY8" fmla="*/ 196558 h 590550"/>
                  <a:gd name="connsiteX9" fmla="*/ 501177 w 590550"/>
                  <a:gd name="connsiteY9" fmla="*/ 198634 h 590550"/>
                  <a:gd name="connsiteX10" fmla="*/ 495300 w 590550"/>
                  <a:gd name="connsiteY10" fmla="*/ 189824 h 590550"/>
                  <a:gd name="connsiteX11" fmla="*/ 495300 w 590550"/>
                  <a:gd name="connsiteY11" fmla="*/ 171450 h 590550"/>
                  <a:gd name="connsiteX12" fmla="*/ 457200 w 590550"/>
                  <a:gd name="connsiteY12" fmla="*/ 171450 h 590550"/>
                  <a:gd name="connsiteX13" fmla="*/ 457200 w 590550"/>
                  <a:gd name="connsiteY13" fmla="*/ 161582 h 590550"/>
                  <a:gd name="connsiteX14" fmla="*/ 404736 w 590550"/>
                  <a:gd name="connsiteY14" fmla="*/ 43805 h 590550"/>
                  <a:gd name="connsiteX15" fmla="*/ 401269 w 590550"/>
                  <a:gd name="connsiteY15" fmla="*/ 40681 h 590550"/>
                  <a:gd name="connsiteX16" fmla="*/ 295275 w 590550"/>
                  <a:gd name="connsiteY16" fmla="*/ 0 h 590550"/>
                  <a:gd name="connsiteX17" fmla="*/ 189252 w 590550"/>
                  <a:gd name="connsiteY17" fmla="*/ 40681 h 590550"/>
                  <a:gd name="connsiteX18" fmla="*/ 185804 w 590550"/>
                  <a:gd name="connsiteY18" fmla="*/ 43796 h 590550"/>
                  <a:gd name="connsiteX19" fmla="*/ 133350 w 590550"/>
                  <a:gd name="connsiteY19" fmla="*/ 161573 h 590550"/>
                  <a:gd name="connsiteX20" fmla="*/ 133350 w 590550"/>
                  <a:gd name="connsiteY20" fmla="*/ 167802 h 590550"/>
                  <a:gd name="connsiteX21" fmla="*/ 139998 w 590550"/>
                  <a:gd name="connsiteY21" fmla="*/ 228600 h 590550"/>
                  <a:gd name="connsiteX22" fmla="*/ 76200 w 590550"/>
                  <a:gd name="connsiteY22" fmla="*/ 228600 h 590550"/>
                  <a:gd name="connsiteX23" fmla="*/ 0 w 590550"/>
                  <a:gd name="connsiteY23" fmla="*/ 304800 h 590550"/>
                  <a:gd name="connsiteX24" fmla="*/ 76200 w 590550"/>
                  <a:gd name="connsiteY24" fmla="*/ 381000 h 590550"/>
                  <a:gd name="connsiteX25" fmla="*/ 161925 w 590550"/>
                  <a:gd name="connsiteY25" fmla="*/ 381000 h 590550"/>
                  <a:gd name="connsiteX26" fmla="*/ 161925 w 590550"/>
                  <a:gd name="connsiteY26" fmla="*/ 420386 h 590550"/>
                  <a:gd name="connsiteX27" fmla="*/ 196844 w 590550"/>
                  <a:gd name="connsiteY27" fmla="*/ 391287 h 590550"/>
                  <a:gd name="connsiteX28" fmla="*/ 200025 w 590550"/>
                  <a:gd name="connsiteY28" fmla="*/ 432273 h 590550"/>
                  <a:gd name="connsiteX29" fmla="*/ 200025 w 590550"/>
                  <a:gd name="connsiteY29" fmla="*/ 495300 h 590550"/>
                  <a:gd name="connsiteX30" fmla="*/ 295275 w 590550"/>
                  <a:gd name="connsiteY30" fmla="*/ 590550 h 590550"/>
                  <a:gd name="connsiteX31" fmla="*/ 390515 w 590550"/>
                  <a:gd name="connsiteY31" fmla="*/ 495310 h 590550"/>
                  <a:gd name="connsiteX32" fmla="*/ 390525 w 590550"/>
                  <a:gd name="connsiteY32" fmla="*/ 425348 h 590550"/>
                  <a:gd name="connsiteX33" fmla="*/ 402841 w 590550"/>
                  <a:gd name="connsiteY33" fmla="*/ 413052 h 590550"/>
                  <a:gd name="connsiteX34" fmla="*/ 413223 w 590550"/>
                  <a:gd name="connsiteY34" fmla="*/ 410975 h 590550"/>
                  <a:gd name="connsiteX35" fmla="*/ 419100 w 590550"/>
                  <a:gd name="connsiteY35" fmla="*/ 419776 h 590550"/>
                  <a:gd name="connsiteX36" fmla="*/ 419100 w 590550"/>
                  <a:gd name="connsiteY36" fmla="*/ 438150 h 590550"/>
                  <a:gd name="connsiteX37" fmla="*/ 495300 w 590550"/>
                  <a:gd name="connsiteY37" fmla="*/ 438150 h 590550"/>
                  <a:gd name="connsiteX38" fmla="*/ 495300 w 590550"/>
                  <a:gd name="connsiteY38" fmla="*/ 419776 h 590550"/>
                  <a:gd name="connsiteX39" fmla="*/ 501177 w 590550"/>
                  <a:gd name="connsiteY39" fmla="*/ 410966 h 590550"/>
                  <a:gd name="connsiteX40" fmla="*/ 511559 w 590550"/>
                  <a:gd name="connsiteY40" fmla="*/ 413052 h 590550"/>
                  <a:gd name="connsiteX41" fmla="*/ 524561 w 590550"/>
                  <a:gd name="connsiteY41" fmla="*/ 426025 h 590550"/>
                  <a:gd name="connsiteX42" fmla="*/ 578425 w 590550"/>
                  <a:gd name="connsiteY42" fmla="*/ 372161 h 590550"/>
                  <a:gd name="connsiteX43" fmla="*/ 565442 w 590550"/>
                  <a:gd name="connsiteY43" fmla="*/ 359159 h 590550"/>
                  <a:gd name="connsiteX44" fmla="*/ 563366 w 590550"/>
                  <a:gd name="connsiteY44" fmla="*/ 348777 h 590550"/>
                  <a:gd name="connsiteX45" fmla="*/ 572176 w 590550"/>
                  <a:gd name="connsiteY45" fmla="*/ 342900 h 590550"/>
                  <a:gd name="connsiteX46" fmla="*/ 161925 w 590550"/>
                  <a:gd name="connsiteY46" fmla="*/ 292722 h 590550"/>
                  <a:gd name="connsiteX47" fmla="*/ 161925 w 590550"/>
                  <a:gd name="connsiteY47" fmla="*/ 323850 h 590550"/>
                  <a:gd name="connsiteX48" fmla="*/ 76200 w 590550"/>
                  <a:gd name="connsiteY48" fmla="*/ 323850 h 590550"/>
                  <a:gd name="connsiteX49" fmla="*/ 57150 w 590550"/>
                  <a:gd name="connsiteY49" fmla="*/ 304800 h 590550"/>
                  <a:gd name="connsiteX50" fmla="*/ 76200 w 590550"/>
                  <a:gd name="connsiteY50" fmla="*/ 285750 h 590550"/>
                  <a:gd name="connsiteX51" fmla="*/ 158667 w 590550"/>
                  <a:gd name="connsiteY51" fmla="*/ 285750 h 590550"/>
                  <a:gd name="connsiteX52" fmla="*/ 161925 w 590550"/>
                  <a:gd name="connsiteY52" fmla="*/ 292722 h 590550"/>
                  <a:gd name="connsiteX53" fmla="*/ 76200 w 590550"/>
                  <a:gd name="connsiteY53" fmla="*/ 361950 h 590550"/>
                  <a:gd name="connsiteX54" fmla="*/ 19050 w 590550"/>
                  <a:gd name="connsiteY54" fmla="*/ 304800 h 590550"/>
                  <a:gd name="connsiteX55" fmla="*/ 76200 w 590550"/>
                  <a:gd name="connsiteY55" fmla="*/ 247650 h 590550"/>
                  <a:gd name="connsiteX56" fmla="*/ 144790 w 590550"/>
                  <a:gd name="connsiteY56" fmla="*/ 247650 h 590550"/>
                  <a:gd name="connsiteX57" fmla="*/ 150981 w 590550"/>
                  <a:gd name="connsiteY57" fmla="*/ 266700 h 590550"/>
                  <a:gd name="connsiteX58" fmla="*/ 76200 w 590550"/>
                  <a:gd name="connsiteY58" fmla="*/ 266700 h 590550"/>
                  <a:gd name="connsiteX59" fmla="*/ 38100 w 590550"/>
                  <a:gd name="connsiteY59" fmla="*/ 304800 h 590550"/>
                  <a:gd name="connsiteX60" fmla="*/ 76200 w 590550"/>
                  <a:gd name="connsiteY60" fmla="*/ 342900 h 590550"/>
                  <a:gd name="connsiteX61" fmla="*/ 180975 w 590550"/>
                  <a:gd name="connsiteY61" fmla="*/ 342900 h 590550"/>
                  <a:gd name="connsiteX62" fmla="*/ 180975 w 590550"/>
                  <a:gd name="connsiteY62" fmla="*/ 325136 h 590550"/>
                  <a:gd name="connsiteX63" fmla="*/ 213722 w 590550"/>
                  <a:gd name="connsiteY63" fmla="*/ 352425 h 590550"/>
                  <a:gd name="connsiteX64" fmla="*/ 180975 w 590550"/>
                  <a:gd name="connsiteY64" fmla="*/ 379714 h 590550"/>
                  <a:gd name="connsiteX65" fmla="*/ 180975 w 590550"/>
                  <a:gd name="connsiteY65" fmla="*/ 361950 h 590550"/>
                  <a:gd name="connsiteX66" fmla="*/ 76200 w 590550"/>
                  <a:gd name="connsiteY66" fmla="*/ 361950 h 590550"/>
                  <a:gd name="connsiteX67" fmla="*/ 243488 w 590550"/>
                  <a:gd name="connsiteY67" fmla="*/ 352425 h 590550"/>
                  <a:gd name="connsiteX68" fmla="*/ 191329 w 590550"/>
                  <a:gd name="connsiteY68" fmla="*/ 308962 h 590550"/>
                  <a:gd name="connsiteX69" fmla="*/ 184604 w 590550"/>
                  <a:gd name="connsiteY69" fmla="*/ 295513 h 590550"/>
                  <a:gd name="connsiteX70" fmla="*/ 152400 w 590550"/>
                  <a:gd name="connsiteY70" fmla="*/ 167802 h 590550"/>
                  <a:gd name="connsiteX71" fmla="*/ 152400 w 590550"/>
                  <a:gd name="connsiteY71" fmla="*/ 161573 h 590550"/>
                  <a:gd name="connsiteX72" fmla="*/ 198558 w 590550"/>
                  <a:gd name="connsiteY72" fmla="*/ 57950 h 590550"/>
                  <a:gd name="connsiteX73" fmla="*/ 202006 w 590550"/>
                  <a:gd name="connsiteY73" fmla="*/ 54835 h 590550"/>
                  <a:gd name="connsiteX74" fmla="*/ 295275 w 590550"/>
                  <a:gd name="connsiteY74" fmla="*/ 19050 h 590550"/>
                  <a:gd name="connsiteX75" fmla="*/ 388525 w 590550"/>
                  <a:gd name="connsiteY75" fmla="*/ 54835 h 590550"/>
                  <a:gd name="connsiteX76" fmla="*/ 391992 w 590550"/>
                  <a:gd name="connsiteY76" fmla="*/ 57960 h 590550"/>
                  <a:gd name="connsiteX77" fmla="*/ 438150 w 590550"/>
                  <a:gd name="connsiteY77" fmla="*/ 161582 h 590550"/>
                  <a:gd name="connsiteX78" fmla="*/ 438150 w 590550"/>
                  <a:gd name="connsiteY78" fmla="*/ 171450 h 590550"/>
                  <a:gd name="connsiteX79" fmla="*/ 419100 w 590550"/>
                  <a:gd name="connsiteY79" fmla="*/ 171450 h 590550"/>
                  <a:gd name="connsiteX80" fmla="*/ 419100 w 590550"/>
                  <a:gd name="connsiteY80" fmla="*/ 189824 h 590550"/>
                  <a:gd name="connsiteX81" fmla="*/ 413223 w 590550"/>
                  <a:gd name="connsiteY81" fmla="*/ 198634 h 590550"/>
                  <a:gd name="connsiteX82" fmla="*/ 402841 w 590550"/>
                  <a:gd name="connsiteY82" fmla="*/ 196548 h 590550"/>
                  <a:gd name="connsiteX83" fmla="*/ 389839 w 590550"/>
                  <a:gd name="connsiteY83" fmla="*/ 183575 h 590550"/>
                  <a:gd name="connsiteX84" fmla="*/ 381000 w 590550"/>
                  <a:gd name="connsiteY84" fmla="*/ 192405 h 590550"/>
                  <a:gd name="connsiteX85" fmla="*/ 381000 w 590550"/>
                  <a:gd name="connsiteY85" fmla="*/ 76200 h 590550"/>
                  <a:gd name="connsiteX86" fmla="*/ 304800 w 590550"/>
                  <a:gd name="connsiteY86" fmla="*/ 76200 h 590550"/>
                  <a:gd name="connsiteX87" fmla="*/ 304800 w 590550"/>
                  <a:gd name="connsiteY87" fmla="*/ 133350 h 590550"/>
                  <a:gd name="connsiteX88" fmla="*/ 247650 w 590550"/>
                  <a:gd name="connsiteY88" fmla="*/ 133350 h 590550"/>
                  <a:gd name="connsiteX89" fmla="*/ 247650 w 590550"/>
                  <a:gd name="connsiteY89" fmla="*/ 190500 h 590550"/>
                  <a:gd name="connsiteX90" fmla="*/ 190500 w 590550"/>
                  <a:gd name="connsiteY90" fmla="*/ 190500 h 590550"/>
                  <a:gd name="connsiteX91" fmla="*/ 190500 w 590550"/>
                  <a:gd name="connsiteY91" fmla="*/ 285750 h 590550"/>
                  <a:gd name="connsiteX92" fmla="*/ 209550 w 590550"/>
                  <a:gd name="connsiteY92" fmla="*/ 285750 h 590550"/>
                  <a:gd name="connsiteX93" fmla="*/ 209550 w 590550"/>
                  <a:gd name="connsiteY93" fmla="*/ 209550 h 590550"/>
                  <a:gd name="connsiteX94" fmla="*/ 247650 w 590550"/>
                  <a:gd name="connsiteY94" fmla="*/ 209550 h 590550"/>
                  <a:gd name="connsiteX95" fmla="*/ 247650 w 590550"/>
                  <a:gd name="connsiteY95" fmla="*/ 285750 h 590550"/>
                  <a:gd name="connsiteX96" fmla="*/ 266700 w 590550"/>
                  <a:gd name="connsiteY96" fmla="*/ 285750 h 590550"/>
                  <a:gd name="connsiteX97" fmla="*/ 266700 w 590550"/>
                  <a:gd name="connsiteY97" fmla="*/ 200025 h 590550"/>
                  <a:gd name="connsiteX98" fmla="*/ 266700 w 590550"/>
                  <a:gd name="connsiteY98" fmla="*/ 190500 h 590550"/>
                  <a:gd name="connsiteX99" fmla="*/ 266700 w 590550"/>
                  <a:gd name="connsiteY99" fmla="*/ 152400 h 590550"/>
                  <a:gd name="connsiteX100" fmla="*/ 304800 w 590550"/>
                  <a:gd name="connsiteY100" fmla="*/ 152400 h 590550"/>
                  <a:gd name="connsiteX101" fmla="*/ 304800 w 590550"/>
                  <a:gd name="connsiteY101" fmla="*/ 285750 h 590550"/>
                  <a:gd name="connsiteX102" fmla="*/ 323850 w 590550"/>
                  <a:gd name="connsiteY102" fmla="*/ 285750 h 590550"/>
                  <a:gd name="connsiteX103" fmla="*/ 323850 w 590550"/>
                  <a:gd name="connsiteY103" fmla="*/ 304800 h 590550"/>
                  <a:gd name="connsiteX104" fmla="*/ 228600 w 590550"/>
                  <a:gd name="connsiteY104" fmla="*/ 304800 h 590550"/>
                  <a:gd name="connsiteX105" fmla="*/ 228600 w 590550"/>
                  <a:gd name="connsiteY105" fmla="*/ 323850 h 590550"/>
                  <a:gd name="connsiteX106" fmla="*/ 247650 w 590550"/>
                  <a:gd name="connsiteY106" fmla="*/ 323850 h 590550"/>
                  <a:gd name="connsiteX107" fmla="*/ 247650 w 590550"/>
                  <a:gd name="connsiteY107" fmla="*/ 400050 h 590550"/>
                  <a:gd name="connsiteX108" fmla="*/ 217227 w 590550"/>
                  <a:gd name="connsiteY108" fmla="*/ 400050 h 590550"/>
                  <a:gd name="connsiteX109" fmla="*/ 213684 w 590550"/>
                  <a:gd name="connsiteY109" fmla="*/ 377257 h 590550"/>
                  <a:gd name="connsiteX110" fmla="*/ 243488 w 590550"/>
                  <a:gd name="connsiteY110" fmla="*/ 352425 h 590550"/>
                  <a:gd name="connsiteX111" fmla="*/ 348958 w 590550"/>
                  <a:gd name="connsiteY111" fmla="*/ 250441 h 590550"/>
                  <a:gd name="connsiteX112" fmla="*/ 351034 w 590550"/>
                  <a:gd name="connsiteY112" fmla="*/ 260823 h 590550"/>
                  <a:gd name="connsiteX113" fmla="*/ 342224 w 590550"/>
                  <a:gd name="connsiteY113" fmla="*/ 266700 h 590550"/>
                  <a:gd name="connsiteX114" fmla="*/ 323850 w 590550"/>
                  <a:gd name="connsiteY114" fmla="*/ 266700 h 590550"/>
                  <a:gd name="connsiteX115" fmla="*/ 323850 w 590550"/>
                  <a:gd name="connsiteY115" fmla="*/ 142875 h 590550"/>
                  <a:gd name="connsiteX116" fmla="*/ 323850 w 590550"/>
                  <a:gd name="connsiteY116" fmla="*/ 133350 h 590550"/>
                  <a:gd name="connsiteX117" fmla="*/ 323850 w 590550"/>
                  <a:gd name="connsiteY117" fmla="*/ 95250 h 590550"/>
                  <a:gd name="connsiteX118" fmla="*/ 361950 w 590550"/>
                  <a:gd name="connsiteY118" fmla="*/ 95250 h 590550"/>
                  <a:gd name="connsiteX119" fmla="*/ 361950 w 590550"/>
                  <a:gd name="connsiteY119" fmla="*/ 211455 h 590550"/>
                  <a:gd name="connsiteX120" fmla="*/ 335966 w 590550"/>
                  <a:gd name="connsiteY120" fmla="*/ 237439 h 590550"/>
                  <a:gd name="connsiteX121" fmla="*/ 348958 w 590550"/>
                  <a:gd name="connsiteY121" fmla="*/ 250441 h 590550"/>
                  <a:gd name="connsiteX122" fmla="*/ 363855 w 590550"/>
                  <a:gd name="connsiteY122" fmla="*/ 400050 h 590550"/>
                  <a:gd name="connsiteX123" fmla="*/ 323850 w 590550"/>
                  <a:gd name="connsiteY123" fmla="*/ 400050 h 590550"/>
                  <a:gd name="connsiteX124" fmla="*/ 323850 w 590550"/>
                  <a:gd name="connsiteY124" fmla="*/ 342900 h 590550"/>
                  <a:gd name="connsiteX125" fmla="*/ 342224 w 590550"/>
                  <a:gd name="connsiteY125" fmla="*/ 342900 h 590550"/>
                  <a:gd name="connsiteX126" fmla="*/ 351034 w 590550"/>
                  <a:gd name="connsiteY126" fmla="*/ 348777 h 590550"/>
                  <a:gd name="connsiteX127" fmla="*/ 348948 w 590550"/>
                  <a:gd name="connsiteY127" fmla="*/ 359159 h 590550"/>
                  <a:gd name="connsiteX128" fmla="*/ 335975 w 590550"/>
                  <a:gd name="connsiteY128" fmla="*/ 372161 h 590550"/>
                  <a:gd name="connsiteX129" fmla="*/ 363855 w 590550"/>
                  <a:gd name="connsiteY129" fmla="*/ 400050 h 590550"/>
                  <a:gd name="connsiteX130" fmla="*/ 219075 w 590550"/>
                  <a:gd name="connsiteY130" fmla="*/ 457200 h 590550"/>
                  <a:gd name="connsiteX131" fmla="*/ 371465 w 590550"/>
                  <a:gd name="connsiteY131" fmla="*/ 457200 h 590550"/>
                  <a:gd name="connsiteX132" fmla="*/ 371465 w 590550"/>
                  <a:gd name="connsiteY132" fmla="*/ 476250 h 590550"/>
                  <a:gd name="connsiteX133" fmla="*/ 219075 w 590550"/>
                  <a:gd name="connsiteY133" fmla="*/ 476250 h 590550"/>
                  <a:gd name="connsiteX134" fmla="*/ 219075 w 590550"/>
                  <a:gd name="connsiteY134" fmla="*/ 457200 h 590550"/>
                  <a:gd name="connsiteX135" fmla="*/ 219075 w 590550"/>
                  <a:gd name="connsiteY135" fmla="*/ 438150 h 590550"/>
                  <a:gd name="connsiteX136" fmla="*/ 219075 w 590550"/>
                  <a:gd name="connsiteY136" fmla="*/ 432273 h 590550"/>
                  <a:gd name="connsiteX137" fmla="*/ 218723 w 590550"/>
                  <a:gd name="connsiteY137" fmla="*/ 419100 h 590550"/>
                  <a:gd name="connsiteX138" fmla="*/ 371475 w 590550"/>
                  <a:gd name="connsiteY138" fmla="*/ 419100 h 590550"/>
                  <a:gd name="connsiteX139" fmla="*/ 371475 w 590550"/>
                  <a:gd name="connsiteY139" fmla="*/ 438150 h 590550"/>
                  <a:gd name="connsiteX140" fmla="*/ 219075 w 590550"/>
                  <a:gd name="connsiteY140" fmla="*/ 438150 h 590550"/>
                  <a:gd name="connsiteX141" fmla="*/ 304800 w 590550"/>
                  <a:gd name="connsiteY141" fmla="*/ 323850 h 590550"/>
                  <a:gd name="connsiteX142" fmla="*/ 304800 w 590550"/>
                  <a:gd name="connsiteY142" fmla="*/ 400050 h 590550"/>
                  <a:gd name="connsiteX143" fmla="*/ 266700 w 590550"/>
                  <a:gd name="connsiteY143" fmla="*/ 400050 h 590550"/>
                  <a:gd name="connsiteX144" fmla="*/ 266700 w 590550"/>
                  <a:gd name="connsiteY144" fmla="*/ 323850 h 590550"/>
                  <a:gd name="connsiteX145" fmla="*/ 304800 w 590550"/>
                  <a:gd name="connsiteY145" fmla="*/ 323850 h 590550"/>
                  <a:gd name="connsiteX146" fmla="*/ 295275 w 590550"/>
                  <a:gd name="connsiteY146" fmla="*/ 571500 h 590550"/>
                  <a:gd name="connsiteX147" fmla="*/ 219075 w 590550"/>
                  <a:gd name="connsiteY147" fmla="*/ 495300 h 590550"/>
                  <a:gd name="connsiteX148" fmla="*/ 371465 w 590550"/>
                  <a:gd name="connsiteY148" fmla="*/ 495300 h 590550"/>
                  <a:gd name="connsiteX149" fmla="*/ 371465 w 590550"/>
                  <a:gd name="connsiteY149" fmla="*/ 495310 h 590550"/>
                  <a:gd name="connsiteX150" fmla="*/ 295275 w 590550"/>
                  <a:gd name="connsiteY150" fmla="*/ 571500 h 590550"/>
                  <a:gd name="connsiteX151" fmla="*/ 545773 w 590550"/>
                  <a:gd name="connsiteY151" fmla="*/ 341500 h 590550"/>
                  <a:gd name="connsiteX152" fmla="*/ 551507 w 590550"/>
                  <a:gd name="connsiteY152" fmla="*/ 372151 h 590550"/>
                  <a:gd name="connsiteX153" fmla="*/ 524551 w 590550"/>
                  <a:gd name="connsiteY153" fmla="*/ 399107 h 590550"/>
                  <a:gd name="connsiteX154" fmla="*/ 493900 w 590550"/>
                  <a:gd name="connsiteY154" fmla="*/ 393373 h 590550"/>
                  <a:gd name="connsiteX155" fmla="*/ 476260 w 590550"/>
                  <a:gd name="connsiteY155" fmla="*/ 419100 h 590550"/>
                  <a:gd name="connsiteX156" fmla="*/ 438140 w 590550"/>
                  <a:gd name="connsiteY156" fmla="*/ 419100 h 590550"/>
                  <a:gd name="connsiteX157" fmla="*/ 420500 w 590550"/>
                  <a:gd name="connsiteY157" fmla="*/ 393373 h 590550"/>
                  <a:gd name="connsiteX158" fmla="*/ 389849 w 590550"/>
                  <a:gd name="connsiteY158" fmla="*/ 399107 h 590550"/>
                  <a:gd name="connsiteX159" fmla="*/ 362893 w 590550"/>
                  <a:gd name="connsiteY159" fmla="*/ 372151 h 590550"/>
                  <a:gd name="connsiteX160" fmla="*/ 368627 w 590550"/>
                  <a:gd name="connsiteY160" fmla="*/ 341500 h 590550"/>
                  <a:gd name="connsiteX161" fmla="*/ 342900 w 590550"/>
                  <a:gd name="connsiteY161" fmla="*/ 323860 h 590550"/>
                  <a:gd name="connsiteX162" fmla="*/ 342900 w 590550"/>
                  <a:gd name="connsiteY162" fmla="*/ 285740 h 590550"/>
                  <a:gd name="connsiteX163" fmla="*/ 368627 w 590550"/>
                  <a:gd name="connsiteY163" fmla="*/ 268100 h 590550"/>
                  <a:gd name="connsiteX164" fmla="*/ 362893 w 590550"/>
                  <a:gd name="connsiteY164" fmla="*/ 237449 h 590550"/>
                  <a:gd name="connsiteX165" fmla="*/ 389849 w 590550"/>
                  <a:gd name="connsiteY165" fmla="*/ 210493 h 590550"/>
                  <a:gd name="connsiteX166" fmla="*/ 420500 w 590550"/>
                  <a:gd name="connsiteY166" fmla="*/ 216227 h 590550"/>
                  <a:gd name="connsiteX167" fmla="*/ 438140 w 590550"/>
                  <a:gd name="connsiteY167" fmla="*/ 190500 h 590550"/>
                  <a:gd name="connsiteX168" fmla="*/ 476260 w 590550"/>
                  <a:gd name="connsiteY168" fmla="*/ 190500 h 590550"/>
                  <a:gd name="connsiteX169" fmla="*/ 493900 w 590550"/>
                  <a:gd name="connsiteY169" fmla="*/ 216227 h 590550"/>
                  <a:gd name="connsiteX170" fmla="*/ 524551 w 590550"/>
                  <a:gd name="connsiteY170" fmla="*/ 210493 h 590550"/>
                  <a:gd name="connsiteX171" fmla="*/ 551507 w 590550"/>
                  <a:gd name="connsiteY171" fmla="*/ 237449 h 590550"/>
                  <a:gd name="connsiteX172" fmla="*/ 545773 w 590550"/>
                  <a:gd name="connsiteY172" fmla="*/ 268100 h 590550"/>
                  <a:gd name="connsiteX173" fmla="*/ 571500 w 590550"/>
                  <a:gd name="connsiteY173" fmla="*/ 285740 h 590550"/>
                  <a:gd name="connsiteX174" fmla="*/ 571500 w 590550"/>
                  <a:gd name="connsiteY174" fmla="*/ 323860 h 590550"/>
                  <a:gd name="connsiteX175" fmla="*/ 545773 w 590550"/>
                  <a:gd name="connsiteY175" fmla="*/ 341500 h 590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</a:cxnLst>
                <a:rect l="l" t="t" r="r" b="b"/>
                <a:pathLst>
                  <a:path w="590550" h="590550">
                    <a:moveTo>
                      <a:pt x="572176" y="342900"/>
                    </a:moveTo>
                    <a:lnTo>
                      <a:pt x="590550" y="342900"/>
                    </a:lnTo>
                    <a:lnTo>
                      <a:pt x="590550" y="266700"/>
                    </a:lnTo>
                    <a:lnTo>
                      <a:pt x="572176" y="266700"/>
                    </a:lnTo>
                    <a:cubicBezTo>
                      <a:pt x="566271" y="266700"/>
                      <a:pt x="563947" y="262195"/>
                      <a:pt x="563366" y="260823"/>
                    </a:cubicBezTo>
                    <a:cubicBezTo>
                      <a:pt x="562794" y="259432"/>
                      <a:pt x="561261" y="254622"/>
                      <a:pt x="565452" y="250441"/>
                    </a:cubicBezTo>
                    <a:lnTo>
                      <a:pt x="578425" y="237439"/>
                    </a:lnTo>
                    <a:lnTo>
                      <a:pt x="524561" y="183575"/>
                    </a:lnTo>
                    <a:lnTo>
                      <a:pt x="511559" y="196558"/>
                    </a:lnTo>
                    <a:cubicBezTo>
                      <a:pt x="507387" y="200749"/>
                      <a:pt x="502568" y="199187"/>
                      <a:pt x="501177" y="198634"/>
                    </a:cubicBezTo>
                    <a:cubicBezTo>
                      <a:pt x="499805" y="198053"/>
                      <a:pt x="495300" y="195729"/>
                      <a:pt x="495300" y="189824"/>
                    </a:cubicBezTo>
                    <a:lnTo>
                      <a:pt x="495300" y="171450"/>
                    </a:lnTo>
                    <a:lnTo>
                      <a:pt x="457200" y="171450"/>
                    </a:lnTo>
                    <a:lnTo>
                      <a:pt x="457200" y="161582"/>
                    </a:lnTo>
                    <a:cubicBezTo>
                      <a:pt x="457200" y="116729"/>
                      <a:pt x="438074" y="73800"/>
                      <a:pt x="404736" y="43805"/>
                    </a:cubicBezTo>
                    <a:lnTo>
                      <a:pt x="401269" y="40681"/>
                    </a:lnTo>
                    <a:cubicBezTo>
                      <a:pt x="372123" y="14449"/>
                      <a:pt x="334480" y="0"/>
                      <a:pt x="295275" y="0"/>
                    </a:cubicBezTo>
                    <a:cubicBezTo>
                      <a:pt x="256070" y="0"/>
                      <a:pt x="218418" y="14449"/>
                      <a:pt x="189252" y="40681"/>
                    </a:cubicBezTo>
                    <a:lnTo>
                      <a:pt x="185804" y="43796"/>
                    </a:lnTo>
                    <a:cubicBezTo>
                      <a:pt x="152467" y="73790"/>
                      <a:pt x="133350" y="116719"/>
                      <a:pt x="133350" y="161573"/>
                    </a:cubicBezTo>
                    <a:lnTo>
                      <a:pt x="133350" y="167802"/>
                    </a:lnTo>
                    <a:cubicBezTo>
                      <a:pt x="133350" y="188271"/>
                      <a:pt x="135684" y="208645"/>
                      <a:pt x="139998" y="228600"/>
                    </a:cubicBezTo>
                    <a:lnTo>
                      <a:pt x="76200" y="228600"/>
                    </a:lnTo>
                    <a:cubicBezTo>
                      <a:pt x="34185" y="228600"/>
                      <a:pt x="0" y="262785"/>
                      <a:pt x="0" y="304800"/>
                    </a:cubicBezTo>
                    <a:cubicBezTo>
                      <a:pt x="0" y="346815"/>
                      <a:pt x="34185" y="381000"/>
                      <a:pt x="76200" y="381000"/>
                    </a:cubicBezTo>
                    <a:lnTo>
                      <a:pt x="161925" y="381000"/>
                    </a:lnTo>
                    <a:lnTo>
                      <a:pt x="161925" y="420386"/>
                    </a:lnTo>
                    <a:lnTo>
                      <a:pt x="196844" y="391287"/>
                    </a:lnTo>
                    <a:cubicBezTo>
                      <a:pt x="198930" y="404841"/>
                      <a:pt x="200025" y="418567"/>
                      <a:pt x="200025" y="432273"/>
                    </a:cubicBezTo>
                    <a:lnTo>
                      <a:pt x="200025" y="495300"/>
                    </a:lnTo>
                    <a:cubicBezTo>
                      <a:pt x="200025" y="547821"/>
                      <a:pt x="242754" y="590550"/>
                      <a:pt x="295275" y="590550"/>
                    </a:cubicBezTo>
                    <a:cubicBezTo>
                      <a:pt x="347796" y="590550"/>
                      <a:pt x="390515" y="547830"/>
                      <a:pt x="390515" y="495310"/>
                    </a:cubicBezTo>
                    <a:lnTo>
                      <a:pt x="390525" y="425348"/>
                    </a:lnTo>
                    <a:lnTo>
                      <a:pt x="402841" y="413052"/>
                    </a:lnTo>
                    <a:cubicBezTo>
                      <a:pt x="407022" y="408870"/>
                      <a:pt x="411832" y="410432"/>
                      <a:pt x="413223" y="410975"/>
                    </a:cubicBezTo>
                    <a:cubicBezTo>
                      <a:pt x="414595" y="411547"/>
                      <a:pt x="419100" y="413871"/>
                      <a:pt x="419100" y="419776"/>
                    </a:cubicBezTo>
                    <a:lnTo>
                      <a:pt x="419100" y="438150"/>
                    </a:lnTo>
                    <a:lnTo>
                      <a:pt x="495300" y="438150"/>
                    </a:lnTo>
                    <a:lnTo>
                      <a:pt x="495300" y="419776"/>
                    </a:lnTo>
                    <a:cubicBezTo>
                      <a:pt x="495300" y="413871"/>
                      <a:pt x="499805" y="411547"/>
                      <a:pt x="501177" y="410966"/>
                    </a:cubicBezTo>
                    <a:cubicBezTo>
                      <a:pt x="502568" y="410413"/>
                      <a:pt x="507378" y="408842"/>
                      <a:pt x="511559" y="413052"/>
                    </a:cubicBezTo>
                    <a:lnTo>
                      <a:pt x="524561" y="426025"/>
                    </a:lnTo>
                    <a:lnTo>
                      <a:pt x="578425" y="372161"/>
                    </a:lnTo>
                    <a:lnTo>
                      <a:pt x="565442" y="359159"/>
                    </a:lnTo>
                    <a:cubicBezTo>
                      <a:pt x="561270" y="354987"/>
                      <a:pt x="562804" y="350168"/>
                      <a:pt x="563366" y="348777"/>
                    </a:cubicBezTo>
                    <a:cubicBezTo>
                      <a:pt x="563947" y="347405"/>
                      <a:pt x="566271" y="342900"/>
                      <a:pt x="572176" y="342900"/>
                    </a:cubicBezTo>
                    <a:close/>
                    <a:moveTo>
                      <a:pt x="161925" y="292722"/>
                    </a:moveTo>
                    <a:lnTo>
                      <a:pt x="161925" y="323850"/>
                    </a:lnTo>
                    <a:lnTo>
                      <a:pt x="76200" y="323850"/>
                    </a:lnTo>
                    <a:cubicBezTo>
                      <a:pt x="65694" y="323850"/>
                      <a:pt x="57150" y="315306"/>
                      <a:pt x="57150" y="304800"/>
                    </a:cubicBezTo>
                    <a:cubicBezTo>
                      <a:pt x="57150" y="294294"/>
                      <a:pt x="65694" y="285750"/>
                      <a:pt x="76200" y="285750"/>
                    </a:cubicBezTo>
                    <a:lnTo>
                      <a:pt x="158667" y="285750"/>
                    </a:lnTo>
                    <a:cubicBezTo>
                      <a:pt x="159715" y="288093"/>
                      <a:pt x="160811" y="290408"/>
                      <a:pt x="161925" y="292722"/>
                    </a:cubicBezTo>
                    <a:close/>
                    <a:moveTo>
                      <a:pt x="76200" y="361950"/>
                    </a:moveTo>
                    <a:cubicBezTo>
                      <a:pt x="44682" y="361950"/>
                      <a:pt x="19050" y="336318"/>
                      <a:pt x="19050" y="304800"/>
                    </a:cubicBezTo>
                    <a:cubicBezTo>
                      <a:pt x="19050" y="273282"/>
                      <a:pt x="44682" y="247650"/>
                      <a:pt x="76200" y="247650"/>
                    </a:cubicBezTo>
                    <a:lnTo>
                      <a:pt x="144790" y="247650"/>
                    </a:lnTo>
                    <a:cubicBezTo>
                      <a:pt x="146637" y="254070"/>
                      <a:pt x="148695" y="260423"/>
                      <a:pt x="150981" y="266700"/>
                    </a:cubicBezTo>
                    <a:lnTo>
                      <a:pt x="76200" y="266700"/>
                    </a:lnTo>
                    <a:cubicBezTo>
                      <a:pt x="55188" y="266700"/>
                      <a:pt x="38100" y="283788"/>
                      <a:pt x="38100" y="304800"/>
                    </a:cubicBezTo>
                    <a:cubicBezTo>
                      <a:pt x="38100" y="325812"/>
                      <a:pt x="55188" y="342900"/>
                      <a:pt x="76200" y="342900"/>
                    </a:cubicBezTo>
                    <a:lnTo>
                      <a:pt x="180975" y="342900"/>
                    </a:lnTo>
                    <a:lnTo>
                      <a:pt x="180975" y="325136"/>
                    </a:lnTo>
                    <a:lnTo>
                      <a:pt x="213722" y="352425"/>
                    </a:lnTo>
                    <a:lnTo>
                      <a:pt x="180975" y="379714"/>
                    </a:lnTo>
                    <a:lnTo>
                      <a:pt x="180975" y="361950"/>
                    </a:lnTo>
                    <a:lnTo>
                      <a:pt x="76200" y="361950"/>
                    </a:lnTo>
                    <a:close/>
                    <a:moveTo>
                      <a:pt x="243488" y="352425"/>
                    </a:moveTo>
                    <a:lnTo>
                      <a:pt x="191329" y="308962"/>
                    </a:lnTo>
                    <a:cubicBezTo>
                      <a:pt x="189186" y="304438"/>
                      <a:pt x="186985" y="299933"/>
                      <a:pt x="184604" y="295513"/>
                    </a:cubicBezTo>
                    <a:cubicBezTo>
                      <a:pt x="163535" y="256413"/>
                      <a:pt x="152400" y="212246"/>
                      <a:pt x="152400" y="167802"/>
                    </a:cubicBezTo>
                    <a:lnTo>
                      <a:pt x="152400" y="161573"/>
                    </a:lnTo>
                    <a:cubicBezTo>
                      <a:pt x="152400" y="122111"/>
                      <a:pt x="169221" y="84353"/>
                      <a:pt x="198558" y="57950"/>
                    </a:cubicBezTo>
                    <a:lnTo>
                      <a:pt x="202006" y="54835"/>
                    </a:lnTo>
                    <a:cubicBezTo>
                      <a:pt x="227648" y="31756"/>
                      <a:pt x="260775" y="19050"/>
                      <a:pt x="295275" y="19050"/>
                    </a:cubicBezTo>
                    <a:cubicBezTo>
                      <a:pt x="329765" y="19050"/>
                      <a:pt x="362883" y="31756"/>
                      <a:pt x="388525" y="54835"/>
                    </a:cubicBezTo>
                    <a:lnTo>
                      <a:pt x="391992" y="57960"/>
                    </a:lnTo>
                    <a:cubicBezTo>
                      <a:pt x="421319" y="84353"/>
                      <a:pt x="438150" y="122120"/>
                      <a:pt x="438150" y="161582"/>
                    </a:cubicBezTo>
                    <a:lnTo>
                      <a:pt x="438150" y="171450"/>
                    </a:lnTo>
                    <a:lnTo>
                      <a:pt x="419100" y="171450"/>
                    </a:lnTo>
                    <a:lnTo>
                      <a:pt x="419100" y="189824"/>
                    </a:lnTo>
                    <a:cubicBezTo>
                      <a:pt x="419100" y="195729"/>
                      <a:pt x="414595" y="198053"/>
                      <a:pt x="413223" y="198634"/>
                    </a:cubicBezTo>
                    <a:cubicBezTo>
                      <a:pt x="411832" y="199196"/>
                      <a:pt x="407032" y="200758"/>
                      <a:pt x="402841" y="196548"/>
                    </a:cubicBezTo>
                    <a:lnTo>
                      <a:pt x="389839" y="183575"/>
                    </a:lnTo>
                    <a:lnTo>
                      <a:pt x="381000" y="192405"/>
                    </a:lnTo>
                    <a:lnTo>
                      <a:pt x="381000" y="76200"/>
                    </a:lnTo>
                    <a:lnTo>
                      <a:pt x="304800" y="76200"/>
                    </a:lnTo>
                    <a:lnTo>
                      <a:pt x="304800" y="133350"/>
                    </a:lnTo>
                    <a:lnTo>
                      <a:pt x="247650" y="133350"/>
                    </a:lnTo>
                    <a:lnTo>
                      <a:pt x="247650" y="190500"/>
                    </a:lnTo>
                    <a:lnTo>
                      <a:pt x="190500" y="190500"/>
                    </a:lnTo>
                    <a:lnTo>
                      <a:pt x="190500" y="285750"/>
                    </a:lnTo>
                    <a:lnTo>
                      <a:pt x="209550" y="285750"/>
                    </a:lnTo>
                    <a:lnTo>
                      <a:pt x="209550" y="209550"/>
                    </a:lnTo>
                    <a:lnTo>
                      <a:pt x="247650" y="209550"/>
                    </a:lnTo>
                    <a:lnTo>
                      <a:pt x="247650" y="285750"/>
                    </a:lnTo>
                    <a:lnTo>
                      <a:pt x="266700" y="285750"/>
                    </a:lnTo>
                    <a:lnTo>
                      <a:pt x="266700" y="200025"/>
                    </a:lnTo>
                    <a:lnTo>
                      <a:pt x="266700" y="190500"/>
                    </a:lnTo>
                    <a:lnTo>
                      <a:pt x="266700" y="152400"/>
                    </a:lnTo>
                    <a:lnTo>
                      <a:pt x="304800" y="152400"/>
                    </a:lnTo>
                    <a:lnTo>
                      <a:pt x="304800" y="285750"/>
                    </a:lnTo>
                    <a:lnTo>
                      <a:pt x="323850" y="285750"/>
                    </a:lnTo>
                    <a:lnTo>
                      <a:pt x="323850" y="304800"/>
                    </a:lnTo>
                    <a:lnTo>
                      <a:pt x="228600" y="304800"/>
                    </a:lnTo>
                    <a:lnTo>
                      <a:pt x="228600" y="323850"/>
                    </a:lnTo>
                    <a:lnTo>
                      <a:pt x="247650" y="323850"/>
                    </a:lnTo>
                    <a:lnTo>
                      <a:pt x="247650" y="400050"/>
                    </a:lnTo>
                    <a:lnTo>
                      <a:pt x="217227" y="400050"/>
                    </a:lnTo>
                    <a:cubicBezTo>
                      <a:pt x="216370" y="392401"/>
                      <a:pt x="215151" y="384810"/>
                      <a:pt x="213684" y="377257"/>
                    </a:cubicBezTo>
                    <a:lnTo>
                      <a:pt x="243488" y="352425"/>
                    </a:lnTo>
                    <a:close/>
                    <a:moveTo>
                      <a:pt x="348958" y="250441"/>
                    </a:moveTo>
                    <a:cubicBezTo>
                      <a:pt x="353130" y="254613"/>
                      <a:pt x="351596" y="259432"/>
                      <a:pt x="351034" y="260823"/>
                    </a:cubicBezTo>
                    <a:cubicBezTo>
                      <a:pt x="350453" y="262195"/>
                      <a:pt x="348129" y="266700"/>
                      <a:pt x="342224" y="266700"/>
                    </a:cubicBezTo>
                    <a:lnTo>
                      <a:pt x="323850" y="266700"/>
                    </a:lnTo>
                    <a:lnTo>
                      <a:pt x="323850" y="142875"/>
                    </a:lnTo>
                    <a:lnTo>
                      <a:pt x="323850" y="133350"/>
                    </a:lnTo>
                    <a:lnTo>
                      <a:pt x="323850" y="95250"/>
                    </a:lnTo>
                    <a:lnTo>
                      <a:pt x="361950" y="95250"/>
                    </a:lnTo>
                    <a:lnTo>
                      <a:pt x="361950" y="211455"/>
                    </a:lnTo>
                    <a:lnTo>
                      <a:pt x="335966" y="237439"/>
                    </a:lnTo>
                    <a:lnTo>
                      <a:pt x="348958" y="250441"/>
                    </a:lnTo>
                    <a:close/>
                    <a:moveTo>
                      <a:pt x="363855" y="400050"/>
                    </a:moveTo>
                    <a:lnTo>
                      <a:pt x="323850" y="400050"/>
                    </a:lnTo>
                    <a:lnTo>
                      <a:pt x="323850" y="342900"/>
                    </a:lnTo>
                    <a:lnTo>
                      <a:pt x="342224" y="342900"/>
                    </a:lnTo>
                    <a:cubicBezTo>
                      <a:pt x="348129" y="342900"/>
                      <a:pt x="350453" y="347405"/>
                      <a:pt x="351034" y="348777"/>
                    </a:cubicBezTo>
                    <a:cubicBezTo>
                      <a:pt x="351606" y="350168"/>
                      <a:pt x="353139" y="354978"/>
                      <a:pt x="348948" y="359159"/>
                    </a:cubicBezTo>
                    <a:lnTo>
                      <a:pt x="335975" y="372161"/>
                    </a:lnTo>
                    <a:lnTo>
                      <a:pt x="363855" y="400050"/>
                    </a:lnTo>
                    <a:close/>
                    <a:moveTo>
                      <a:pt x="219075" y="457200"/>
                    </a:moveTo>
                    <a:lnTo>
                      <a:pt x="371465" y="457200"/>
                    </a:lnTo>
                    <a:lnTo>
                      <a:pt x="371465" y="476250"/>
                    </a:lnTo>
                    <a:lnTo>
                      <a:pt x="219075" y="476250"/>
                    </a:lnTo>
                    <a:lnTo>
                      <a:pt x="219075" y="457200"/>
                    </a:lnTo>
                    <a:close/>
                    <a:moveTo>
                      <a:pt x="219075" y="438150"/>
                    </a:moveTo>
                    <a:lnTo>
                      <a:pt x="219075" y="432273"/>
                    </a:lnTo>
                    <a:cubicBezTo>
                      <a:pt x="219075" y="427882"/>
                      <a:pt x="218923" y="423491"/>
                      <a:pt x="218723" y="419100"/>
                    </a:cubicBezTo>
                    <a:lnTo>
                      <a:pt x="371475" y="419100"/>
                    </a:lnTo>
                    <a:lnTo>
                      <a:pt x="371475" y="438150"/>
                    </a:lnTo>
                    <a:lnTo>
                      <a:pt x="219075" y="438150"/>
                    </a:lnTo>
                    <a:close/>
                    <a:moveTo>
                      <a:pt x="304800" y="323850"/>
                    </a:moveTo>
                    <a:lnTo>
                      <a:pt x="304800" y="400050"/>
                    </a:lnTo>
                    <a:lnTo>
                      <a:pt x="266700" y="400050"/>
                    </a:lnTo>
                    <a:lnTo>
                      <a:pt x="266700" y="323850"/>
                    </a:lnTo>
                    <a:lnTo>
                      <a:pt x="304800" y="323850"/>
                    </a:lnTo>
                    <a:close/>
                    <a:moveTo>
                      <a:pt x="295275" y="571500"/>
                    </a:moveTo>
                    <a:cubicBezTo>
                      <a:pt x="253260" y="571500"/>
                      <a:pt x="219075" y="537315"/>
                      <a:pt x="219075" y="495300"/>
                    </a:cubicBezTo>
                    <a:lnTo>
                      <a:pt x="371465" y="495300"/>
                    </a:lnTo>
                    <a:lnTo>
                      <a:pt x="371465" y="495310"/>
                    </a:lnTo>
                    <a:cubicBezTo>
                      <a:pt x="371465" y="537324"/>
                      <a:pt x="337290" y="571500"/>
                      <a:pt x="295275" y="571500"/>
                    </a:cubicBezTo>
                    <a:close/>
                    <a:moveTo>
                      <a:pt x="545773" y="341500"/>
                    </a:moveTo>
                    <a:cubicBezTo>
                      <a:pt x="541353" y="352168"/>
                      <a:pt x="543563" y="363855"/>
                      <a:pt x="551507" y="372151"/>
                    </a:cubicBezTo>
                    <a:lnTo>
                      <a:pt x="524551" y="399107"/>
                    </a:lnTo>
                    <a:cubicBezTo>
                      <a:pt x="516246" y="391163"/>
                      <a:pt x="504587" y="388963"/>
                      <a:pt x="493900" y="393373"/>
                    </a:cubicBezTo>
                    <a:cubicBezTo>
                      <a:pt x="483222" y="397793"/>
                      <a:pt x="476517" y="407613"/>
                      <a:pt x="476260" y="419100"/>
                    </a:cubicBezTo>
                    <a:lnTo>
                      <a:pt x="438140" y="419100"/>
                    </a:lnTo>
                    <a:cubicBezTo>
                      <a:pt x="437893" y="407613"/>
                      <a:pt x="431187" y="397793"/>
                      <a:pt x="420500" y="393373"/>
                    </a:cubicBezTo>
                    <a:cubicBezTo>
                      <a:pt x="409813" y="388953"/>
                      <a:pt x="398135" y="391182"/>
                      <a:pt x="389849" y="399107"/>
                    </a:cubicBezTo>
                    <a:lnTo>
                      <a:pt x="362893" y="372151"/>
                    </a:lnTo>
                    <a:cubicBezTo>
                      <a:pt x="370837" y="363855"/>
                      <a:pt x="373037" y="352168"/>
                      <a:pt x="368627" y="341500"/>
                    </a:cubicBezTo>
                    <a:cubicBezTo>
                      <a:pt x="364207" y="330822"/>
                      <a:pt x="354387" y="324117"/>
                      <a:pt x="342900" y="323860"/>
                    </a:cubicBezTo>
                    <a:lnTo>
                      <a:pt x="342900" y="285740"/>
                    </a:lnTo>
                    <a:cubicBezTo>
                      <a:pt x="354387" y="285493"/>
                      <a:pt x="364207" y="278787"/>
                      <a:pt x="368627" y="268100"/>
                    </a:cubicBezTo>
                    <a:cubicBezTo>
                      <a:pt x="373047" y="257432"/>
                      <a:pt x="370837" y="245745"/>
                      <a:pt x="362893" y="237449"/>
                    </a:cubicBezTo>
                    <a:lnTo>
                      <a:pt x="389849" y="210493"/>
                    </a:lnTo>
                    <a:cubicBezTo>
                      <a:pt x="398155" y="218446"/>
                      <a:pt x="409813" y="220628"/>
                      <a:pt x="420500" y="216227"/>
                    </a:cubicBezTo>
                    <a:cubicBezTo>
                      <a:pt x="431178" y="211807"/>
                      <a:pt x="437883" y="201987"/>
                      <a:pt x="438140" y="190500"/>
                    </a:cubicBezTo>
                    <a:lnTo>
                      <a:pt x="476260" y="190500"/>
                    </a:lnTo>
                    <a:cubicBezTo>
                      <a:pt x="476507" y="201987"/>
                      <a:pt x="483213" y="211807"/>
                      <a:pt x="493900" y="216227"/>
                    </a:cubicBezTo>
                    <a:cubicBezTo>
                      <a:pt x="504606" y="220656"/>
                      <a:pt x="516274" y="218427"/>
                      <a:pt x="524551" y="210493"/>
                    </a:cubicBezTo>
                    <a:lnTo>
                      <a:pt x="551507" y="237449"/>
                    </a:lnTo>
                    <a:cubicBezTo>
                      <a:pt x="543563" y="245745"/>
                      <a:pt x="541363" y="257432"/>
                      <a:pt x="545773" y="268100"/>
                    </a:cubicBezTo>
                    <a:cubicBezTo>
                      <a:pt x="550193" y="278778"/>
                      <a:pt x="560013" y="285483"/>
                      <a:pt x="571500" y="285740"/>
                    </a:cubicBezTo>
                    <a:lnTo>
                      <a:pt x="571500" y="323860"/>
                    </a:lnTo>
                    <a:cubicBezTo>
                      <a:pt x="560013" y="324107"/>
                      <a:pt x="550193" y="330813"/>
                      <a:pt x="545773" y="34150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lIns="86295" rtlCol="0" anchor="ctr"/>
              <a:lstStyle/>
              <a:p>
                <a:endParaRPr lang="en-IN" dirty="0"/>
              </a:p>
            </p:txBody>
          </p:sp>
        </p:grp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944F32D7-7027-45D7-8CA7-899D2FA69263}"/>
                </a:ext>
              </a:extLst>
            </p:cNvPr>
            <p:cNvCxnSpPr>
              <a:cxnSpLocks/>
            </p:cNvCxnSpPr>
            <p:nvPr/>
          </p:nvCxnSpPr>
          <p:spPr>
            <a:xfrm>
              <a:off x="7898457" y="3820029"/>
              <a:ext cx="0" cy="430634"/>
            </a:xfrm>
            <a:prstGeom prst="line">
              <a:avLst/>
            </a:prstGeom>
            <a:ln w="3175">
              <a:solidFill>
                <a:srgbClr val="0083A9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5" name="Arrow: Left-Right 74">
            <a:extLst>
              <a:ext uri="{FF2B5EF4-FFF2-40B4-BE49-F238E27FC236}">
                <a16:creationId xmlns:a16="http://schemas.microsoft.com/office/drawing/2014/main" id="{BD6588AC-B462-4E08-8765-B67A09885C52}"/>
              </a:ext>
            </a:extLst>
          </p:cNvPr>
          <p:cNvSpPr/>
          <p:nvPr/>
        </p:nvSpPr>
        <p:spPr>
          <a:xfrm>
            <a:off x="7987369" y="5651217"/>
            <a:ext cx="5440625" cy="522234"/>
          </a:xfrm>
          <a:prstGeom prst="leftRightArrow">
            <a:avLst>
              <a:gd name="adj1" fmla="val 63867"/>
              <a:gd name="adj2" fmla="val 43801"/>
            </a:avLst>
          </a:prstGeom>
          <a:solidFill>
            <a:srgbClr val="5A245A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678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adership in sustainability</a:t>
            </a:r>
          </a:p>
        </p:txBody>
      </p:sp>
      <p:sp>
        <p:nvSpPr>
          <p:cNvPr id="76" name="Rectangle: Rounded Corners 75">
            <a:extLst>
              <a:ext uri="{FF2B5EF4-FFF2-40B4-BE49-F238E27FC236}">
                <a16:creationId xmlns:a16="http://schemas.microsoft.com/office/drawing/2014/main" id="{B254CF8A-DB6C-4CBD-95E9-5B8B2B2D1117}"/>
              </a:ext>
            </a:extLst>
          </p:cNvPr>
          <p:cNvSpPr/>
          <p:nvPr/>
        </p:nvSpPr>
        <p:spPr>
          <a:xfrm>
            <a:off x="7955715" y="6628764"/>
            <a:ext cx="6507166" cy="804971"/>
          </a:xfrm>
          <a:prstGeom prst="roundRect">
            <a:avLst>
              <a:gd name="adj" fmla="val 50000"/>
            </a:avLst>
          </a:prstGeom>
          <a:noFill/>
          <a:ln w="3175">
            <a:solidFill>
              <a:srgbClr val="0083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92396" tIns="0" bIns="0" rtlCol="0" anchor="ctr"/>
          <a:lstStyle/>
          <a:p>
            <a:pPr defTabSz="1095791">
              <a:defRPr/>
            </a:pPr>
            <a:r>
              <a:rPr lang="en-US" altLang="ja-JP" b="1" dirty="0">
                <a:solidFill>
                  <a:srgbClr val="3D7ED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ategy Deployment</a:t>
            </a:r>
          </a:p>
          <a:p>
            <a:pPr defTabSz="1095791">
              <a:defRPr/>
            </a:pPr>
            <a:r>
              <a:rPr lang="en-US" altLang="ja-JP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nual Business Plan and Long-Term Plan</a:t>
            </a:r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012A1C9E-434D-40B7-84AD-EA32033BC0DA}"/>
              </a:ext>
            </a:extLst>
          </p:cNvPr>
          <p:cNvGrpSpPr/>
          <p:nvPr/>
        </p:nvGrpSpPr>
        <p:grpSpPr>
          <a:xfrm>
            <a:off x="8348131" y="6690990"/>
            <a:ext cx="603520" cy="480281"/>
            <a:chOff x="7504753" y="5331757"/>
            <a:chExt cx="503544" cy="484871"/>
          </a:xfrm>
        </p:grpSpPr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245597A2-D806-4AA6-9437-15ED056B7A9B}"/>
                </a:ext>
              </a:extLst>
            </p:cNvPr>
            <p:cNvCxnSpPr>
              <a:cxnSpLocks/>
            </p:cNvCxnSpPr>
            <p:nvPr/>
          </p:nvCxnSpPr>
          <p:spPr>
            <a:xfrm>
              <a:off x="8008297" y="5357416"/>
              <a:ext cx="0" cy="430634"/>
            </a:xfrm>
            <a:prstGeom prst="line">
              <a:avLst/>
            </a:prstGeom>
            <a:ln w="3175">
              <a:solidFill>
                <a:srgbClr val="0083A9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1146131B-6E58-4970-8BCB-8DBF94B05A25}"/>
                </a:ext>
              </a:extLst>
            </p:cNvPr>
            <p:cNvGrpSpPr/>
            <p:nvPr/>
          </p:nvGrpSpPr>
          <p:grpSpPr>
            <a:xfrm>
              <a:off x="7504753" y="5331757"/>
              <a:ext cx="439099" cy="484871"/>
              <a:chOff x="9351237" y="1634374"/>
              <a:chExt cx="2688888" cy="2969180"/>
            </a:xfrm>
            <a:solidFill>
              <a:srgbClr val="34B233"/>
            </a:solidFill>
          </p:grpSpPr>
          <p:sp>
            <p:nvSpPr>
              <p:cNvPr id="80" name="Graphic 258">
                <a:extLst>
                  <a:ext uri="{FF2B5EF4-FFF2-40B4-BE49-F238E27FC236}">
                    <a16:creationId xmlns:a16="http://schemas.microsoft.com/office/drawing/2014/main" id="{6A1271C2-1CB8-4F8D-AE4F-0A9AD1325666}"/>
                  </a:ext>
                </a:extLst>
              </p:cNvPr>
              <p:cNvSpPr/>
              <p:nvPr/>
            </p:nvSpPr>
            <p:spPr>
              <a:xfrm>
                <a:off x="10114876" y="3861008"/>
                <a:ext cx="1210773" cy="742546"/>
              </a:xfrm>
              <a:custGeom>
                <a:avLst/>
                <a:gdLst>
                  <a:gd name="connsiteX0" fmla="*/ 752342 w 1210773"/>
                  <a:gd name="connsiteY0" fmla="*/ 515270 h 742546"/>
                  <a:gd name="connsiteX1" fmla="*/ 1017060 w 1210773"/>
                  <a:gd name="connsiteY1" fmla="*/ 428507 h 742546"/>
                  <a:gd name="connsiteX2" fmla="*/ 1210570 w 1210773"/>
                  <a:gd name="connsiteY2" fmla="*/ 56813 h 742546"/>
                  <a:gd name="connsiteX3" fmla="*/ 1176576 w 1210773"/>
                  <a:gd name="connsiteY3" fmla="*/ 15008 h 742546"/>
                  <a:gd name="connsiteX4" fmla="*/ 1165746 w 1210773"/>
                  <a:gd name="connsiteY4" fmla="*/ 15446 h 742546"/>
                  <a:gd name="connsiteX5" fmla="*/ 893226 w 1210773"/>
                  <a:gd name="connsiteY5" fmla="*/ 65785 h 742546"/>
                  <a:gd name="connsiteX6" fmla="*/ 891397 w 1210773"/>
                  <a:gd name="connsiteY6" fmla="*/ 66166 h 742546"/>
                  <a:gd name="connsiteX7" fmla="*/ 654882 w 1210773"/>
                  <a:gd name="connsiteY7" fmla="*/ 239407 h 742546"/>
                  <a:gd name="connsiteX8" fmla="*/ 673618 w 1210773"/>
                  <a:gd name="connsiteY8" fmla="*/ 289928 h 742546"/>
                  <a:gd name="connsiteX9" fmla="*/ 723900 w 1210773"/>
                  <a:gd name="connsiteY9" fmla="*/ 271697 h 742546"/>
                  <a:gd name="connsiteX10" fmla="*/ 907999 w 1210773"/>
                  <a:gd name="connsiteY10" fmla="*/ 140547 h 742546"/>
                  <a:gd name="connsiteX11" fmla="*/ 1125217 w 1210773"/>
                  <a:gd name="connsiteY11" fmla="*/ 100409 h 742546"/>
                  <a:gd name="connsiteX12" fmla="*/ 969636 w 1210773"/>
                  <a:gd name="connsiteY12" fmla="*/ 368833 h 742546"/>
                  <a:gd name="connsiteX13" fmla="*/ 751113 w 1210773"/>
                  <a:gd name="connsiteY13" fmla="*/ 438880 h 742546"/>
                  <a:gd name="connsiteX14" fmla="*/ 978303 w 1210773"/>
                  <a:gd name="connsiteY14" fmla="*/ 260000 h 742546"/>
                  <a:gd name="connsiteX15" fmla="*/ 992981 w 1210773"/>
                  <a:gd name="connsiteY15" fmla="*/ 208155 h 742546"/>
                  <a:gd name="connsiteX16" fmla="*/ 941537 w 1210773"/>
                  <a:gd name="connsiteY16" fmla="*/ 193258 h 742546"/>
                  <a:gd name="connsiteX17" fmla="*/ 601885 w 1210773"/>
                  <a:gd name="connsiteY17" fmla="*/ 507803 h 742546"/>
                  <a:gd name="connsiteX18" fmla="*/ 580330 w 1210773"/>
                  <a:gd name="connsiteY18" fmla="*/ 457082 h 742546"/>
                  <a:gd name="connsiteX19" fmla="*/ 460705 w 1210773"/>
                  <a:gd name="connsiteY19" fmla="*/ 156911 h 742546"/>
                  <a:gd name="connsiteX20" fmla="*/ 38748 w 1210773"/>
                  <a:gd name="connsiteY20" fmla="*/ 6 h 742546"/>
                  <a:gd name="connsiteX21" fmla="*/ 0 w 1210773"/>
                  <a:gd name="connsiteY21" fmla="*/ 37449 h 742546"/>
                  <a:gd name="connsiteX22" fmla="*/ 0 w 1210773"/>
                  <a:gd name="connsiteY22" fmla="*/ 37763 h 742546"/>
                  <a:gd name="connsiteX23" fmla="*/ 327889 w 1210773"/>
                  <a:gd name="connsiteY23" fmla="*/ 498249 h 742546"/>
                  <a:gd name="connsiteX24" fmla="*/ 373828 w 1210773"/>
                  <a:gd name="connsiteY24" fmla="*/ 470103 h 742546"/>
                  <a:gd name="connsiteX25" fmla="*/ 345681 w 1210773"/>
                  <a:gd name="connsiteY25" fmla="*/ 424154 h 742546"/>
                  <a:gd name="connsiteX26" fmla="*/ 345100 w 1210773"/>
                  <a:gd name="connsiteY26" fmla="*/ 424021 h 742546"/>
                  <a:gd name="connsiteX27" fmla="*/ 78467 w 1210773"/>
                  <a:gd name="connsiteY27" fmla="*/ 77825 h 742546"/>
                  <a:gd name="connsiteX28" fmla="*/ 404451 w 1210773"/>
                  <a:gd name="connsiteY28" fmla="*/ 208317 h 742546"/>
                  <a:gd name="connsiteX29" fmla="*/ 479631 w 1210773"/>
                  <a:gd name="connsiteY29" fmla="*/ 331514 h 742546"/>
                  <a:gd name="connsiteX30" fmla="*/ 244573 w 1210773"/>
                  <a:gd name="connsiteY30" fmla="*/ 173323 h 742546"/>
                  <a:gd name="connsiteX31" fmla="*/ 193672 w 1210773"/>
                  <a:gd name="connsiteY31" fmla="*/ 191001 h 742546"/>
                  <a:gd name="connsiteX32" fmla="*/ 211350 w 1210773"/>
                  <a:gd name="connsiteY32" fmla="*/ 241902 h 742546"/>
                  <a:gd name="connsiteX33" fmla="*/ 445408 w 1210773"/>
                  <a:gd name="connsiteY33" fmla="*/ 403066 h 742546"/>
                  <a:gd name="connsiteX34" fmla="*/ 543325 w 1210773"/>
                  <a:gd name="connsiteY34" fmla="*/ 587565 h 742546"/>
                  <a:gd name="connsiteX35" fmla="*/ 551764 w 1210773"/>
                  <a:gd name="connsiteY35" fmla="*/ 704446 h 742546"/>
                  <a:gd name="connsiteX36" fmla="*/ 589864 w 1210773"/>
                  <a:gd name="connsiteY36" fmla="*/ 742546 h 742546"/>
                  <a:gd name="connsiteX37" fmla="*/ 627964 w 1210773"/>
                  <a:gd name="connsiteY37" fmla="*/ 704446 h 742546"/>
                  <a:gd name="connsiteX38" fmla="*/ 625297 w 1210773"/>
                  <a:gd name="connsiteY38" fmla="*/ 636238 h 742546"/>
                  <a:gd name="connsiteX39" fmla="*/ 690686 w 1210773"/>
                  <a:gd name="connsiteY39" fmla="*/ 511870 h 742546"/>
                  <a:gd name="connsiteX40" fmla="*/ 752342 w 1210773"/>
                  <a:gd name="connsiteY40" fmla="*/ 515270 h 7425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1210773" h="742546">
                    <a:moveTo>
                      <a:pt x="752342" y="515270"/>
                    </a:moveTo>
                    <a:cubicBezTo>
                      <a:pt x="854745" y="515270"/>
                      <a:pt x="943537" y="486219"/>
                      <a:pt x="1017060" y="428507"/>
                    </a:cubicBezTo>
                    <a:cubicBezTo>
                      <a:pt x="1184100" y="297376"/>
                      <a:pt x="1209570" y="66557"/>
                      <a:pt x="1210570" y="56813"/>
                    </a:cubicBezTo>
                    <a:cubicBezTo>
                      <a:pt x="1212723" y="35877"/>
                      <a:pt x="1197502" y="17170"/>
                      <a:pt x="1176576" y="15008"/>
                    </a:cubicBezTo>
                    <a:cubicBezTo>
                      <a:pt x="1172966" y="14636"/>
                      <a:pt x="1169318" y="14788"/>
                      <a:pt x="1165746" y="15446"/>
                    </a:cubicBezTo>
                    <a:lnTo>
                      <a:pt x="893226" y="65785"/>
                    </a:lnTo>
                    <a:cubicBezTo>
                      <a:pt x="892607" y="65900"/>
                      <a:pt x="892007" y="66024"/>
                      <a:pt x="891397" y="66166"/>
                    </a:cubicBezTo>
                    <a:cubicBezTo>
                      <a:pt x="775440" y="93513"/>
                      <a:pt x="695858" y="151796"/>
                      <a:pt x="654882" y="239407"/>
                    </a:cubicBezTo>
                    <a:cubicBezTo>
                      <a:pt x="646100" y="258533"/>
                      <a:pt x="654491" y="281146"/>
                      <a:pt x="673618" y="289928"/>
                    </a:cubicBezTo>
                    <a:cubicBezTo>
                      <a:pt x="692544" y="298614"/>
                      <a:pt x="714937" y="290499"/>
                      <a:pt x="723900" y="271697"/>
                    </a:cubicBezTo>
                    <a:cubicBezTo>
                      <a:pt x="754380" y="206469"/>
                      <a:pt x="816350" y="162350"/>
                      <a:pt x="907999" y="140547"/>
                    </a:cubicBezTo>
                    <a:lnTo>
                      <a:pt x="1125217" y="100409"/>
                    </a:lnTo>
                    <a:cubicBezTo>
                      <a:pt x="1108948" y="169436"/>
                      <a:pt x="1067581" y="292185"/>
                      <a:pt x="969636" y="368833"/>
                    </a:cubicBezTo>
                    <a:cubicBezTo>
                      <a:pt x="909885" y="415601"/>
                      <a:pt x="836552" y="438984"/>
                      <a:pt x="751113" y="438880"/>
                    </a:cubicBezTo>
                    <a:cubicBezTo>
                      <a:pt x="818359" y="369204"/>
                      <a:pt x="894798" y="309025"/>
                      <a:pt x="978303" y="260000"/>
                    </a:cubicBezTo>
                    <a:cubicBezTo>
                      <a:pt x="996667" y="249732"/>
                      <a:pt x="1003240" y="226520"/>
                      <a:pt x="992981" y="208155"/>
                    </a:cubicBezTo>
                    <a:cubicBezTo>
                      <a:pt x="982799" y="189944"/>
                      <a:pt x="959872" y="183305"/>
                      <a:pt x="941537" y="193258"/>
                    </a:cubicBezTo>
                    <a:cubicBezTo>
                      <a:pt x="930831" y="199155"/>
                      <a:pt x="716470" y="318874"/>
                      <a:pt x="601885" y="507803"/>
                    </a:cubicBezTo>
                    <a:cubicBezTo>
                      <a:pt x="595903" y="490410"/>
                      <a:pt x="588702" y="473455"/>
                      <a:pt x="580330" y="457082"/>
                    </a:cubicBezTo>
                    <a:cubicBezTo>
                      <a:pt x="579911" y="416801"/>
                      <a:pt x="570309" y="273669"/>
                      <a:pt x="460705" y="156911"/>
                    </a:cubicBezTo>
                    <a:cubicBezTo>
                      <a:pt x="365941" y="55946"/>
                      <a:pt x="223961" y="3149"/>
                      <a:pt x="38748" y="6"/>
                    </a:cubicBezTo>
                    <a:cubicBezTo>
                      <a:pt x="17707" y="-356"/>
                      <a:pt x="362" y="16408"/>
                      <a:pt x="0" y="37449"/>
                    </a:cubicBezTo>
                    <a:cubicBezTo>
                      <a:pt x="0" y="37553"/>
                      <a:pt x="0" y="37658"/>
                      <a:pt x="0" y="37763"/>
                    </a:cubicBezTo>
                    <a:cubicBezTo>
                      <a:pt x="0" y="41573"/>
                      <a:pt x="362" y="422278"/>
                      <a:pt x="327889" y="498249"/>
                    </a:cubicBezTo>
                    <a:cubicBezTo>
                      <a:pt x="348348" y="503164"/>
                      <a:pt x="368922" y="490562"/>
                      <a:pt x="373828" y="470103"/>
                    </a:cubicBezTo>
                    <a:cubicBezTo>
                      <a:pt x="378743" y="449633"/>
                      <a:pt x="366141" y="429069"/>
                      <a:pt x="345681" y="424154"/>
                    </a:cubicBezTo>
                    <a:cubicBezTo>
                      <a:pt x="345491" y="424106"/>
                      <a:pt x="345291" y="424068"/>
                      <a:pt x="345100" y="424021"/>
                    </a:cubicBezTo>
                    <a:cubicBezTo>
                      <a:pt x="131178" y="374405"/>
                      <a:pt x="87392" y="166103"/>
                      <a:pt x="78467" y="77825"/>
                    </a:cubicBezTo>
                    <a:cubicBezTo>
                      <a:pt x="221609" y="86864"/>
                      <a:pt x="331137" y="130670"/>
                      <a:pt x="404451" y="208317"/>
                    </a:cubicBezTo>
                    <a:cubicBezTo>
                      <a:pt x="437645" y="243827"/>
                      <a:pt x="463229" y="285756"/>
                      <a:pt x="479631" y="331514"/>
                    </a:cubicBezTo>
                    <a:cubicBezTo>
                      <a:pt x="407956" y="269487"/>
                      <a:pt x="329032" y="216366"/>
                      <a:pt x="244573" y="173323"/>
                    </a:cubicBezTo>
                    <a:cubicBezTo>
                      <a:pt x="225638" y="164150"/>
                      <a:pt x="202844" y="172065"/>
                      <a:pt x="193672" y="191001"/>
                    </a:cubicBezTo>
                    <a:cubicBezTo>
                      <a:pt x="184499" y="209937"/>
                      <a:pt x="192414" y="232730"/>
                      <a:pt x="211350" y="241902"/>
                    </a:cubicBezTo>
                    <a:cubicBezTo>
                      <a:pt x="295970" y="285346"/>
                      <a:pt x="374637" y="339515"/>
                      <a:pt x="445408" y="403066"/>
                    </a:cubicBezTo>
                    <a:cubicBezTo>
                      <a:pt x="498138" y="451596"/>
                      <a:pt x="532686" y="516699"/>
                      <a:pt x="543325" y="587565"/>
                    </a:cubicBezTo>
                    <a:cubicBezTo>
                      <a:pt x="548964" y="626274"/>
                      <a:pt x="551783" y="665337"/>
                      <a:pt x="551764" y="704446"/>
                    </a:cubicBezTo>
                    <a:cubicBezTo>
                      <a:pt x="551764" y="725487"/>
                      <a:pt x="568824" y="742546"/>
                      <a:pt x="589864" y="742546"/>
                    </a:cubicBezTo>
                    <a:cubicBezTo>
                      <a:pt x="610905" y="742546"/>
                      <a:pt x="627964" y="725487"/>
                      <a:pt x="627964" y="704446"/>
                    </a:cubicBezTo>
                    <a:cubicBezTo>
                      <a:pt x="627964" y="681653"/>
                      <a:pt x="627012" y="658869"/>
                      <a:pt x="625297" y="636238"/>
                    </a:cubicBezTo>
                    <a:cubicBezTo>
                      <a:pt x="640794" y="591765"/>
                      <a:pt x="662835" y="549846"/>
                      <a:pt x="690686" y="511870"/>
                    </a:cubicBezTo>
                    <a:cubicBezTo>
                      <a:pt x="711165" y="514089"/>
                      <a:pt x="731749" y="515222"/>
                      <a:pt x="752342" y="51527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678" dirty="0"/>
              </a:p>
            </p:txBody>
          </p:sp>
          <p:sp>
            <p:nvSpPr>
              <p:cNvPr id="81" name="Graphic 258">
                <a:extLst>
                  <a:ext uri="{FF2B5EF4-FFF2-40B4-BE49-F238E27FC236}">
                    <a16:creationId xmlns:a16="http://schemas.microsoft.com/office/drawing/2014/main" id="{F64728EE-4E85-4B05-BA31-6BDE21259FDC}"/>
                  </a:ext>
                </a:extLst>
              </p:cNvPr>
              <p:cNvSpPr/>
              <p:nvPr/>
            </p:nvSpPr>
            <p:spPr>
              <a:xfrm>
                <a:off x="9351237" y="2315716"/>
                <a:ext cx="547201" cy="547220"/>
              </a:xfrm>
              <a:custGeom>
                <a:avLst/>
                <a:gdLst>
                  <a:gd name="connsiteX0" fmla="*/ 0 w 547201"/>
                  <a:gd name="connsiteY0" fmla="*/ 38100 h 547220"/>
                  <a:gd name="connsiteX1" fmla="*/ 0 w 547201"/>
                  <a:gd name="connsiteY1" fmla="*/ 509121 h 547220"/>
                  <a:gd name="connsiteX2" fmla="*/ 38100 w 547201"/>
                  <a:gd name="connsiteY2" fmla="*/ 547221 h 547220"/>
                  <a:gd name="connsiteX3" fmla="*/ 509102 w 547201"/>
                  <a:gd name="connsiteY3" fmla="*/ 547221 h 547220"/>
                  <a:gd name="connsiteX4" fmla="*/ 547202 w 547201"/>
                  <a:gd name="connsiteY4" fmla="*/ 509121 h 547220"/>
                  <a:gd name="connsiteX5" fmla="*/ 547202 w 547201"/>
                  <a:gd name="connsiteY5" fmla="*/ 38100 h 547220"/>
                  <a:gd name="connsiteX6" fmla="*/ 509102 w 547201"/>
                  <a:gd name="connsiteY6" fmla="*/ 0 h 547220"/>
                  <a:gd name="connsiteX7" fmla="*/ 38100 w 547201"/>
                  <a:gd name="connsiteY7" fmla="*/ 0 h 547220"/>
                  <a:gd name="connsiteX8" fmla="*/ 0 w 547201"/>
                  <a:gd name="connsiteY8" fmla="*/ 38100 h 547220"/>
                  <a:gd name="connsiteX9" fmla="*/ 76200 w 547201"/>
                  <a:gd name="connsiteY9" fmla="*/ 76200 h 547220"/>
                  <a:gd name="connsiteX10" fmla="*/ 471002 w 547201"/>
                  <a:gd name="connsiteY10" fmla="*/ 76200 h 547220"/>
                  <a:gd name="connsiteX11" fmla="*/ 471002 w 547201"/>
                  <a:gd name="connsiteY11" fmla="*/ 471021 h 547220"/>
                  <a:gd name="connsiteX12" fmla="*/ 76200 w 547201"/>
                  <a:gd name="connsiteY12" fmla="*/ 471021 h 5472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47201" h="547220">
                    <a:moveTo>
                      <a:pt x="0" y="38100"/>
                    </a:moveTo>
                    <a:lnTo>
                      <a:pt x="0" y="509121"/>
                    </a:lnTo>
                    <a:cubicBezTo>
                      <a:pt x="0" y="530162"/>
                      <a:pt x="17058" y="547221"/>
                      <a:pt x="38100" y="547221"/>
                    </a:cubicBezTo>
                    <a:lnTo>
                      <a:pt x="509102" y="547221"/>
                    </a:lnTo>
                    <a:cubicBezTo>
                      <a:pt x="530143" y="547221"/>
                      <a:pt x="547202" y="530162"/>
                      <a:pt x="547202" y="509121"/>
                    </a:cubicBezTo>
                    <a:lnTo>
                      <a:pt x="547202" y="38100"/>
                    </a:lnTo>
                    <a:cubicBezTo>
                      <a:pt x="547202" y="17058"/>
                      <a:pt x="530143" y="0"/>
                      <a:pt x="509102" y="0"/>
                    </a:cubicBezTo>
                    <a:lnTo>
                      <a:pt x="38100" y="0"/>
                    </a:lnTo>
                    <a:cubicBezTo>
                      <a:pt x="17058" y="0"/>
                      <a:pt x="0" y="17058"/>
                      <a:pt x="0" y="38100"/>
                    </a:cubicBezTo>
                    <a:close/>
                    <a:moveTo>
                      <a:pt x="76200" y="76200"/>
                    </a:moveTo>
                    <a:lnTo>
                      <a:pt x="471002" y="76200"/>
                    </a:lnTo>
                    <a:lnTo>
                      <a:pt x="471002" y="471021"/>
                    </a:lnTo>
                    <a:lnTo>
                      <a:pt x="76200" y="471021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678" dirty="0"/>
              </a:p>
            </p:txBody>
          </p:sp>
          <p:sp>
            <p:nvSpPr>
              <p:cNvPr id="82" name="Graphic 258">
                <a:extLst>
                  <a:ext uri="{FF2B5EF4-FFF2-40B4-BE49-F238E27FC236}">
                    <a16:creationId xmlns:a16="http://schemas.microsoft.com/office/drawing/2014/main" id="{015ACDE6-08A2-4F48-8AD6-741E30560616}"/>
                  </a:ext>
                </a:extLst>
              </p:cNvPr>
              <p:cNvSpPr/>
              <p:nvPr/>
            </p:nvSpPr>
            <p:spPr>
              <a:xfrm>
                <a:off x="10425300" y="1634374"/>
                <a:ext cx="558769" cy="547211"/>
              </a:xfrm>
              <a:custGeom>
                <a:avLst/>
                <a:gdLst>
                  <a:gd name="connsiteX0" fmla="*/ 279392 w 558769"/>
                  <a:gd name="connsiteY0" fmla="*/ 0 h 547211"/>
                  <a:gd name="connsiteX1" fmla="*/ 245474 w 558769"/>
                  <a:gd name="connsiteY1" fmla="*/ 20726 h 547211"/>
                  <a:gd name="connsiteX2" fmla="*/ 4196 w 558769"/>
                  <a:gd name="connsiteY2" fmla="*/ 491747 h 547211"/>
                  <a:gd name="connsiteX3" fmla="*/ 20741 w 558769"/>
                  <a:gd name="connsiteY3" fmla="*/ 543024 h 547211"/>
                  <a:gd name="connsiteX4" fmla="*/ 38105 w 558769"/>
                  <a:gd name="connsiteY4" fmla="*/ 547211 h 547211"/>
                  <a:gd name="connsiteX5" fmla="*/ 520670 w 558769"/>
                  <a:gd name="connsiteY5" fmla="*/ 547211 h 547211"/>
                  <a:gd name="connsiteX6" fmla="*/ 558770 w 558769"/>
                  <a:gd name="connsiteY6" fmla="*/ 509107 h 547211"/>
                  <a:gd name="connsiteX7" fmla="*/ 554579 w 558769"/>
                  <a:gd name="connsiteY7" fmla="*/ 491747 h 547211"/>
                  <a:gd name="connsiteX8" fmla="*/ 313301 w 558769"/>
                  <a:gd name="connsiteY8" fmla="*/ 20726 h 547211"/>
                  <a:gd name="connsiteX9" fmla="*/ 279392 w 558769"/>
                  <a:gd name="connsiteY9" fmla="*/ 0 h 547211"/>
                  <a:gd name="connsiteX10" fmla="*/ 100427 w 558769"/>
                  <a:gd name="connsiteY10" fmla="*/ 471011 h 547211"/>
                  <a:gd name="connsiteX11" fmla="*/ 279392 w 558769"/>
                  <a:gd name="connsiteY11" fmla="*/ 121663 h 547211"/>
                  <a:gd name="connsiteX12" fmla="*/ 458348 w 558769"/>
                  <a:gd name="connsiteY12" fmla="*/ 471011 h 5472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58769" h="547211">
                    <a:moveTo>
                      <a:pt x="279392" y="0"/>
                    </a:moveTo>
                    <a:cubicBezTo>
                      <a:pt x="265095" y="-4"/>
                      <a:pt x="251998" y="8000"/>
                      <a:pt x="245474" y="20726"/>
                    </a:cubicBezTo>
                    <a:lnTo>
                      <a:pt x="4196" y="491747"/>
                    </a:lnTo>
                    <a:cubicBezTo>
                      <a:pt x="-5396" y="510477"/>
                      <a:pt x="2015" y="533434"/>
                      <a:pt x="20741" y="543024"/>
                    </a:cubicBezTo>
                    <a:cubicBezTo>
                      <a:pt x="26123" y="545776"/>
                      <a:pt x="32066" y="547210"/>
                      <a:pt x="38105" y="547211"/>
                    </a:cubicBezTo>
                    <a:lnTo>
                      <a:pt x="520670" y="547211"/>
                    </a:lnTo>
                    <a:cubicBezTo>
                      <a:pt x="541711" y="547209"/>
                      <a:pt x="558770" y="530149"/>
                      <a:pt x="558770" y="509107"/>
                    </a:cubicBezTo>
                    <a:cubicBezTo>
                      <a:pt x="558770" y="503070"/>
                      <a:pt x="557332" y="497120"/>
                      <a:pt x="554579" y="491747"/>
                    </a:cubicBezTo>
                    <a:lnTo>
                      <a:pt x="313301" y="20726"/>
                    </a:lnTo>
                    <a:cubicBezTo>
                      <a:pt x="306786" y="8003"/>
                      <a:pt x="293689" y="0"/>
                      <a:pt x="279392" y="0"/>
                    </a:cubicBezTo>
                    <a:close/>
                    <a:moveTo>
                      <a:pt x="100427" y="471011"/>
                    </a:moveTo>
                    <a:lnTo>
                      <a:pt x="279392" y="121663"/>
                    </a:lnTo>
                    <a:lnTo>
                      <a:pt x="458348" y="471011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678" dirty="0"/>
              </a:p>
            </p:txBody>
          </p:sp>
          <p:sp>
            <p:nvSpPr>
              <p:cNvPr id="83" name="Graphic 258">
                <a:extLst>
                  <a:ext uri="{FF2B5EF4-FFF2-40B4-BE49-F238E27FC236}">
                    <a16:creationId xmlns:a16="http://schemas.microsoft.com/office/drawing/2014/main" id="{A74AA677-7AEC-4703-9BDA-04D38B574584}"/>
                  </a:ext>
                </a:extLst>
              </p:cNvPr>
              <p:cNvSpPr/>
              <p:nvPr/>
            </p:nvSpPr>
            <p:spPr>
              <a:xfrm>
                <a:off x="11492895" y="2315707"/>
                <a:ext cx="547230" cy="547230"/>
              </a:xfrm>
              <a:custGeom>
                <a:avLst/>
                <a:gdLst>
                  <a:gd name="connsiteX0" fmla="*/ 547230 w 547230"/>
                  <a:gd name="connsiteY0" fmla="*/ 273625 h 547230"/>
                  <a:gd name="connsiteX1" fmla="*/ 273625 w 547230"/>
                  <a:gd name="connsiteY1" fmla="*/ 0 h 547230"/>
                  <a:gd name="connsiteX2" fmla="*/ 0 w 547230"/>
                  <a:gd name="connsiteY2" fmla="*/ 273606 h 547230"/>
                  <a:gd name="connsiteX3" fmla="*/ 273606 w 547230"/>
                  <a:gd name="connsiteY3" fmla="*/ 547230 h 547230"/>
                  <a:gd name="connsiteX4" fmla="*/ 273625 w 547230"/>
                  <a:gd name="connsiteY4" fmla="*/ 547230 h 547230"/>
                  <a:gd name="connsiteX5" fmla="*/ 547230 w 547230"/>
                  <a:gd name="connsiteY5" fmla="*/ 273625 h 547230"/>
                  <a:gd name="connsiteX6" fmla="*/ 273625 w 547230"/>
                  <a:gd name="connsiteY6" fmla="*/ 471030 h 547230"/>
                  <a:gd name="connsiteX7" fmla="*/ 76200 w 547230"/>
                  <a:gd name="connsiteY7" fmla="*/ 273625 h 547230"/>
                  <a:gd name="connsiteX8" fmla="*/ 273606 w 547230"/>
                  <a:gd name="connsiteY8" fmla="*/ 76200 h 547230"/>
                  <a:gd name="connsiteX9" fmla="*/ 471030 w 547230"/>
                  <a:gd name="connsiteY9" fmla="*/ 273606 h 547230"/>
                  <a:gd name="connsiteX10" fmla="*/ 471030 w 547230"/>
                  <a:gd name="connsiteY10" fmla="*/ 273625 h 547230"/>
                  <a:gd name="connsiteX11" fmla="*/ 273625 w 547230"/>
                  <a:gd name="connsiteY11" fmla="*/ 471030 h 5472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47230" h="547230">
                    <a:moveTo>
                      <a:pt x="547230" y="273625"/>
                    </a:moveTo>
                    <a:cubicBezTo>
                      <a:pt x="547240" y="122511"/>
                      <a:pt x="424739" y="5"/>
                      <a:pt x="273625" y="0"/>
                    </a:cubicBezTo>
                    <a:cubicBezTo>
                      <a:pt x="122510" y="-5"/>
                      <a:pt x="9" y="122492"/>
                      <a:pt x="0" y="273606"/>
                    </a:cubicBezTo>
                    <a:cubicBezTo>
                      <a:pt x="-10" y="424720"/>
                      <a:pt x="122492" y="547221"/>
                      <a:pt x="273606" y="547230"/>
                    </a:cubicBezTo>
                    <a:cubicBezTo>
                      <a:pt x="273615" y="547230"/>
                      <a:pt x="273615" y="547230"/>
                      <a:pt x="273625" y="547230"/>
                    </a:cubicBezTo>
                    <a:cubicBezTo>
                      <a:pt x="424663" y="547059"/>
                      <a:pt x="547059" y="424663"/>
                      <a:pt x="547230" y="273625"/>
                    </a:cubicBezTo>
                    <a:close/>
                    <a:moveTo>
                      <a:pt x="273625" y="471030"/>
                    </a:moveTo>
                    <a:cubicBezTo>
                      <a:pt x="164592" y="471040"/>
                      <a:pt x="76209" y="382657"/>
                      <a:pt x="76200" y="273625"/>
                    </a:cubicBezTo>
                    <a:cubicBezTo>
                      <a:pt x="76191" y="164592"/>
                      <a:pt x="164573" y="76206"/>
                      <a:pt x="273606" y="76200"/>
                    </a:cubicBezTo>
                    <a:cubicBezTo>
                      <a:pt x="382638" y="76195"/>
                      <a:pt x="471021" y="164573"/>
                      <a:pt x="471030" y="273606"/>
                    </a:cubicBezTo>
                    <a:cubicBezTo>
                      <a:pt x="471030" y="273615"/>
                      <a:pt x="471030" y="273615"/>
                      <a:pt x="471030" y="273625"/>
                    </a:cubicBezTo>
                    <a:cubicBezTo>
                      <a:pt x="470906" y="382600"/>
                      <a:pt x="382600" y="470907"/>
                      <a:pt x="273625" y="47103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678" dirty="0"/>
              </a:p>
            </p:txBody>
          </p:sp>
          <p:sp>
            <p:nvSpPr>
              <p:cNvPr id="84" name="Graphic 258">
                <a:extLst>
                  <a:ext uri="{FF2B5EF4-FFF2-40B4-BE49-F238E27FC236}">
                    <a16:creationId xmlns:a16="http://schemas.microsoft.com/office/drawing/2014/main" id="{6C0D77DC-BE6F-4211-95F9-42D7576D748B}"/>
                  </a:ext>
                </a:extLst>
              </p:cNvPr>
              <p:cNvSpPr/>
              <p:nvPr/>
            </p:nvSpPr>
            <p:spPr>
              <a:xfrm>
                <a:off x="9482833" y="2375457"/>
                <a:ext cx="1381845" cy="1485518"/>
              </a:xfrm>
              <a:custGeom>
                <a:avLst/>
                <a:gdLst>
                  <a:gd name="connsiteX0" fmla="*/ 254776 w 1381845"/>
                  <a:gd name="connsiteY0" fmla="*/ 1170880 h 1485518"/>
                  <a:gd name="connsiteX1" fmla="*/ 1183759 w 1381845"/>
                  <a:gd name="connsiteY1" fmla="*/ 1170880 h 1485518"/>
                  <a:gd name="connsiteX2" fmla="*/ 1183759 w 1381845"/>
                  <a:gd name="connsiteY2" fmla="*/ 1447419 h 1485518"/>
                  <a:gd name="connsiteX3" fmla="*/ 1221859 w 1381845"/>
                  <a:gd name="connsiteY3" fmla="*/ 1485519 h 1485518"/>
                  <a:gd name="connsiteX4" fmla="*/ 1259959 w 1381845"/>
                  <a:gd name="connsiteY4" fmla="*/ 1447419 h 1485518"/>
                  <a:gd name="connsiteX5" fmla="*/ 1259959 w 1381845"/>
                  <a:gd name="connsiteY5" fmla="*/ 130111 h 1485518"/>
                  <a:gd name="connsiteX6" fmla="*/ 1316804 w 1381845"/>
                  <a:gd name="connsiteY6" fmla="*/ 186966 h 1485518"/>
                  <a:gd name="connsiteX7" fmla="*/ 1370687 w 1381845"/>
                  <a:gd name="connsiteY7" fmla="*/ 186966 h 1485518"/>
                  <a:gd name="connsiteX8" fmla="*/ 1370687 w 1381845"/>
                  <a:gd name="connsiteY8" fmla="*/ 133083 h 1485518"/>
                  <a:gd name="connsiteX9" fmla="*/ 1248767 w 1381845"/>
                  <a:gd name="connsiteY9" fmla="*/ 11163 h 1485518"/>
                  <a:gd name="connsiteX10" fmla="*/ 1248300 w 1381845"/>
                  <a:gd name="connsiteY10" fmla="*/ 10773 h 1485518"/>
                  <a:gd name="connsiteX11" fmla="*/ 1242957 w 1381845"/>
                  <a:gd name="connsiteY11" fmla="*/ 6420 h 1485518"/>
                  <a:gd name="connsiteX12" fmla="*/ 1240099 w 1381845"/>
                  <a:gd name="connsiteY12" fmla="*/ 4886 h 1485518"/>
                  <a:gd name="connsiteX13" fmla="*/ 1236347 w 1381845"/>
                  <a:gd name="connsiteY13" fmla="*/ 2915 h 1485518"/>
                  <a:gd name="connsiteX14" fmla="*/ 1232822 w 1381845"/>
                  <a:gd name="connsiteY14" fmla="*/ 1819 h 1485518"/>
                  <a:gd name="connsiteX15" fmla="*/ 1229222 w 1381845"/>
                  <a:gd name="connsiteY15" fmla="*/ 752 h 1485518"/>
                  <a:gd name="connsiteX16" fmla="*/ 1222907 w 1381845"/>
                  <a:gd name="connsiteY16" fmla="*/ 114 h 1485518"/>
                  <a:gd name="connsiteX17" fmla="*/ 1221792 w 1381845"/>
                  <a:gd name="connsiteY17" fmla="*/ 0 h 1485518"/>
                  <a:gd name="connsiteX18" fmla="*/ 1220630 w 1381845"/>
                  <a:gd name="connsiteY18" fmla="*/ 114 h 1485518"/>
                  <a:gd name="connsiteX19" fmla="*/ 1214353 w 1381845"/>
                  <a:gd name="connsiteY19" fmla="*/ 752 h 1485518"/>
                  <a:gd name="connsiteX20" fmla="*/ 1210829 w 1381845"/>
                  <a:gd name="connsiteY20" fmla="*/ 1791 h 1485518"/>
                  <a:gd name="connsiteX21" fmla="*/ 1207229 w 1381845"/>
                  <a:gd name="connsiteY21" fmla="*/ 2915 h 1485518"/>
                  <a:gd name="connsiteX22" fmla="*/ 1203495 w 1381845"/>
                  <a:gd name="connsiteY22" fmla="*/ 4877 h 1485518"/>
                  <a:gd name="connsiteX23" fmla="*/ 1200637 w 1381845"/>
                  <a:gd name="connsiteY23" fmla="*/ 6410 h 1485518"/>
                  <a:gd name="connsiteX24" fmla="*/ 1194865 w 1381845"/>
                  <a:gd name="connsiteY24" fmla="*/ 11125 h 1485518"/>
                  <a:gd name="connsiteX25" fmla="*/ 1194818 w 1381845"/>
                  <a:gd name="connsiteY25" fmla="*/ 11125 h 1485518"/>
                  <a:gd name="connsiteX26" fmla="*/ 1072898 w 1381845"/>
                  <a:gd name="connsiteY26" fmla="*/ 133045 h 1485518"/>
                  <a:gd name="connsiteX27" fmla="*/ 1073498 w 1381845"/>
                  <a:gd name="connsiteY27" fmla="*/ 186928 h 1485518"/>
                  <a:gd name="connsiteX28" fmla="*/ 1126771 w 1381845"/>
                  <a:gd name="connsiteY28" fmla="*/ 186928 h 1485518"/>
                  <a:gd name="connsiteX29" fmla="*/ 1183635 w 1381845"/>
                  <a:gd name="connsiteY29" fmla="*/ 130073 h 1485518"/>
                  <a:gd name="connsiteX30" fmla="*/ 1183635 w 1381845"/>
                  <a:gd name="connsiteY30" fmla="*/ 1094680 h 1485518"/>
                  <a:gd name="connsiteX31" fmla="*/ 254776 w 1381845"/>
                  <a:gd name="connsiteY31" fmla="*/ 1094680 h 1485518"/>
                  <a:gd name="connsiteX32" fmla="*/ 198122 w 1381845"/>
                  <a:gd name="connsiteY32" fmla="*/ 1038015 h 1485518"/>
                  <a:gd name="connsiteX33" fmla="*/ 198122 w 1381845"/>
                  <a:gd name="connsiteY33" fmla="*/ 780050 h 1485518"/>
                  <a:gd name="connsiteX34" fmla="*/ 254967 w 1381845"/>
                  <a:gd name="connsiteY34" fmla="*/ 836905 h 1485518"/>
                  <a:gd name="connsiteX35" fmla="*/ 308854 w 1381845"/>
                  <a:gd name="connsiteY35" fmla="*/ 836914 h 1485518"/>
                  <a:gd name="connsiteX36" fmla="*/ 308859 w 1381845"/>
                  <a:gd name="connsiteY36" fmla="*/ 783022 h 1485518"/>
                  <a:gd name="connsiteX37" fmla="*/ 186939 w 1381845"/>
                  <a:gd name="connsiteY37" fmla="*/ 661102 h 1485518"/>
                  <a:gd name="connsiteX38" fmla="*/ 133057 w 1381845"/>
                  <a:gd name="connsiteY38" fmla="*/ 661102 h 1485518"/>
                  <a:gd name="connsiteX39" fmla="*/ 133056 w 1381845"/>
                  <a:gd name="connsiteY39" fmla="*/ 661102 h 1485518"/>
                  <a:gd name="connsiteX40" fmla="*/ 11136 w 1381845"/>
                  <a:gd name="connsiteY40" fmla="*/ 783022 h 1485518"/>
                  <a:gd name="connsiteX41" fmla="*/ 11189 w 1381845"/>
                  <a:gd name="connsiteY41" fmla="*/ 836914 h 1485518"/>
                  <a:gd name="connsiteX42" fmla="*/ 65086 w 1381845"/>
                  <a:gd name="connsiteY42" fmla="*/ 836867 h 1485518"/>
                  <a:gd name="connsiteX43" fmla="*/ 121941 w 1381845"/>
                  <a:gd name="connsiteY43" fmla="*/ 780021 h 1485518"/>
                  <a:gd name="connsiteX44" fmla="*/ 121941 w 1381845"/>
                  <a:gd name="connsiteY44" fmla="*/ 1037977 h 1485518"/>
                  <a:gd name="connsiteX45" fmla="*/ 254776 w 1381845"/>
                  <a:gd name="connsiteY45" fmla="*/ 1170880 h 14855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</a:cxnLst>
                <a:rect l="l" t="t" r="r" b="b"/>
                <a:pathLst>
                  <a:path w="1381845" h="1485518">
                    <a:moveTo>
                      <a:pt x="254776" y="1170880"/>
                    </a:moveTo>
                    <a:lnTo>
                      <a:pt x="1183759" y="1170880"/>
                    </a:lnTo>
                    <a:lnTo>
                      <a:pt x="1183759" y="1447419"/>
                    </a:lnTo>
                    <a:cubicBezTo>
                      <a:pt x="1183759" y="1468460"/>
                      <a:pt x="1200818" y="1485519"/>
                      <a:pt x="1221859" y="1485519"/>
                    </a:cubicBezTo>
                    <a:cubicBezTo>
                      <a:pt x="1242900" y="1485519"/>
                      <a:pt x="1259959" y="1468460"/>
                      <a:pt x="1259959" y="1447419"/>
                    </a:cubicBezTo>
                    <a:lnTo>
                      <a:pt x="1259959" y="130111"/>
                    </a:lnTo>
                    <a:lnTo>
                      <a:pt x="1316804" y="186966"/>
                    </a:lnTo>
                    <a:cubicBezTo>
                      <a:pt x="1331682" y="201844"/>
                      <a:pt x="1355809" y="201844"/>
                      <a:pt x="1370687" y="186966"/>
                    </a:cubicBezTo>
                    <a:cubicBezTo>
                      <a:pt x="1385565" y="172088"/>
                      <a:pt x="1385565" y="147961"/>
                      <a:pt x="1370687" y="133083"/>
                    </a:cubicBezTo>
                    <a:lnTo>
                      <a:pt x="1248767" y="11163"/>
                    </a:lnTo>
                    <a:cubicBezTo>
                      <a:pt x="1248624" y="11011"/>
                      <a:pt x="1248443" y="10916"/>
                      <a:pt x="1248300" y="10773"/>
                    </a:cubicBezTo>
                    <a:cubicBezTo>
                      <a:pt x="1246653" y="9162"/>
                      <a:pt x="1244871" y="7705"/>
                      <a:pt x="1242957" y="6420"/>
                    </a:cubicBezTo>
                    <a:cubicBezTo>
                      <a:pt x="1242052" y="5810"/>
                      <a:pt x="1241052" y="5401"/>
                      <a:pt x="1240099" y="4886"/>
                    </a:cubicBezTo>
                    <a:cubicBezTo>
                      <a:pt x="1238890" y="4158"/>
                      <a:pt x="1237633" y="3499"/>
                      <a:pt x="1236347" y="2915"/>
                    </a:cubicBezTo>
                    <a:cubicBezTo>
                      <a:pt x="1235194" y="2489"/>
                      <a:pt x="1234013" y="2124"/>
                      <a:pt x="1232822" y="1819"/>
                    </a:cubicBezTo>
                    <a:cubicBezTo>
                      <a:pt x="1231622" y="1457"/>
                      <a:pt x="1230470" y="1000"/>
                      <a:pt x="1229222" y="752"/>
                    </a:cubicBezTo>
                    <a:cubicBezTo>
                      <a:pt x="1227136" y="369"/>
                      <a:pt x="1225021" y="155"/>
                      <a:pt x="1222907" y="114"/>
                    </a:cubicBezTo>
                    <a:cubicBezTo>
                      <a:pt x="1222526" y="114"/>
                      <a:pt x="1222173" y="0"/>
                      <a:pt x="1221792" y="0"/>
                    </a:cubicBezTo>
                    <a:cubicBezTo>
                      <a:pt x="1221411" y="0"/>
                      <a:pt x="1221030" y="105"/>
                      <a:pt x="1220630" y="114"/>
                    </a:cubicBezTo>
                    <a:cubicBezTo>
                      <a:pt x="1218525" y="155"/>
                      <a:pt x="1216420" y="369"/>
                      <a:pt x="1214353" y="752"/>
                    </a:cubicBezTo>
                    <a:cubicBezTo>
                      <a:pt x="1213163" y="1039"/>
                      <a:pt x="1211982" y="1386"/>
                      <a:pt x="1210829" y="1791"/>
                    </a:cubicBezTo>
                    <a:cubicBezTo>
                      <a:pt x="1209610" y="2105"/>
                      <a:pt x="1208410" y="2479"/>
                      <a:pt x="1207229" y="2915"/>
                    </a:cubicBezTo>
                    <a:cubicBezTo>
                      <a:pt x="1205952" y="3500"/>
                      <a:pt x="1204705" y="4156"/>
                      <a:pt x="1203495" y="4877"/>
                    </a:cubicBezTo>
                    <a:cubicBezTo>
                      <a:pt x="1202542" y="5391"/>
                      <a:pt x="1201590" y="5829"/>
                      <a:pt x="1200637" y="6410"/>
                    </a:cubicBezTo>
                    <a:cubicBezTo>
                      <a:pt x="1198571" y="7792"/>
                      <a:pt x="1196637" y="9372"/>
                      <a:pt x="1194865" y="11125"/>
                    </a:cubicBezTo>
                    <a:lnTo>
                      <a:pt x="1194818" y="11125"/>
                    </a:lnTo>
                    <a:lnTo>
                      <a:pt x="1072898" y="133045"/>
                    </a:lnTo>
                    <a:cubicBezTo>
                      <a:pt x="1058181" y="148085"/>
                      <a:pt x="1058448" y="172212"/>
                      <a:pt x="1073498" y="186928"/>
                    </a:cubicBezTo>
                    <a:cubicBezTo>
                      <a:pt x="1088300" y="201406"/>
                      <a:pt x="1111960" y="201406"/>
                      <a:pt x="1126771" y="186928"/>
                    </a:cubicBezTo>
                    <a:lnTo>
                      <a:pt x="1183635" y="130073"/>
                    </a:lnTo>
                    <a:lnTo>
                      <a:pt x="1183635" y="1094680"/>
                    </a:lnTo>
                    <a:lnTo>
                      <a:pt x="254776" y="1094680"/>
                    </a:lnTo>
                    <a:cubicBezTo>
                      <a:pt x="223498" y="1094642"/>
                      <a:pt x="198153" y="1069296"/>
                      <a:pt x="198122" y="1038015"/>
                    </a:cubicBezTo>
                    <a:lnTo>
                      <a:pt x="198122" y="780050"/>
                    </a:lnTo>
                    <a:lnTo>
                      <a:pt x="254967" y="836905"/>
                    </a:lnTo>
                    <a:cubicBezTo>
                      <a:pt x="269846" y="851783"/>
                      <a:pt x="293973" y="851792"/>
                      <a:pt x="308854" y="836914"/>
                    </a:cubicBezTo>
                    <a:cubicBezTo>
                      <a:pt x="323736" y="822027"/>
                      <a:pt x="323738" y="797900"/>
                      <a:pt x="308859" y="783022"/>
                    </a:cubicBezTo>
                    <a:lnTo>
                      <a:pt x="186939" y="661102"/>
                    </a:lnTo>
                    <a:cubicBezTo>
                      <a:pt x="172060" y="646224"/>
                      <a:pt x="147937" y="646224"/>
                      <a:pt x="133057" y="661102"/>
                    </a:cubicBezTo>
                    <a:cubicBezTo>
                      <a:pt x="133057" y="661102"/>
                      <a:pt x="133057" y="661102"/>
                      <a:pt x="133056" y="661102"/>
                    </a:cubicBezTo>
                    <a:lnTo>
                      <a:pt x="11136" y="783022"/>
                    </a:lnTo>
                    <a:cubicBezTo>
                      <a:pt x="-3732" y="797919"/>
                      <a:pt x="-3709" y="822046"/>
                      <a:pt x="11189" y="836914"/>
                    </a:cubicBezTo>
                    <a:cubicBezTo>
                      <a:pt x="26087" y="851792"/>
                      <a:pt x="50217" y="851764"/>
                      <a:pt x="65086" y="836867"/>
                    </a:cubicBezTo>
                    <a:lnTo>
                      <a:pt x="121941" y="780021"/>
                    </a:lnTo>
                    <a:lnTo>
                      <a:pt x="121941" y="1037977"/>
                    </a:lnTo>
                    <a:cubicBezTo>
                      <a:pt x="122003" y="1111329"/>
                      <a:pt x="181428" y="1170784"/>
                      <a:pt x="254776" y="117088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678" dirty="0"/>
              </a:p>
            </p:txBody>
          </p:sp>
          <p:sp>
            <p:nvSpPr>
              <p:cNvPr id="85" name="Graphic 258">
                <a:extLst>
                  <a:ext uri="{FF2B5EF4-FFF2-40B4-BE49-F238E27FC236}">
                    <a16:creationId xmlns:a16="http://schemas.microsoft.com/office/drawing/2014/main" id="{E21C4BD6-399C-4D0A-B3C7-502452316370}"/>
                  </a:ext>
                </a:extLst>
              </p:cNvPr>
              <p:cNvSpPr/>
              <p:nvPr/>
            </p:nvSpPr>
            <p:spPr>
              <a:xfrm>
                <a:off x="10850053" y="3025395"/>
                <a:ext cx="1076461" cy="520941"/>
              </a:xfrm>
              <a:custGeom>
                <a:avLst/>
                <a:gdLst>
                  <a:gd name="connsiteX0" fmla="*/ 954567 w 1076461"/>
                  <a:gd name="connsiteY0" fmla="*/ 388077 h 520941"/>
                  <a:gd name="connsiteX1" fmla="*/ 954567 w 1076461"/>
                  <a:gd name="connsiteY1" fmla="*/ 130121 h 520941"/>
                  <a:gd name="connsiteX2" fmla="*/ 1011412 w 1076461"/>
                  <a:gd name="connsiteY2" fmla="*/ 186966 h 520941"/>
                  <a:gd name="connsiteX3" fmla="*/ 1065295 w 1076461"/>
                  <a:gd name="connsiteY3" fmla="*/ 186976 h 520941"/>
                  <a:gd name="connsiteX4" fmla="*/ 1065305 w 1076461"/>
                  <a:gd name="connsiteY4" fmla="*/ 133083 h 520941"/>
                  <a:gd name="connsiteX5" fmla="*/ 943385 w 1076461"/>
                  <a:gd name="connsiteY5" fmla="*/ 11163 h 520941"/>
                  <a:gd name="connsiteX6" fmla="*/ 889502 w 1076461"/>
                  <a:gd name="connsiteY6" fmla="*/ 11154 h 520941"/>
                  <a:gd name="connsiteX7" fmla="*/ 889492 w 1076461"/>
                  <a:gd name="connsiteY7" fmla="*/ 11163 h 520941"/>
                  <a:gd name="connsiteX8" fmla="*/ 767572 w 1076461"/>
                  <a:gd name="connsiteY8" fmla="*/ 133083 h 520941"/>
                  <a:gd name="connsiteX9" fmla="*/ 767572 w 1076461"/>
                  <a:gd name="connsiteY9" fmla="*/ 186966 h 520941"/>
                  <a:gd name="connsiteX10" fmla="*/ 821455 w 1076461"/>
                  <a:gd name="connsiteY10" fmla="*/ 186966 h 520941"/>
                  <a:gd name="connsiteX11" fmla="*/ 878300 w 1076461"/>
                  <a:gd name="connsiteY11" fmla="*/ 130121 h 520941"/>
                  <a:gd name="connsiteX12" fmla="*/ 878300 w 1076461"/>
                  <a:gd name="connsiteY12" fmla="*/ 388077 h 520941"/>
                  <a:gd name="connsiteX13" fmla="*/ 821636 w 1076461"/>
                  <a:gd name="connsiteY13" fmla="*/ 444741 h 520941"/>
                  <a:gd name="connsiteX14" fmla="*/ 38100 w 1076461"/>
                  <a:gd name="connsiteY14" fmla="*/ 444741 h 520941"/>
                  <a:gd name="connsiteX15" fmla="*/ 0 w 1076461"/>
                  <a:gd name="connsiteY15" fmla="*/ 482841 h 520941"/>
                  <a:gd name="connsiteX16" fmla="*/ 38100 w 1076461"/>
                  <a:gd name="connsiteY16" fmla="*/ 520941 h 520941"/>
                  <a:gd name="connsiteX17" fmla="*/ 821703 w 1076461"/>
                  <a:gd name="connsiteY17" fmla="*/ 520941 h 520941"/>
                  <a:gd name="connsiteX18" fmla="*/ 954567 w 1076461"/>
                  <a:gd name="connsiteY18" fmla="*/ 388077 h 5209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076461" h="520941">
                    <a:moveTo>
                      <a:pt x="954567" y="388077"/>
                    </a:moveTo>
                    <a:lnTo>
                      <a:pt x="954567" y="130121"/>
                    </a:lnTo>
                    <a:lnTo>
                      <a:pt x="1011412" y="186966"/>
                    </a:lnTo>
                    <a:cubicBezTo>
                      <a:pt x="1026290" y="201844"/>
                      <a:pt x="1050417" y="201854"/>
                      <a:pt x="1065295" y="186976"/>
                    </a:cubicBezTo>
                    <a:cubicBezTo>
                      <a:pt x="1080183" y="172088"/>
                      <a:pt x="1080183" y="147961"/>
                      <a:pt x="1065305" y="133083"/>
                    </a:cubicBezTo>
                    <a:lnTo>
                      <a:pt x="943385" y="11163"/>
                    </a:lnTo>
                    <a:cubicBezTo>
                      <a:pt x="928506" y="-3715"/>
                      <a:pt x="904389" y="-3724"/>
                      <a:pt x="889502" y="11154"/>
                    </a:cubicBezTo>
                    <a:cubicBezTo>
                      <a:pt x="889502" y="11154"/>
                      <a:pt x="889492" y="11163"/>
                      <a:pt x="889492" y="11163"/>
                    </a:cubicBezTo>
                    <a:lnTo>
                      <a:pt x="767572" y="133083"/>
                    </a:lnTo>
                    <a:cubicBezTo>
                      <a:pt x="752694" y="147961"/>
                      <a:pt x="752694" y="172088"/>
                      <a:pt x="767572" y="186966"/>
                    </a:cubicBezTo>
                    <a:cubicBezTo>
                      <a:pt x="782450" y="201844"/>
                      <a:pt x="806577" y="201844"/>
                      <a:pt x="821455" y="186966"/>
                    </a:cubicBezTo>
                    <a:lnTo>
                      <a:pt x="878300" y="130121"/>
                    </a:lnTo>
                    <a:lnTo>
                      <a:pt x="878300" y="388077"/>
                    </a:lnTo>
                    <a:cubicBezTo>
                      <a:pt x="878272" y="419357"/>
                      <a:pt x="852916" y="444713"/>
                      <a:pt x="821636" y="444741"/>
                    </a:cubicBezTo>
                    <a:lnTo>
                      <a:pt x="38100" y="444741"/>
                    </a:lnTo>
                    <a:cubicBezTo>
                      <a:pt x="17059" y="444741"/>
                      <a:pt x="0" y="461801"/>
                      <a:pt x="0" y="482841"/>
                    </a:cubicBezTo>
                    <a:cubicBezTo>
                      <a:pt x="0" y="503882"/>
                      <a:pt x="17059" y="520941"/>
                      <a:pt x="38100" y="520941"/>
                    </a:cubicBezTo>
                    <a:lnTo>
                      <a:pt x="821703" y="520941"/>
                    </a:lnTo>
                    <a:cubicBezTo>
                      <a:pt x="895045" y="520856"/>
                      <a:pt x="954481" y="461420"/>
                      <a:pt x="954567" y="38807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678" dirty="0"/>
              </a:p>
            </p:txBody>
          </p:sp>
        </p:grpSp>
      </p:grpSp>
      <p:sp>
        <p:nvSpPr>
          <p:cNvPr id="86" name="Isosceles Triangle 85">
            <a:extLst>
              <a:ext uri="{FF2B5EF4-FFF2-40B4-BE49-F238E27FC236}">
                <a16:creationId xmlns:a16="http://schemas.microsoft.com/office/drawing/2014/main" id="{0790DBD5-D218-4057-ABDA-70503C113951}"/>
              </a:ext>
            </a:extLst>
          </p:cNvPr>
          <p:cNvSpPr/>
          <p:nvPr/>
        </p:nvSpPr>
        <p:spPr>
          <a:xfrm rot="10800000">
            <a:off x="8874411" y="2432660"/>
            <a:ext cx="3813880" cy="245723"/>
          </a:xfrm>
          <a:prstGeom prst="triangle">
            <a:avLst/>
          </a:prstGeom>
          <a:solidFill>
            <a:srgbClr val="FFA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87" name="Table 86">
            <a:extLst>
              <a:ext uri="{FF2B5EF4-FFF2-40B4-BE49-F238E27FC236}">
                <a16:creationId xmlns:a16="http://schemas.microsoft.com/office/drawing/2014/main" id="{C32BEE24-2589-4A40-95F9-2D97A5DF22F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40061917"/>
              </p:ext>
            </p:extLst>
          </p:nvPr>
        </p:nvGraphicFramePr>
        <p:xfrm>
          <a:off x="8211995" y="547243"/>
          <a:ext cx="5428244" cy="4753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28244">
                  <a:extLst>
                    <a:ext uri="{9D8B030D-6E8A-4147-A177-3AD203B41FA5}">
                      <a16:colId xmlns:a16="http://schemas.microsoft.com/office/drawing/2014/main" val="2931685224"/>
                    </a:ext>
                  </a:extLst>
                </a:gridCol>
              </a:tblGrid>
              <a:tr h="474912"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ur Approach</a:t>
                      </a:r>
                    </a:p>
                  </a:txBody>
                  <a:tcPr marL="109595" marR="109595" marT="54798" marB="54798">
                    <a:lnB w="12700" cap="flat" cmpd="sng" algn="ctr">
                      <a:solidFill>
                        <a:srgbClr val="3D7E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54483131"/>
                  </a:ext>
                </a:extLst>
              </a:tr>
            </a:tbl>
          </a:graphicData>
        </a:graphic>
      </p:graphicFrame>
      <p:grpSp>
        <p:nvGrpSpPr>
          <p:cNvPr id="88" name="Group 87">
            <a:extLst>
              <a:ext uri="{FF2B5EF4-FFF2-40B4-BE49-F238E27FC236}">
                <a16:creationId xmlns:a16="http://schemas.microsoft.com/office/drawing/2014/main" id="{C0209740-090A-469A-8233-CBD0243F884E}"/>
              </a:ext>
            </a:extLst>
          </p:cNvPr>
          <p:cNvGrpSpPr>
            <a:grpSpLocks noChangeAspect="1"/>
          </p:cNvGrpSpPr>
          <p:nvPr/>
        </p:nvGrpSpPr>
        <p:grpSpPr>
          <a:xfrm>
            <a:off x="9242727" y="623220"/>
            <a:ext cx="435357" cy="350704"/>
            <a:chOff x="8340502" y="1150984"/>
            <a:chExt cx="517425" cy="416814"/>
          </a:xfrm>
        </p:grpSpPr>
        <p:cxnSp>
          <p:nvCxnSpPr>
            <p:cNvPr id="89" name="Straight Connector 88">
              <a:extLst>
                <a:ext uri="{FF2B5EF4-FFF2-40B4-BE49-F238E27FC236}">
                  <a16:creationId xmlns:a16="http://schemas.microsoft.com/office/drawing/2014/main" id="{CBF004F8-D69C-44F6-BDD5-443318DCA790}"/>
                </a:ext>
              </a:extLst>
            </p:cNvPr>
            <p:cNvCxnSpPr>
              <a:cxnSpLocks/>
            </p:cNvCxnSpPr>
            <p:nvPr/>
          </p:nvCxnSpPr>
          <p:spPr>
            <a:xfrm>
              <a:off x="8857927" y="1158416"/>
              <a:ext cx="0" cy="394496"/>
            </a:xfrm>
            <a:prstGeom prst="line">
              <a:avLst/>
            </a:prstGeom>
            <a:ln w="1270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0" name="Graphic 232">
              <a:extLst>
                <a:ext uri="{FF2B5EF4-FFF2-40B4-BE49-F238E27FC236}">
                  <a16:creationId xmlns:a16="http://schemas.microsoft.com/office/drawing/2014/main" id="{0FD4691F-595A-488E-B6B8-4C7A931C53EA}"/>
                </a:ext>
              </a:extLst>
            </p:cNvPr>
            <p:cNvGrpSpPr/>
            <p:nvPr/>
          </p:nvGrpSpPr>
          <p:grpSpPr>
            <a:xfrm>
              <a:off x="8340502" y="1150984"/>
              <a:ext cx="417736" cy="416814"/>
              <a:chOff x="729169" y="4300360"/>
              <a:chExt cx="457257" cy="456247"/>
            </a:xfrm>
            <a:solidFill>
              <a:schemeClr val="bg1"/>
            </a:solidFill>
          </p:grpSpPr>
          <p:sp>
            <p:nvSpPr>
              <p:cNvPr id="91" name="Graphic 232">
                <a:extLst>
                  <a:ext uri="{FF2B5EF4-FFF2-40B4-BE49-F238E27FC236}">
                    <a16:creationId xmlns:a16="http://schemas.microsoft.com/office/drawing/2014/main" id="{7C4010E3-05D3-4542-9074-108E9DB0A873}"/>
                  </a:ext>
                </a:extLst>
              </p:cNvPr>
              <p:cNvSpPr/>
              <p:nvPr/>
            </p:nvSpPr>
            <p:spPr>
              <a:xfrm>
                <a:off x="729169" y="4300360"/>
                <a:ext cx="457257" cy="456247"/>
              </a:xfrm>
              <a:custGeom>
                <a:avLst/>
                <a:gdLst>
                  <a:gd name="connsiteX0" fmla="*/ 320097 w 457257"/>
                  <a:gd name="connsiteY0" fmla="*/ 181928 h 456247"/>
                  <a:gd name="connsiteX1" fmla="*/ 235325 w 457257"/>
                  <a:gd name="connsiteY1" fmla="*/ 211455 h 456247"/>
                  <a:gd name="connsiteX2" fmla="*/ 144837 w 457257"/>
                  <a:gd name="connsiteY2" fmla="*/ 42863 h 456247"/>
                  <a:gd name="connsiteX3" fmla="*/ 93402 w 457257"/>
                  <a:gd name="connsiteY3" fmla="*/ 0 h 456247"/>
                  <a:gd name="connsiteX4" fmla="*/ 85782 w 457257"/>
                  <a:gd name="connsiteY4" fmla="*/ 1905 h 456247"/>
                  <a:gd name="connsiteX5" fmla="*/ 81972 w 457257"/>
                  <a:gd name="connsiteY5" fmla="*/ 8573 h 456247"/>
                  <a:gd name="connsiteX6" fmla="*/ 81972 w 457257"/>
                  <a:gd name="connsiteY6" fmla="*/ 40005 h 456247"/>
                  <a:gd name="connsiteX7" fmla="*/ 71495 w 457257"/>
                  <a:gd name="connsiteY7" fmla="*/ 49530 h 456247"/>
                  <a:gd name="connsiteX8" fmla="*/ 29585 w 457257"/>
                  <a:gd name="connsiteY8" fmla="*/ 104775 h 456247"/>
                  <a:gd name="connsiteX9" fmla="*/ 11487 w 457257"/>
                  <a:gd name="connsiteY9" fmla="*/ 115253 h 456247"/>
                  <a:gd name="connsiteX10" fmla="*/ 5772 w 457257"/>
                  <a:gd name="connsiteY10" fmla="*/ 153353 h 456247"/>
                  <a:gd name="connsiteX11" fmla="*/ 6725 w 457257"/>
                  <a:gd name="connsiteY11" fmla="*/ 155258 h 456247"/>
                  <a:gd name="connsiteX12" fmla="*/ 7677 w 457257"/>
                  <a:gd name="connsiteY12" fmla="*/ 157163 h 456247"/>
                  <a:gd name="connsiteX13" fmla="*/ 38157 w 457257"/>
                  <a:gd name="connsiteY13" fmla="*/ 170498 h 456247"/>
                  <a:gd name="connsiteX14" fmla="*/ 87687 w 457257"/>
                  <a:gd name="connsiteY14" fmla="*/ 162878 h 456247"/>
                  <a:gd name="connsiteX15" fmla="*/ 116262 w 457257"/>
                  <a:gd name="connsiteY15" fmla="*/ 142875 h 456247"/>
                  <a:gd name="connsiteX16" fmla="*/ 122930 w 457257"/>
                  <a:gd name="connsiteY16" fmla="*/ 154305 h 456247"/>
                  <a:gd name="connsiteX17" fmla="*/ 86735 w 457257"/>
                  <a:gd name="connsiteY17" fmla="*/ 230505 h 456247"/>
                  <a:gd name="connsiteX18" fmla="*/ 75305 w 457257"/>
                  <a:gd name="connsiteY18" fmla="*/ 279083 h 456247"/>
                  <a:gd name="connsiteX19" fmla="*/ 36252 w 457257"/>
                  <a:gd name="connsiteY19" fmla="*/ 334328 h 456247"/>
                  <a:gd name="connsiteX20" fmla="*/ 36252 w 457257"/>
                  <a:gd name="connsiteY20" fmla="*/ 335280 h 456247"/>
                  <a:gd name="connsiteX21" fmla="*/ 45777 w 457257"/>
                  <a:gd name="connsiteY21" fmla="*/ 344805 h 456247"/>
                  <a:gd name="connsiteX22" fmla="*/ 185795 w 457257"/>
                  <a:gd name="connsiteY22" fmla="*/ 344805 h 456247"/>
                  <a:gd name="connsiteX23" fmla="*/ 320097 w 457257"/>
                  <a:gd name="connsiteY23" fmla="*/ 456248 h 456247"/>
                  <a:gd name="connsiteX24" fmla="*/ 457257 w 457257"/>
                  <a:gd name="connsiteY24" fmla="*/ 319088 h 456247"/>
                  <a:gd name="connsiteX25" fmla="*/ 320097 w 457257"/>
                  <a:gd name="connsiteY25" fmla="*/ 181928 h 456247"/>
                  <a:gd name="connsiteX26" fmla="*/ 275330 w 457257"/>
                  <a:gd name="connsiteY26" fmla="*/ 209550 h 456247"/>
                  <a:gd name="connsiteX27" fmla="*/ 252470 w 457257"/>
                  <a:gd name="connsiteY27" fmla="*/ 263843 h 456247"/>
                  <a:gd name="connsiteX28" fmla="*/ 215322 w 457257"/>
                  <a:gd name="connsiteY28" fmla="*/ 263843 h 456247"/>
                  <a:gd name="connsiteX29" fmla="*/ 275330 w 457257"/>
                  <a:gd name="connsiteY29" fmla="*/ 209550 h 456247"/>
                  <a:gd name="connsiteX30" fmla="*/ 101022 w 457257"/>
                  <a:gd name="connsiteY30" fmla="*/ 20955 h 456247"/>
                  <a:gd name="connsiteX31" fmla="*/ 120072 w 457257"/>
                  <a:gd name="connsiteY31" fmla="*/ 37148 h 456247"/>
                  <a:gd name="connsiteX32" fmla="*/ 109595 w 457257"/>
                  <a:gd name="connsiteY32" fmla="*/ 36195 h 456247"/>
                  <a:gd name="connsiteX33" fmla="*/ 101022 w 457257"/>
                  <a:gd name="connsiteY33" fmla="*/ 36195 h 456247"/>
                  <a:gd name="connsiteX34" fmla="*/ 101022 w 457257"/>
                  <a:gd name="connsiteY34" fmla="*/ 20955 h 456247"/>
                  <a:gd name="connsiteX35" fmla="*/ 182937 w 457257"/>
                  <a:gd name="connsiteY35" fmla="*/ 325755 h 456247"/>
                  <a:gd name="connsiteX36" fmla="*/ 55302 w 457257"/>
                  <a:gd name="connsiteY36" fmla="*/ 325755 h 456247"/>
                  <a:gd name="connsiteX37" fmla="*/ 94355 w 457257"/>
                  <a:gd name="connsiteY37" fmla="*/ 293370 h 456247"/>
                  <a:gd name="connsiteX38" fmla="*/ 184842 w 457257"/>
                  <a:gd name="connsiteY38" fmla="*/ 293370 h 456247"/>
                  <a:gd name="connsiteX39" fmla="*/ 182937 w 457257"/>
                  <a:gd name="connsiteY39" fmla="*/ 318135 h 456247"/>
                  <a:gd name="connsiteX40" fmla="*/ 182937 w 457257"/>
                  <a:gd name="connsiteY40" fmla="*/ 325755 h 456247"/>
                  <a:gd name="connsiteX41" fmla="*/ 94355 w 457257"/>
                  <a:gd name="connsiteY41" fmla="*/ 275273 h 456247"/>
                  <a:gd name="connsiteX42" fmla="*/ 93402 w 457257"/>
                  <a:gd name="connsiteY42" fmla="*/ 275273 h 456247"/>
                  <a:gd name="connsiteX43" fmla="*/ 102927 w 457257"/>
                  <a:gd name="connsiteY43" fmla="*/ 239078 h 456247"/>
                  <a:gd name="connsiteX44" fmla="*/ 138170 w 457257"/>
                  <a:gd name="connsiteY44" fmla="*/ 162878 h 456247"/>
                  <a:gd name="connsiteX45" fmla="*/ 141027 w 457257"/>
                  <a:gd name="connsiteY45" fmla="*/ 150495 h 456247"/>
                  <a:gd name="connsiteX46" fmla="*/ 134360 w 457257"/>
                  <a:gd name="connsiteY46" fmla="*/ 132398 h 456247"/>
                  <a:gd name="connsiteX47" fmla="*/ 118167 w 457257"/>
                  <a:gd name="connsiteY47" fmla="*/ 123825 h 456247"/>
                  <a:gd name="connsiteX48" fmla="*/ 97212 w 457257"/>
                  <a:gd name="connsiteY48" fmla="*/ 133350 h 456247"/>
                  <a:gd name="connsiteX49" fmla="*/ 29585 w 457257"/>
                  <a:gd name="connsiteY49" fmla="*/ 152400 h 456247"/>
                  <a:gd name="connsiteX50" fmla="*/ 23870 w 457257"/>
                  <a:gd name="connsiteY50" fmla="*/ 150495 h 456247"/>
                  <a:gd name="connsiteX51" fmla="*/ 21965 w 457257"/>
                  <a:gd name="connsiteY51" fmla="*/ 145733 h 456247"/>
                  <a:gd name="connsiteX52" fmla="*/ 21012 w 457257"/>
                  <a:gd name="connsiteY52" fmla="*/ 132398 h 456247"/>
                  <a:gd name="connsiteX53" fmla="*/ 86735 w 457257"/>
                  <a:gd name="connsiteY53" fmla="*/ 60960 h 456247"/>
                  <a:gd name="connsiteX54" fmla="*/ 98165 w 457257"/>
                  <a:gd name="connsiteY54" fmla="*/ 55245 h 456247"/>
                  <a:gd name="connsiteX55" fmla="*/ 109595 w 457257"/>
                  <a:gd name="connsiteY55" fmla="*/ 55245 h 456247"/>
                  <a:gd name="connsiteX56" fmla="*/ 215322 w 457257"/>
                  <a:gd name="connsiteY56" fmla="*/ 226695 h 456247"/>
                  <a:gd name="connsiteX57" fmla="*/ 215322 w 457257"/>
                  <a:gd name="connsiteY57" fmla="*/ 229553 h 456247"/>
                  <a:gd name="connsiteX58" fmla="*/ 188652 w 457257"/>
                  <a:gd name="connsiteY58" fmla="*/ 276225 h 456247"/>
                  <a:gd name="connsiteX59" fmla="*/ 94355 w 457257"/>
                  <a:gd name="connsiteY59" fmla="*/ 276225 h 456247"/>
                  <a:gd name="connsiteX60" fmla="*/ 201035 w 457257"/>
                  <a:gd name="connsiteY60" fmla="*/ 319088 h 456247"/>
                  <a:gd name="connsiteX61" fmla="*/ 206750 w 457257"/>
                  <a:gd name="connsiteY61" fmla="*/ 282893 h 456247"/>
                  <a:gd name="connsiteX62" fmla="*/ 248660 w 457257"/>
                  <a:gd name="connsiteY62" fmla="*/ 282893 h 456247"/>
                  <a:gd name="connsiteX63" fmla="*/ 245802 w 457257"/>
                  <a:gd name="connsiteY63" fmla="*/ 319088 h 456247"/>
                  <a:gd name="connsiteX64" fmla="*/ 248660 w 457257"/>
                  <a:gd name="connsiteY64" fmla="*/ 355283 h 456247"/>
                  <a:gd name="connsiteX65" fmla="*/ 206750 w 457257"/>
                  <a:gd name="connsiteY65" fmla="*/ 355283 h 456247"/>
                  <a:gd name="connsiteX66" fmla="*/ 201035 w 457257"/>
                  <a:gd name="connsiteY66" fmla="*/ 319088 h 456247"/>
                  <a:gd name="connsiteX67" fmla="*/ 215322 w 457257"/>
                  <a:gd name="connsiteY67" fmla="*/ 374333 h 456247"/>
                  <a:gd name="connsiteX68" fmla="*/ 252470 w 457257"/>
                  <a:gd name="connsiteY68" fmla="*/ 374333 h 456247"/>
                  <a:gd name="connsiteX69" fmla="*/ 275330 w 457257"/>
                  <a:gd name="connsiteY69" fmla="*/ 428625 h 456247"/>
                  <a:gd name="connsiteX70" fmla="*/ 215322 w 457257"/>
                  <a:gd name="connsiteY70" fmla="*/ 374333 h 456247"/>
                  <a:gd name="connsiteX71" fmla="*/ 310572 w 457257"/>
                  <a:gd name="connsiteY71" fmla="*/ 435293 h 456247"/>
                  <a:gd name="connsiteX72" fmla="*/ 272472 w 457257"/>
                  <a:gd name="connsiteY72" fmla="*/ 374333 h 456247"/>
                  <a:gd name="connsiteX73" fmla="*/ 310572 w 457257"/>
                  <a:gd name="connsiteY73" fmla="*/ 374333 h 456247"/>
                  <a:gd name="connsiteX74" fmla="*/ 310572 w 457257"/>
                  <a:gd name="connsiteY74" fmla="*/ 435293 h 456247"/>
                  <a:gd name="connsiteX75" fmla="*/ 310572 w 457257"/>
                  <a:gd name="connsiteY75" fmla="*/ 355283 h 456247"/>
                  <a:gd name="connsiteX76" fmla="*/ 268662 w 457257"/>
                  <a:gd name="connsiteY76" fmla="*/ 355283 h 456247"/>
                  <a:gd name="connsiteX77" fmla="*/ 265805 w 457257"/>
                  <a:gd name="connsiteY77" fmla="*/ 319088 h 456247"/>
                  <a:gd name="connsiteX78" fmla="*/ 268662 w 457257"/>
                  <a:gd name="connsiteY78" fmla="*/ 282893 h 456247"/>
                  <a:gd name="connsiteX79" fmla="*/ 310572 w 457257"/>
                  <a:gd name="connsiteY79" fmla="*/ 282893 h 456247"/>
                  <a:gd name="connsiteX80" fmla="*/ 310572 w 457257"/>
                  <a:gd name="connsiteY80" fmla="*/ 355283 h 456247"/>
                  <a:gd name="connsiteX81" fmla="*/ 310572 w 457257"/>
                  <a:gd name="connsiteY81" fmla="*/ 263843 h 456247"/>
                  <a:gd name="connsiteX82" fmla="*/ 272472 w 457257"/>
                  <a:gd name="connsiteY82" fmla="*/ 263843 h 456247"/>
                  <a:gd name="connsiteX83" fmla="*/ 310572 w 457257"/>
                  <a:gd name="connsiteY83" fmla="*/ 202883 h 456247"/>
                  <a:gd name="connsiteX84" fmla="*/ 310572 w 457257"/>
                  <a:gd name="connsiteY84" fmla="*/ 263843 h 456247"/>
                  <a:gd name="connsiteX85" fmla="*/ 329622 w 457257"/>
                  <a:gd name="connsiteY85" fmla="*/ 202883 h 456247"/>
                  <a:gd name="connsiteX86" fmla="*/ 367722 w 457257"/>
                  <a:gd name="connsiteY86" fmla="*/ 263843 h 456247"/>
                  <a:gd name="connsiteX87" fmla="*/ 329622 w 457257"/>
                  <a:gd name="connsiteY87" fmla="*/ 263843 h 456247"/>
                  <a:gd name="connsiteX88" fmla="*/ 329622 w 457257"/>
                  <a:gd name="connsiteY88" fmla="*/ 202883 h 456247"/>
                  <a:gd name="connsiteX89" fmla="*/ 329622 w 457257"/>
                  <a:gd name="connsiteY89" fmla="*/ 282893 h 456247"/>
                  <a:gd name="connsiteX90" fmla="*/ 371532 w 457257"/>
                  <a:gd name="connsiteY90" fmla="*/ 282893 h 456247"/>
                  <a:gd name="connsiteX91" fmla="*/ 374390 w 457257"/>
                  <a:gd name="connsiteY91" fmla="*/ 319088 h 456247"/>
                  <a:gd name="connsiteX92" fmla="*/ 371532 w 457257"/>
                  <a:gd name="connsiteY92" fmla="*/ 355283 h 456247"/>
                  <a:gd name="connsiteX93" fmla="*/ 329622 w 457257"/>
                  <a:gd name="connsiteY93" fmla="*/ 355283 h 456247"/>
                  <a:gd name="connsiteX94" fmla="*/ 329622 w 457257"/>
                  <a:gd name="connsiteY94" fmla="*/ 282893 h 456247"/>
                  <a:gd name="connsiteX95" fmla="*/ 329622 w 457257"/>
                  <a:gd name="connsiteY95" fmla="*/ 435293 h 456247"/>
                  <a:gd name="connsiteX96" fmla="*/ 329622 w 457257"/>
                  <a:gd name="connsiteY96" fmla="*/ 374333 h 456247"/>
                  <a:gd name="connsiteX97" fmla="*/ 367722 w 457257"/>
                  <a:gd name="connsiteY97" fmla="*/ 374333 h 456247"/>
                  <a:gd name="connsiteX98" fmla="*/ 329622 w 457257"/>
                  <a:gd name="connsiteY98" fmla="*/ 435293 h 456247"/>
                  <a:gd name="connsiteX99" fmla="*/ 363912 w 457257"/>
                  <a:gd name="connsiteY99" fmla="*/ 428625 h 456247"/>
                  <a:gd name="connsiteX100" fmla="*/ 386772 w 457257"/>
                  <a:gd name="connsiteY100" fmla="*/ 374333 h 456247"/>
                  <a:gd name="connsiteX101" fmla="*/ 423920 w 457257"/>
                  <a:gd name="connsiteY101" fmla="*/ 374333 h 456247"/>
                  <a:gd name="connsiteX102" fmla="*/ 363912 w 457257"/>
                  <a:gd name="connsiteY102" fmla="*/ 428625 h 456247"/>
                  <a:gd name="connsiteX103" fmla="*/ 438207 w 457257"/>
                  <a:gd name="connsiteY103" fmla="*/ 319088 h 456247"/>
                  <a:gd name="connsiteX104" fmla="*/ 432492 w 457257"/>
                  <a:gd name="connsiteY104" fmla="*/ 355283 h 456247"/>
                  <a:gd name="connsiteX105" fmla="*/ 390582 w 457257"/>
                  <a:gd name="connsiteY105" fmla="*/ 355283 h 456247"/>
                  <a:gd name="connsiteX106" fmla="*/ 393440 w 457257"/>
                  <a:gd name="connsiteY106" fmla="*/ 319088 h 456247"/>
                  <a:gd name="connsiteX107" fmla="*/ 390582 w 457257"/>
                  <a:gd name="connsiteY107" fmla="*/ 282893 h 456247"/>
                  <a:gd name="connsiteX108" fmla="*/ 432492 w 457257"/>
                  <a:gd name="connsiteY108" fmla="*/ 282893 h 456247"/>
                  <a:gd name="connsiteX109" fmla="*/ 438207 w 457257"/>
                  <a:gd name="connsiteY109" fmla="*/ 319088 h 456247"/>
                  <a:gd name="connsiteX110" fmla="*/ 386772 w 457257"/>
                  <a:gd name="connsiteY110" fmla="*/ 263843 h 456247"/>
                  <a:gd name="connsiteX111" fmla="*/ 363912 w 457257"/>
                  <a:gd name="connsiteY111" fmla="*/ 209550 h 456247"/>
                  <a:gd name="connsiteX112" fmla="*/ 423920 w 457257"/>
                  <a:gd name="connsiteY112" fmla="*/ 263843 h 456247"/>
                  <a:gd name="connsiteX113" fmla="*/ 386772 w 457257"/>
                  <a:gd name="connsiteY113" fmla="*/ 263843 h 4562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</a:cxnLst>
                <a:rect l="l" t="t" r="r" b="b"/>
                <a:pathLst>
                  <a:path w="457257" h="456247">
                    <a:moveTo>
                      <a:pt x="320097" y="181928"/>
                    </a:moveTo>
                    <a:cubicBezTo>
                      <a:pt x="287712" y="181928"/>
                      <a:pt x="259137" y="193358"/>
                      <a:pt x="235325" y="211455"/>
                    </a:cubicBezTo>
                    <a:cubicBezTo>
                      <a:pt x="235325" y="120015"/>
                      <a:pt x="203892" y="60960"/>
                      <a:pt x="144837" y="42863"/>
                    </a:cubicBezTo>
                    <a:cubicBezTo>
                      <a:pt x="139122" y="23812"/>
                      <a:pt x="119120" y="2857"/>
                      <a:pt x="93402" y="0"/>
                    </a:cubicBezTo>
                    <a:cubicBezTo>
                      <a:pt x="90545" y="0"/>
                      <a:pt x="87687" y="953"/>
                      <a:pt x="85782" y="1905"/>
                    </a:cubicBezTo>
                    <a:cubicBezTo>
                      <a:pt x="82925" y="2857"/>
                      <a:pt x="81972" y="5715"/>
                      <a:pt x="81972" y="8573"/>
                    </a:cubicBezTo>
                    <a:lnTo>
                      <a:pt x="81972" y="40005"/>
                    </a:lnTo>
                    <a:cubicBezTo>
                      <a:pt x="78162" y="42863"/>
                      <a:pt x="74352" y="45720"/>
                      <a:pt x="71495" y="49530"/>
                    </a:cubicBezTo>
                    <a:lnTo>
                      <a:pt x="29585" y="104775"/>
                    </a:lnTo>
                    <a:lnTo>
                      <a:pt x="11487" y="115253"/>
                    </a:lnTo>
                    <a:cubicBezTo>
                      <a:pt x="-7563" y="126683"/>
                      <a:pt x="1962" y="146685"/>
                      <a:pt x="5772" y="153353"/>
                    </a:cubicBezTo>
                    <a:cubicBezTo>
                      <a:pt x="5772" y="154305"/>
                      <a:pt x="6725" y="155258"/>
                      <a:pt x="6725" y="155258"/>
                    </a:cubicBezTo>
                    <a:cubicBezTo>
                      <a:pt x="6725" y="156210"/>
                      <a:pt x="6725" y="156210"/>
                      <a:pt x="7677" y="157163"/>
                    </a:cubicBezTo>
                    <a:cubicBezTo>
                      <a:pt x="12440" y="168593"/>
                      <a:pt x="25775" y="174308"/>
                      <a:pt x="38157" y="170498"/>
                    </a:cubicBezTo>
                    <a:cubicBezTo>
                      <a:pt x="64827" y="160020"/>
                      <a:pt x="71495" y="164783"/>
                      <a:pt x="87687" y="162878"/>
                    </a:cubicBezTo>
                    <a:cubicBezTo>
                      <a:pt x="100070" y="161925"/>
                      <a:pt x="109595" y="156210"/>
                      <a:pt x="116262" y="142875"/>
                    </a:cubicBezTo>
                    <a:cubicBezTo>
                      <a:pt x="121977" y="140018"/>
                      <a:pt x="125787" y="148590"/>
                      <a:pt x="122930" y="154305"/>
                    </a:cubicBezTo>
                    <a:lnTo>
                      <a:pt x="86735" y="230505"/>
                    </a:lnTo>
                    <a:cubicBezTo>
                      <a:pt x="80067" y="245745"/>
                      <a:pt x="76257" y="261938"/>
                      <a:pt x="75305" y="279083"/>
                    </a:cubicBezTo>
                    <a:cubicBezTo>
                      <a:pt x="52445" y="287655"/>
                      <a:pt x="36252" y="309563"/>
                      <a:pt x="36252" y="334328"/>
                    </a:cubicBezTo>
                    <a:lnTo>
                      <a:pt x="36252" y="335280"/>
                    </a:lnTo>
                    <a:cubicBezTo>
                      <a:pt x="36252" y="340995"/>
                      <a:pt x="40062" y="344805"/>
                      <a:pt x="45777" y="344805"/>
                    </a:cubicBezTo>
                    <a:lnTo>
                      <a:pt x="185795" y="344805"/>
                    </a:lnTo>
                    <a:cubicBezTo>
                      <a:pt x="197225" y="408623"/>
                      <a:pt x="252470" y="456248"/>
                      <a:pt x="320097" y="456248"/>
                    </a:cubicBezTo>
                    <a:cubicBezTo>
                      <a:pt x="396297" y="456248"/>
                      <a:pt x="457257" y="394335"/>
                      <a:pt x="457257" y="319088"/>
                    </a:cubicBezTo>
                    <a:cubicBezTo>
                      <a:pt x="457257" y="243840"/>
                      <a:pt x="395345" y="181928"/>
                      <a:pt x="320097" y="181928"/>
                    </a:cubicBezTo>
                    <a:close/>
                    <a:moveTo>
                      <a:pt x="275330" y="209550"/>
                    </a:moveTo>
                    <a:cubicBezTo>
                      <a:pt x="265805" y="223838"/>
                      <a:pt x="257232" y="241935"/>
                      <a:pt x="252470" y="263843"/>
                    </a:cubicBezTo>
                    <a:lnTo>
                      <a:pt x="215322" y="263843"/>
                    </a:lnTo>
                    <a:cubicBezTo>
                      <a:pt x="227705" y="239078"/>
                      <a:pt x="249612" y="220028"/>
                      <a:pt x="275330" y="209550"/>
                    </a:cubicBezTo>
                    <a:close/>
                    <a:moveTo>
                      <a:pt x="101022" y="20955"/>
                    </a:moveTo>
                    <a:cubicBezTo>
                      <a:pt x="108642" y="24765"/>
                      <a:pt x="115310" y="30480"/>
                      <a:pt x="120072" y="37148"/>
                    </a:cubicBezTo>
                    <a:cubicBezTo>
                      <a:pt x="116262" y="37148"/>
                      <a:pt x="113405" y="36195"/>
                      <a:pt x="109595" y="36195"/>
                    </a:cubicBezTo>
                    <a:lnTo>
                      <a:pt x="101022" y="36195"/>
                    </a:lnTo>
                    <a:lnTo>
                      <a:pt x="101022" y="20955"/>
                    </a:lnTo>
                    <a:close/>
                    <a:moveTo>
                      <a:pt x="182937" y="325755"/>
                    </a:moveTo>
                    <a:lnTo>
                      <a:pt x="55302" y="325755"/>
                    </a:lnTo>
                    <a:cubicBezTo>
                      <a:pt x="59112" y="307658"/>
                      <a:pt x="75305" y="293370"/>
                      <a:pt x="94355" y="293370"/>
                    </a:cubicBezTo>
                    <a:lnTo>
                      <a:pt x="184842" y="293370"/>
                    </a:lnTo>
                    <a:cubicBezTo>
                      <a:pt x="182937" y="300990"/>
                      <a:pt x="182937" y="309563"/>
                      <a:pt x="182937" y="318135"/>
                    </a:cubicBezTo>
                    <a:cubicBezTo>
                      <a:pt x="181985" y="320993"/>
                      <a:pt x="181985" y="323850"/>
                      <a:pt x="182937" y="325755"/>
                    </a:cubicBezTo>
                    <a:close/>
                    <a:moveTo>
                      <a:pt x="94355" y="275273"/>
                    </a:moveTo>
                    <a:lnTo>
                      <a:pt x="93402" y="275273"/>
                    </a:lnTo>
                    <a:cubicBezTo>
                      <a:pt x="94355" y="262890"/>
                      <a:pt x="98165" y="250508"/>
                      <a:pt x="102927" y="239078"/>
                    </a:cubicBezTo>
                    <a:lnTo>
                      <a:pt x="138170" y="162878"/>
                    </a:lnTo>
                    <a:cubicBezTo>
                      <a:pt x="140075" y="159068"/>
                      <a:pt x="141027" y="155258"/>
                      <a:pt x="141027" y="150495"/>
                    </a:cubicBezTo>
                    <a:cubicBezTo>
                      <a:pt x="141027" y="143828"/>
                      <a:pt x="139122" y="137160"/>
                      <a:pt x="134360" y="132398"/>
                    </a:cubicBezTo>
                    <a:cubicBezTo>
                      <a:pt x="130550" y="127635"/>
                      <a:pt x="124835" y="123825"/>
                      <a:pt x="118167" y="123825"/>
                    </a:cubicBezTo>
                    <a:cubicBezTo>
                      <a:pt x="110547" y="122873"/>
                      <a:pt x="101022" y="126683"/>
                      <a:pt x="97212" y="133350"/>
                    </a:cubicBezTo>
                    <a:cubicBezTo>
                      <a:pt x="87687" y="153353"/>
                      <a:pt x="74352" y="135255"/>
                      <a:pt x="29585" y="152400"/>
                    </a:cubicBezTo>
                    <a:cubicBezTo>
                      <a:pt x="27680" y="153353"/>
                      <a:pt x="24822" y="152400"/>
                      <a:pt x="23870" y="150495"/>
                    </a:cubicBezTo>
                    <a:cubicBezTo>
                      <a:pt x="23870" y="148590"/>
                      <a:pt x="22917" y="147638"/>
                      <a:pt x="21965" y="145733"/>
                    </a:cubicBezTo>
                    <a:cubicBezTo>
                      <a:pt x="16250" y="135255"/>
                      <a:pt x="18155" y="133350"/>
                      <a:pt x="21012" y="132398"/>
                    </a:cubicBezTo>
                    <a:cubicBezTo>
                      <a:pt x="52445" y="113348"/>
                      <a:pt x="30537" y="134303"/>
                      <a:pt x="86735" y="60960"/>
                    </a:cubicBezTo>
                    <a:cubicBezTo>
                      <a:pt x="89592" y="57150"/>
                      <a:pt x="93402" y="55245"/>
                      <a:pt x="98165" y="55245"/>
                    </a:cubicBezTo>
                    <a:lnTo>
                      <a:pt x="109595" y="55245"/>
                    </a:lnTo>
                    <a:cubicBezTo>
                      <a:pt x="202940" y="60960"/>
                      <a:pt x="219132" y="151448"/>
                      <a:pt x="215322" y="226695"/>
                    </a:cubicBezTo>
                    <a:cubicBezTo>
                      <a:pt x="215322" y="227648"/>
                      <a:pt x="215322" y="228600"/>
                      <a:pt x="215322" y="229553"/>
                    </a:cubicBezTo>
                    <a:cubicBezTo>
                      <a:pt x="203892" y="242888"/>
                      <a:pt x="194367" y="258128"/>
                      <a:pt x="188652" y="276225"/>
                    </a:cubicBezTo>
                    <a:lnTo>
                      <a:pt x="94355" y="276225"/>
                    </a:lnTo>
                    <a:close/>
                    <a:moveTo>
                      <a:pt x="201035" y="319088"/>
                    </a:moveTo>
                    <a:cubicBezTo>
                      <a:pt x="201035" y="306705"/>
                      <a:pt x="202940" y="294323"/>
                      <a:pt x="206750" y="282893"/>
                    </a:cubicBezTo>
                    <a:lnTo>
                      <a:pt x="248660" y="282893"/>
                    </a:lnTo>
                    <a:cubicBezTo>
                      <a:pt x="246755" y="294323"/>
                      <a:pt x="245802" y="306705"/>
                      <a:pt x="245802" y="319088"/>
                    </a:cubicBezTo>
                    <a:cubicBezTo>
                      <a:pt x="245802" y="331470"/>
                      <a:pt x="246755" y="343853"/>
                      <a:pt x="248660" y="355283"/>
                    </a:cubicBezTo>
                    <a:lnTo>
                      <a:pt x="206750" y="355283"/>
                    </a:lnTo>
                    <a:cubicBezTo>
                      <a:pt x="202940" y="343853"/>
                      <a:pt x="201035" y="331470"/>
                      <a:pt x="201035" y="319088"/>
                    </a:cubicBezTo>
                    <a:close/>
                    <a:moveTo>
                      <a:pt x="215322" y="374333"/>
                    </a:moveTo>
                    <a:lnTo>
                      <a:pt x="252470" y="374333"/>
                    </a:lnTo>
                    <a:cubicBezTo>
                      <a:pt x="257232" y="396240"/>
                      <a:pt x="264852" y="414338"/>
                      <a:pt x="275330" y="428625"/>
                    </a:cubicBezTo>
                    <a:cubicBezTo>
                      <a:pt x="249612" y="418148"/>
                      <a:pt x="227705" y="398145"/>
                      <a:pt x="215322" y="374333"/>
                    </a:cubicBezTo>
                    <a:close/>
                    <a:moveTo>
                      <a:pt x="310572" y="435293"/>
                    </a:moveTo>
                    <a:cubicBezTo>
                      <a:pt x="295332" y="428625"/>
                      <a:pt x="280092" y="406718"/>
                      <a:pt x="272472" y="374333"/>
                    </a:cubicBezTo>
                    <a:lnTo>
                      <a:pt x="310572" y="374333"/>
                    </a:lnTo>
                    <a:lnTo>
                      <a:pt x="310572" y="435293"/>
                    </a:lnTo>
                    <a:close/>
                    <a:moveTo>
                      <a:pt x="310572" y="355283"/>
                    </a:moveTo>
                    <a:lnTo>
                      <a:pt x="268662" y="355283"/>
                    </a:lnTo>
                    <a:cubicBezTo>
                      <a:pt x="266757" y="343853"/>
                      <a:pt x="265805" y="332423"/>
                      <a:pt x="265805" y="319088"/>
                    </a:cubicBezTo>
                    <a:cubicBezTo>
                      <a:pt x="265805" y="306705"/>
                      <a:pt x="266757" y="294323"/>
                      <a:pt x="268662" y="282893"/>
                    </a:cubicBezTo>
                    <a:lnTo>
                      <a:pt x="310572" y="282893"/>
                    </a:lnTo>
                    <a:lnTo>
                      <a:pt x="310572" y="355283"/>
                    </a:lnTo>
                    <a:close/>
                    <a:moveTo>
                      <a:pt x="310572" y="263843"/>
                    </a:moveTo>
                    <a:lnTo>
                      <a:pt x="272472" y="263843"/>
                    </a:lnTo>
                    <a:cubicBezTo>
                      <a:pt x="280092" y="231458"/>
                      <a:pt x="295332" y="209550"/>
                      <a:pt x="310572" y="202883"/>
                    </a:cubicBezTo>
                    <a:lnTo>
                      <a:pt x="310572" y="263843"/>
                    </a:lnTo>
                    <a:close/>
                    <a:moveTo>
                      <a:pt x="329622" y="202883"/>
                    </a:moveTo>
                    <a:cubicBezTo>
                      <a:pt x="344862" y="209550"/>
                      <a:pt x="360102" y="231458"/>
                      <a:pt x="367722" y="263843"/>
                    </a:cubicBezTo>
                    <a:lnTo>
                      <a:pt x="329622" y="263843"/>
                    </a:lnTo>
                    <a:lnTo>
                      <a:pt x="329622" y="202883"/>
                    </a:lnTo>
                    <a:close/>
                    <a:moveTo>
                      <a:pt x="329622" y="282893"/>
                    </a:moveTo>
                    <a:lnTo>
                      <a:pt x="371532" y="282893"/>
                    </a:lnTo>
                    <a:cubicBezTo>
                      <a:pt x="373437" y="294323"/>
                      <a:pt x="374390" y="305753"/>
                      <a:pt x="374390" y="319088"/>
                    </a:cubicBezTo>
                    <a:cubicBezTo>
                      <a:pt x="374390" y="331470"/>
                      <a:pt x="373437" y="343853"/>
                      <a:pt x="371532" y="355283"/>
                    </a:cubicBezTo>
                    <a:lnTo>
                      <a:pt x="329622" y="355283"/>
                    </a:lnTo>
                    <a:lnTo>
                      <a:pt x="329622" y="282893"/>
                    </a:lnTo>
                    <a:close/>
                    <a:moveTo>
                      <a:pt x="329622" y="435293"/>
                    </a:moveTo>
                    <a:lnTo>
                      <a:pt x="329622" y="374333"/>
                    </a:lnTo>
                    <a:lnTo>
                      <a:pt x="367722" y="374333"/>
                    </a:lnTo>
                    <a:cubicBezTo>
                      <a:pt x="359150" y="406718"/>
                      <a:pt x="344862" y="428625"/>
                      <a:pt x="329622" y="435293"/>
                    </a:cubicBezTo>
                    <a:close/>
                    <a:moveTo>
                      <a:pt x="363912" y="428625"/>
                    </a:moveTo>
                    <a:cubicBezTo>
                      <a:pt x="373437" y="414338"/>
                      <a:pt x="382010" y="396240"/>
                      <a:pt x="386772" y="374333"/>
                    </a:cubicBezTo>
                    <a:lnTo>
                      <a:pt x="423920" y="374333"/>
                    </a:lnTo>
                    <a:cubicBezTo>
                      <a:pt x="411537" y="398145"/>
                      <a:pt x="389630" y="418148"/>
                      <a:pt x="363912" y="428625"/>
                    </a:cubicBezTo>
                    <a:close/>
                    <a:moveTo>
                      <a:pt x="438207" y="319088"/>
                    </a:moveTo>
                    <a:cubicBezTo>
                      <a:pt x="438207" y="331470"/>
                      <a:pt x="436302" y="343853"/>
                      <a:pt x="432492" y="355283"/>
                    </a:cubicBezTo>
                    <a:lnTo>
                      <a:pt x="390582" y="355283"/>
                    </a:lnTo>
                    <a:cubicBezTo>
                      <a:pt x="392487" y="343853"/>
                      <a:pt x="393440" y="331470"/>
                      <a:pt x="393440" y="319088"/>
                    </a:cubicBezTo>
                    <a:cubicBezTo>
                      <a:pt x="393440" y="306705"/>
                      <a:pt x="392487" y="294323"/>
                      <a:pt x="390582" y="282893"/>
                    </a:cubicBezTo>
                    <a:lnTo>
                      <a:pt x="432492" y="282893"/>
                    </a:lnTo>
                    <a:cubicBezTo>
                      <a:pt x="436302" y="294323"/>
                      <a:pt x="438207" y="306705"/>
                      <a:pt x="438207" y="319088"/>
                    </a:cubicBezTo>
                    <a:close/>
                    <a:moveTo>
                      <a:pt x="386772" y="263843"/>
                    </a:moveTo>
                    <a:cubicBezTo>
                      <a:pt x="382010" y="241935"/>
                      <a:pt x="374390" y="223838"/>
                      <a:pt x="363912" y="209550"/>
                    </a:cubicBezTo>
                    <a:cubicBezTo>
                      <a:pt x="389630" y="220028"/>
                      <a:pt x="411537" y="239078"/>
                      <a:pt x="423920" y="263843"/>
                    </a:cubicBezTo>
                    <a:lnTo>
                      <a:pt x="386772" y="263843"/>
                    </a:lnTo>
                    <a:close/>
                  </a:path>
                </a:pathLst>
              </a:custGeom>
              <a:grpFill/>
              <a:ln w="12700" cap="flat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678" dirty="0"/>
              </a:p>
            </p:txBody>
          </p:sp>
          <p:sp>
            <p:nvSpPr>
              <p:cNvPr id="92" name="Graphic 232">
                <a:extLst>
                  <a:ext uri="{FF2B5EF4-FFF2-40B4-BE49-F238E27FC236}">
                    <a16:creationId xmlns:a16="http://schemas.microsoft.com/office/drawing/2014/main" id="{DCE685CF-0185-4AC4-96C8-0700C8E4432E}"/>
                  </a:ext>
                </a:extLst>
              </p:cNvPr>
              <p:cNvSpPr/>
              <p:nvPr/>
            </p:nvSpPr>
            <p:spPr>
              <a:xfrm>
                <a:off x="811142" y="4375608"/>
                <a:ext cx="27622" cy="19050"/>
              </a:xfrm>
              <a:custGeom>
                <a:avLst/>
                <a:gdLst>
                  <a:gd name="connsiteX0" fmla="*/ 18097 w 27622"/>
                  <a:gd name="connsiteY0" fmla="*/ 0 h 19050"/>
                  <a:gd name="connsiteX1" fmla="*/ 9525 w 27622"/>
                  <a:gd name="connsiteY1" fmla="*/ 0 h 19050"/>
                  <a:gd name="connsiteX2" fmla="*/ 0 w 27622"/>
                  <a:gd name="connsiteY2" fmla="*/ 9525 h 19050"/>
                  <a:gd name="connsiteX3" fmla="*/ 9525 w 27622"/>
                  <a:gd name="connsiteY3" fmla="*/ 19050 h 19050"/>
                  <a:gd name="connsiteX4" fmla="*/ 18097 w 27622"/>
                  <a:gd name="connsiteY4" fmla="*/ 19050 h 19050"/>
                  <a:gd name="connsiteX5" fmla="*/ 27622 w 27622"/>
                  <a:gd name="connsiteY5" fmla="*/ 9525 h 19050"/>
                  <a:gd name="connsiteX6" fmla="*/ 18097 w 27622"/>
                  <a:gd name="connsiteY6" fmla="*/ 0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7622" h="19050">
                    <a:moveTo>
                      <a:pt x="18097" y="0"/>
                    </a:moveTo>
                    <a:lnTo>
                      <a:pt x="9525" y="0"/>
                    </a:lnTo>
                    <a:cubicBezTo>
                      <a:pt x="3810" y="0"/>
                      <a:pt x="0" y="3810"/>
                      <a:pt x="0" y="9525"/>
                    </a:cubicBezTo>
                    <a:cubicBezTo>
                      <a:pt x="0" y="15240"/>
                      <a:pt x="3810" y="19050"/>
                      <a:pt x="9525" y="19050"/>
                    </a:cubicBezTo>
                    <a:lnTo>
                      <a:pt x="18097" y="19050"/>
                    </a:lnTo>
                    <a:cubicBezTo>
                      <a:pt x="23813" y="19050"/>
                      <a:pt x="27622" y="15240"/>
                      <a:pt x="27622" y="9525"/>
                    </a:cubicBezTo>
                    <a:cubicBezTo>
                      <a:pt x="27622" y="3810"/>
                      <a:pt x="22860" y="0"/>
                      <a:pt x="18097" y="0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IN" sz="1678" dirty="0"/>
              </a:p>
            </p:txBody>
          </p:sp>
        </p:grpSp>
      </p:grpSp>
      <p:cxnSp>
        <p:nvCxnSpPr>
          <p:cNvPr id="93" name="Straight Connector 92">
            <a:extLst>
              <a:ext uri="{FF2B5EF4-FFF2-40B4-BE49-F238E27FC236}">
                <a16:creationId xmlns:a16="http://schemas.microsoft.com/office/drawing/2014/main" id="{65536E27-5744-486E-A2A7-417B3EF7B9E2}"/>
              </a:ext>
            </a:extLst>
          </p:cNvPr>
          <p:cNvCxnSpPr>
            <a:cxnSpLocks/>
          </p:cNvCxnSpPr>
          <p:nvPr/>
        </p:nvCxnSpPr>
        <p:spPr>
          <a:xfrm>
            <a:off x="1846366" y="508687"/>
            <a:ext cx="0" cy="328785"/>
          </a:xfrm>
          <a:prstGeom prst="line">
            <a:avLst/>
          </a:prstGeom>
          <a:ln w="31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Isosceles Triangle 93">
            <a:extLst>
              <a:ext uri="{FF2B5EF4-FFF2-40B4-BE49-F238E27FC236}">
                <a16:creationId xmlns:a16="http://schemas.microsoft.com/office/drawing/2014/main" id="{4884359F-6633-4ED8-A7EC-CB5C64ABA029}"/>
              </a:ext>
            </a:extLst>
          </p:cNvPr>
          <p:cNvSpPr/>
          <p:nvPr/>
        </p:nvSpPr>
        <p:spPr>
          <a:xfrm rot="10800000">
            <a:off x="9350111" y="6225800"/>
            <a:ext cx="2995795" cy="195774"/>
          </a:xfrm>
          <a:prstGeom prst="triangle">
            <a:avLst/>
          </a:prstGeom>
          <a:solidFill>
            <a:srgbClr val="5A24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678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5" name="Isosceles Triangle 94">
            <a:extLst>
              <a:ext uri="{FF2B5EF4-FFF2-40B4-BE49-F238E27FC236}">
                <a16:creationId xmlns:a16="http://schemas.microsoft.com/office/drawing/2014/main" id="{3A3F7426-CB3A-4CCD-83F8-E0484C4C3D61}"/>
              </a:ext>
            </a:extLst>
          </p:cNvPr>
          <p:cNvSpPr/>
          <p:nvPr/>
        </p:nvSpPr>
        <p:spPr>
          <a:xfrm rot="10800000">
            <a:off x="9030109" y="4320497"/>
            <a:ext cx="3580674" cy="277580"/>
          </a:xfrm>
          <a:prstGeom prst="triangle">
            <a:avLst/>
          </a:prstGeom>
          <a:solidFill>
            <a:srgbClr val="3D7E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97" name="Table 96">
            <a:extLst>
              <a:ext uri="{FF2B5EF4-FFF2-40B4-BE49-F238E27FC236}">
                <a16:creationId xmlns:a16="http://schemas.microsoft.com/office/drawing/2014/main" id="{0EEDD128-68E9-4618-B140-CB54C23AAC2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20990763"/>
              </p:ext>
            </p:extLst>
          </p:nvPr>
        </p:nvGraphicFramePr>
        <p:xfrm>
          <a:off x="469854" y="557228"/>
          <a:ext cx="6811951" cy="4753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11951">
                  <a:extLst>
                    <a:ext uri="{9D8B030D-6E8A-4147-A177-3AD203B41FA5}">
                      <a16:colId xmlns:a16="http://schemas.microsoft.com/office/drawing/2014/main" val="2931685224"/>
                    </a:ext>
                  </a:extLst>
                </a:gridCol>
              </a:tblGrid>
              <a:tr h="474912"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Our sustainability framework</a:t>
                      </a:r>
                    </a:p>
                  </a:txBody>
                  <a:tcPr marL="109595" marR="109595" marT="54798" marB="54798">
                    <a:lnB w="12700" cap="flat" cmpd="sng" algn="ctr">
                      <a:solidFill>
                        <a:srgbClr val="3D7E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54483131"/>
                  </a:ext>
                </a:extLst>
              </a:tr>
            </a:tbl>
          </a:graphicData>
        </a:graphic>
      </p:graphicFrame>
      <p:grpSp>
        <p:nvGrpSpPr>
          <p:cNvPr id="98" name="Group 97">
            <a:extLst>
              <a:ext uri="{FF2B5EF4-FFF2-40B4-BE49-F238E27FC236}">
                <a16:creationId xmlns:a16="http://schemas.microsoft.com/office/drawing/2014/main" id="{D430071B-CA04-4A49-A0C7-E7D38E8B06DF}"/>
              </a:ext>
            </a:extLst>
          </p:cNvPr>
          <p:cNvGrpSpPr>
            <a:grpSpLocks noChangeAspect="1"/>
          </p:cNvGrpSpPr>
          <p:nvPr/>
        </p:nvGrpSpPr>
        <p:grpSpPr>
          <a:xfrm>
            <a:off x="1391620" y="592193"/>
            <a:ext cx="350286" cy="350286"/>
            <a:chOff x="767956" y="1843087"/>
            <a:chExt cx="356728" cy="356728"/>
          </a:xfrm>
          <a:noFill/>
        </p:grpSpPr>
        <p:sp>
          <p:nvSpPr>
            <p:cNvPr id="99" name="Graphic 42">
              <a:extLst>
                <a:ext uri="{FF2B5EF4-FFF2-40B4-BE49-F238E27FC236}">
                  <a16:creationId xmlns:a16="http://schemas.microsoft.com/office/drawing/2014/main" id="{A9FBE8A2-A273-4752-9AD0-456E861D9551}"/>
                </a:ext>
              </a:extLst>
            </p:cNvPr>
            <p:cNvSpPr/>
            <p:nvPr/>
          </p:nvSpPr>
          <p:spPr>
            <a:xfrm>
              <a:off x="767956" y="1843087"/>
              <a:ext cx="356728" cy="356728"/>
            </a:xfrm>
            <a:custGeom>
              <a:avLst/>
              <a:gdLst>
                <a:gd name="connsiteX0" fmla="*/ 562166 w 590550"/>
                <a:gd name="connsiteY0" fmla="*/ 189948 h 590550"/>
                <a:gd name="connsiteX1" fmla="*/ 568862 w 590550"/>
                <a:gd name="connsiteY1" fmla="*/ 184366 h 590550"/>
                <a:gd name="connsiteX2" fmla="*/ 590550 w 590550"/>
                <a:gd name="connsiteY2" fmla="*/ 156467 h 590550"/>
                <a:gd name="connsiteX3" fmla="*/ 590550 w 590550"/>
                <a:gd name="connsiteY3" fmla="*/ 129283 h 590550"/>
                <a:gd name="connsiteX4" fmla="*/ 568633 w 590550"/>
                <a:gd name="connsiteY4" fmla="*/ 101317 h 590550"/>
                <a:gd name="connsiteX5" fmla="*/ 562242 w 590550"/>
                <a:gd name="connsiteY5" fmla="*/ 95974 h 590550"/>
                <a:gd name="connsiteX6" fmla="*/ 562023 w 590550"/>
                <a:gd name="connsiteY6" fmla="*/ 95431 h 590550"/>
                <a:gd name="connsiteX7" fmla="*/ 562699 w 590550"/>
                <a:gd name="connsiteY7" fmla="*/ 86516 h 590550"/>
                <a:gd name="connsiteX8" fmla="*/ 558308 w 590550"/>
                <a:gd name="connsiteY8" fmla="*/ 51435 h 590550"/>
                <a:gd name="connsiteX9" fmla="*/ 539086 w 590550"/>
                <a:gd name="connsiteY9" fmla="*/ 32214 h 590550"/>
                <a:gd name="connsiteX10" fmla="*/ 503825 w 590550"/>
                <a:gd name="connsiteY10" fmla="*/ 27937 h 590550"/>
                <a:gd name="connsiteX11" fmla="*/ 494890 w 590550"/>
                <a:gd name="connsiteY11" fmla="*/ 28423 h 590550"/>
                <a:gd name="connsiteX12" fmla="*/ 494748 w 590550"/>
                <a:gd name="connsiteY12" fmla="*/ 28385 h 590550"/>
                <a:gd name="connsiteX13" fmla="*/ 489166 w 590550"/>
                <a:gd name="connsiteY13" fmla="*/ 21688 h 590550"/>
                <a:gd name="connsiteX14" fmla="*/ 461267 w 590550"/>
                <a:gd name="connsiteY14" fmla="*/ 0 h 590550"/>
                <a:gd name="connsiteX15" fmla="*/ 434083 w 590550"/>
                <a:gd name="connsiteY15" fmla="*/ 0 h 590550"/>
                <a:gd name="connsiteX16" fmla="*/ 406117 w 590550"/>
                <a:gd name="connsiteY16" fmla="*/ 21917 h 590550"/>
                <a:gd name="connsiteX17" fmla="*/ 400774 w 590550"/>
                <a:gd name="connsiteY17" fmla="*/ 28308 h 590550"/>
                <a:gd name="connsiteX18" fmla="*/ 400241 w 590550"/>
                <a:gd name="connsiteY18" fmla="*/ 28527 h 590550"/>
                <a:gd name="connsiteX19" fmla="*/ 391316 w 590550"/>
                <a:gd name="connsiteY19" fmla="*/ 27851 h 590550"/>
                <a:gd name="connsiteX20" fmla="*/ 356235 w 590550"/>
                <a:gd name="connsiteY20" fmla="*/ 32242 h 590550"/>
                <a:gd name="connsiteX21" fmla="*/ 337014 w 590550"/>
                <a:gd name="connsiteY21" fmla="*/ 51464 h 590550"/>
                <a:gd name="connsiteX22" fmla="*/ 332737 w 590550"/>
                <a:gd name="connsiteY22" fmla="*/ 86735 h 590550"/>
                <a:gd name="connsiteX23" fmla="*/ 333337 w 590550"/>
                <a:gd name="connsiteY23" fmla="*/ 95260 h 590550"/>
                <a:gd name="connsiteX24" fmla="*/ 47625 w 590550"/>
                <a:gd name="connsiteY24" fmla="*/ 95260 h 590550"/>
                <a:gd name="connsiteX25" fmla="*/ 0 w 590550"/>
                <a:gd name="connsiteY25" fmla="*/ 142885 h 590550"/>
                <a:gd name="connsiteX26" fmla="*/ 47625 w 590550"/>
                <a:gd name="connsiteY26" fmla="*/ 190510 h 590550"/>
                <a:gd name="connsiteX27" fmla="*/ 333385 w 590550"/>
                <a:gd name="connsiteY27" fmla="*/ 190510 h 590550"/>
                <a:gd name="connsiteX28" fmla="*/ 332651 w 590550"/>
                <a:gd name="connsiteY28" fmla="*/ 199225 h 590550"/>
                <a:gd name="connsiteX29" fmla="*/ 337042 w 590550"/>
                <a:gd name="connsiteY29" fmla="*/ 234305 h 590550"/>
                <a:gd name="connsiteX30" fmla="*/ 356264 w 590550"/>
                <a:gd name="connsiteY30" fmla="*/ 253527 h 590550"/>
                <a:gd name="connsiteX31" fmla="*/ 391535 w 590550"/>
                <a:gd name="connsiteY31" fmla="*/ 257804 h 590550"/>
                <a:gd name="connsiteX32" fmla="*/ 400460 w 590550"/>
                <a:gd name="connsiteY32" fmla="*/ 257318 h 590550"/>
                <a:gd name="connsiteX33" fmla="*/ 400612 w 590550"/>
                <a:gd name="connsiteY33" fmla="*/ 257375 h 590550"/>
                <a:gd name="connsiteX34" fmla="*/ 406194 w 590550"/>
                <a:gd name="connsiteY34" fmla="*/ 264071 h 590550"/>
                <a:gd name="connsiteX35" fmla="*/ 434083 w 590550"/>
                <a:gd name="connsiteY35" fmla="*/ 285750 h 590550"/>
                <a:gd name="connsiteX36" fmla="*/ 438150 w 590550"/>
                <a:gd name="connsiteY36" fmla="*/ 285750 h 590550"/>
                <a:gd name="connsiteX37" fmla="*/ 438150 w 590550"/>
                <a:gd name="connsiteY37" fmla="*/ 323850 h 590550"/>
                <a:gd name="connsiteX38" fmla="*/ 76200 w 590550"/>
                <a:gd name="connsiteY38" fmla="*/ 323850 h 590550"/>
                <a:gd name="connsiteX39" fmla="*/ 76200 w 590550"/>
                <a:gd name="connsiteY39" fmla="*/ 381000 h 590550"/>
                <a:gd name="connsiteX40" fmla="*/ 0 w 590550"/>
                <a:gd name="connsiteY40" fmla="*/ 381000 h 590550"/>
                <a:gd name="connsiteX41" fmla="*/ 0 w 590550"/>
                <a:gd name="connsiteY41" fmla="*/ 590550 h 590550"/>
                <a:gd name="connsiteX42" fmla="*/ 171450 w 590550"/>
                <a:gd name="connsiteY42" fmla="*/ 590550 h 590550"/>
                <a:gd name="connsiteX43" fmla="*/ 171450 w 590550"/>
                <a:gd name="connsiteY43" fmla="*/ 381000 h 590550"/>
                <a:gd name="connsiteX44" fmla="*/ 95250 w 590550"/>
                <a:gd name="connsiteY44" fmla="*/ 381000 h 590550"/>
                <a:gd name="connsiteX45" fmla="*/ 95250 w 590550"/>
                <a:gd name="connsiteY45" fmla="*/ 342900 h 590550"/>
                <a:gd name="connsiteX46" fmla="*/ 285750 w 590550"/>
                <a:gd name="connsiteY46" fmla="*/ 342900 h 590550"/>
                <a:gd name="connsiteX47" fmla="*/ 285750 w 590550"/>
                <a:gd name="connsiteY47" fmla="*/ 381000 h 590550"/>
                <a:gd name="connsiteX48" fmla="*/ 209550 w 590550"/>
                <a:gd name="connsiteY48" fmla="*/ 381000 h 590550"/>
                <a:gd name="connsiteX49" fmla="*/ 209550 w 590550"/>
                <a:gd name="connsiteY49" fmla="*/ 590550 h 590550"/>
                <a:gd name="connsiteX50" fmla="*/ 381000 w 590550"/>
                <a:gd name="connsiteY50" fmla="*/ 590550 h 590550"/>
                <a:gd name="connsiteX51" fmla="*/ 381000 w 590550"/>
                <a:gd name="connsiteY51" fmla="*/ 381000 h 590550"/>
                <a:gd name="connsiteX52" fmla="*/ 304800 w 590550"/>
                <a:gd name="connsiteY52" fmla="*/ 381000 h 590550"/>
                <a:gd name="connsiteX53" fmla="*/ 304800 w 590550"/>
                <a:gd name="connsiteY53" fmla="*/ 342900 h 590550"/>
                <a:gd name="connsiteX54" fmla="*/ 495300 w 590550"/>
                <a:gd name="connsiteY54" fmla="*/ 342900 h 590550"/>
                <a:gd name="connsiteX55" fmla="*/ 495300 w 590550"/>
                <a:gd name="connsiteY55" fmla="*/ 381000 h 590550"/>
                <a:gd name="connsiteX56" fmla="*/ 419100 w 590550"/>
                <a:gd name="connsiteY56" fmla="*/ 381000 h 590550"/>
                <a:gd name="connsiteX57" fmla="*/ 419100 w 590550"/>
                <a:gd name="connsiteY57" fmla="*/ 590550 h 590550"/>
                <a:gd name="connsiteX58" fmla="*/ 590550 w 590550"/>
                <a:gd name="connsiteY58" fmla="*/ 590550 h 590550"/>
                <a:gd name="connsiteX59" fmla="*/ 590550 w 590550"/>
                <a:gd name="connsiteY59" fmla="*/ 381000 h 590550"/>
                <a:gd name="connsiteX60" fmla="*/ 514350 w 590550"/>
                <a:gd name="connsiteY60" fmla="*/ 381000 h 590550"/>
                <a:gd name="connsiteX61" fmla="*/ 514350 w 590550"/>
                <a:gd name="connsiteY61" fmla="*/ 323850 h 590550"/>
                <a:gd name="connsiteX62" fmla="*/ 457200 w 590550"/>
                <a:gd name="connsiteY62" fmla="*/ 323850 h 590550"/>
                <a:gd name="connsiteX63" fmla="*/ 457200 w 590550"/>
                <a:gd name="connsiteY63" fmla="*/ 285750 h 590550"/>
                <a:gd name="connsiteX64" fmla="*/ 461267 w 590550"/>
                <a:gd name="connsiteY64" fmla="*/ 285750 h 590550"/>
                <a:gd name="connsiteX65" fmla="*/ 489233 w 590550"/>
                <a:gd name="connsiteY65" fmla="*/ 263833 h 590550"/>
                <a:gd name="connsiteX66" fmla="*/ 494567 w 590550"/>
                <a:gd name="connsiteY66" fmla="*/ 257442 h 590550"/>
                <a:gd name="connsiteX67" fmla="*/ 495119 w 590550"/>
                <a:gd name="connsiteY67" fmla="*/ 257223 h 590550"/>
                <a:gd name="connsiteX68" fmla="*/ 504034 w 590550"/>
                <a:gd name="connsiteY68" fmla="*/ 257899 h 590550"/>
                <a:gd name="connsiteX69" fmla="*/ 539115 w 590550"/>
                <a:gd name="connsiteY69" fmla="*/ 253508 h 590550"/>
                <a:gd name="connsiteX70" fmla="*/ 558336 w 590550"/>
                <a:gd name="connsiteY70" fmla="*/ 234286 h 590550"/>
                <a:gd name="connsiteX71" fmla="*/ 562613 w 590550"/>
                <a:gd name="connsiteY71" fmla="*/ 199015 h 590550"/>
                <a:gd name="connsiteX72" fmla="*/ 562127 w 590550"/>
                <a:gd name="connsiteY72" fmla="*/ 190090 h 590550"/>
                <a:gd name="connsiteX73" fmla="*/ 562166 w 590550"/>
                <a:gd name="connsiteY73" fmla="*/ 189948 h 590550"/>
                <a:gd name="connsiteX74" fmla="*/ 152400 w 590550"/>
                <a:gd name="connsiteY74" fmla="*/ 571500 h 590550"/>
                <a:gd name="connsiteX75" fmla="*/ 19050 w 590550"/>
                <a:gd name="connsiteY75" fmla="*/ 571500 h 590550"/>
                <a:gd name="connsiteX76" fmla="*/ 19050 w 590550"/>
                <a:gd name="connsiteY76" fmla="*/ 400050 h 590550"/>
                <a:gd name="connsiteX77" fmla="*/ 152400 w 590550"/>
                <a:gd name="connsiteY77" fmla="*/ 400050 h 590550"/>
                <a:gd name="connsiteX78" fmla="*/ 152400 w 590550"/>
                <a:gd name="connsiteY78" fmla="*/ 571500 h 590550"/>
                <a:gd name="connsiteX79" fmla="*/ 361950 w 590550"/>
                <a:gd name="connsiteY79" fmla="*/ 571500 h 590550"/>
                <a:gd name="connsiteX80" fmla="*/ 228600 w 590550"/>
                <a:gd name="connsiteY80" fmla="*/ 571500 h 590550"/>
                <a:gd name="connsiteX81" fmla="*/ 228600 w 590550"/>
                <a:gd name="connsiteY81" fmla="*/ 400050 h 590550"/>
                <a:gd name="connsiteX82" fmla="*/ 361950 w 590550"/>
                <a:gd name="connsiteY82" fmla="*/ 400050 h 590550"/>
                <a:gd name="connsiteX83" fmla="*/ 361950 w 590550"/>
                <a:gd name="connsiteY83" fmla="*/ 571500 h 590550"/>
                <a:gd name="connsiteX84" fmla="*/ 571500 w 590550"/>
                <a:gd name="connsiteY84" fmla="*/ 571500 h 590550"/>
                <a:gd name="connsiteX85" fmla="*/ 438150 w 590550"/>
                <a:gd name="connsiteY85" fmla="*/ 571500 h 590550"/>
                <a:gd name="connsiteX86" fmla="*/ 438150 w 590550"/>
                <a:gd name="connsiteY86" fmla="*/ 400050 h 590550"/>
                <a:gd name="connsiteX87" fmla="*/ 571500 w 590550"/>
                <a:gd name="connsiteY87" fmla="*/ 400050 h 590550"/>
                <a:gd name="connsiteX88" fmla="*/ 571500 w 590550"/>
                <a:gd name="connsiteY88" fmla="*/ 571500 h 590550"/>
                <a:gd name="connsiteX89" fmla="*/ 133350 w 590550"/>
                <a:gd name="connsiteY89" fmla="*/ 171450 h 590550"/>
                <a:gd name="connsiteX90" fmla="*/ 133350 w 590550"/>
                <a:gd name="connsiteY90" fmla="*/ 152400 h 590550"/>
                <a:gd name="connsiteX91" fmla="*/ 400050 w 590550"/>
                <a:gd name="connsiteY91" fmla="*/ 152400 h 590550"/>
                <a:gd name="connsiteX92" fmla="*/ 400050 w 590550"/>
                <a:gd name="connsiteY92" fmla="*/ 171450 h 590550"/>
                <a:gd name="connsiteX93" fmla="*/ 133350 w 590550"/>
                <a:gd name="connsiteY93" fmla="*/ 171450 h 590550"/>
                <a:gd name="connsiteX94" fmla="*/ 114300 w 590550"/>
                <a:gd name="connsiteY94" fmla="*/ 171450 h 590550"/>
                <a:gd name="connsiteX95" fmla="*/ 95250 w 590550"/>
                <a:gd name="connsiteY95" fmla="*/ 171450 h 590550"/>
                <a:gd name="connsiteX96" fmla="*/ 95250 w 590550"/>
                <a:gd name="connsiteY96" fmla="*/ 114300 h 590550"/>
                <a:gd name="connsiteX97" fmla="*/ 114300 w 590550"/>
                <a:gd name="connsiteY97" fmla="*/ 114300 h 590550"/>
                <a:gd name="connsiteX98" fmla="*/ 114300 w 590550"/>
                <a:gd name="connsiteY98" fmla="*/ 171450 h 590550"/>
                <a:gd name="connsiteX99" fmla="*/ 473507 w 590550"/>
                <a:gd name="connsiteY99" fmla="*/ 138913 h 590550"/>
                <a:gd name="connsiteX100" fmla="*/ 476250 w 590550"/>
                <a:gd name="connsiteY100" fmla="*/ 142875 h 590550"/>
                <a:gd name="connsiteX101" fmla="*/ 473507 w 590550"/>
                <a:gd name="connsiteY101" fmla="*/ 146828 h 590550"/>
                <a:gd name="connsiteX102" fmla="*/ 419100 w 590550"/>
                <a:gd name="connsiteY102" fmla="*/ 167230 h 590550"/>
                <a:gd name="connsiteX103" fmla="*/ 419100 w 590550"/>
                <a:gd name="connsiteY103" fmla="*/ 118520 h 590550"/>
                <a:gd name="connsiteX104" fmla="*/ 473507 w 590550"/>
                <a:gd name="connsiteY104" fmla="*/ 138913 h 590550"/>
                <a:gd name="connsiteX105" fmla="*/ 411309 w 590550"/>
                <a:gd name="connsiteY105" fmla="*/ 190500 h 590550"/>
                <a:gd name="connsiteX106" fmla="*/ 480203 w 590550"/>
                <a:gd name="connsiteY106" fmla="*/ 164659 h 590550"/>
                <a:gd name="connsiteX107" fmla="*/ 495300 w 590550"/>
                <a:gd name="connsiteY107" fmla="*/ 142875 h 590550"/>
                <a:gd name="connsiteX108" fmla="*/ 480203 w 590550"/>
                <a:gd name="connsiteY108" fmla="*/ 121082 h 590550"/>
                <a:gd name="connsiteX109" fmla="*/ 411309 w 590550"/>
                <a:gd name="connsiteY109" fmla="*/ 95250 h 590550"/>
                <a:gd name="connsiteX110" fmla="*/ 401183 w 590550"/>
                <a:gd name="connsiteY110" fmla="*/ 95250 h 590550"/>
                <a:gd name="connsiteX111" fmla="*/ 447675 w 590550"/>
                <a:gd name="connsiteY111" fmla="*/ 76200 h 590550"/>
                <a:gd name="connsiteX112" fmla="*/ 514350 w 590550"/>
                <a:gd name="connsiteY112" fmla="*/ 142875 h 590550"/>
                <a:gd name="connsiteX113" fmla="*/ 447675 w 590550"/>
                <a:gd name="connsiteY113" fmla="*/ 209550 h 590550"/>
                <a:gd name="connsiteX114" fmla="*/ 401174 w 590550"/>
                <a:gd name="connsiteY114" fmla="*/ 190500 h 590550"/>
                <a:gd name="connsiteX115" fmla="*/ 411309 w 590550"/>
                <a:gd name="connsiteY115" fmla="*/ 190500 h 590550"/>
                <a:gd name="connsiteX116" fmla="*/ 400050 w 590550"/>
                <a:gd name="connsiteY116" fmla="*/ 114300 h 590550"/>
                <a:gd name="connsiteX117" fmla="*/ 400050 w 590550"/>
                <a:gd name="connsiteY117" fmla="*/ 133350 h 590550"/>
                <a:gd name="connsiteX118" fmla="*/ 133350 w 590550"/>
                <a:gd name="connsiteY118" fmla="*/ 133350 h 590550"/>
                <a:gd name="connsiteX119" fmla="*/ 133350 w 590550"/>
                <a:gd name="connsiteY119" fmla="*/ 114300 h 590550"/>
                <a:gd name="connsiteX120" fmla="*/ 400050 w 590550"/>
                <a:gd name="connsiteY120" fmla="*/ 114300 h 590550"/>
                <a:gd name="connsiteX121" fmla="*/ 19050 w 590550"/>
                <a:gd name="connsiteY121" fmla="*/ 142875 h 590550"/>
                <a:gd name="connsiteX122" fmla="*/ 47625 w 590550"/>
                <a:gd name="connsiteY122" fmla="*/ 114300 h 590550"/>
                <a:gd name="connsiteX123" fmla="*/ 76200 w 590550"/>
                <a:gd name="connsiteY123" fmla="*/ 114300 h 590550"/>
                <a:gd name="connsiteX124" fmla="*/ 76200 w 590550"/>
                <a:gd name="connsiteY124" fmla="*/ 171450 h 590550"/>
                <a:gd name="connsiteX125" fmla="*/ 47625 w 590550"/>
                <a:gd name="connsiteY125" fmla="*/ 171450 h 590550"/>
                <a:gd name="connsiteX126" fmla="*/ 19050 w 590550"/>
                <a:gd name="connsiteY126" fmla="*/ 142875 h 590550"/>
                <a:gd name="connsiteX127" fmla="*/ 544516 w 590550"/>
                <a:gd name="connsiteY127" fmla="*/ 182766 h 590550"/>
                <a:gd name="connsiteX128" fmla="*/ 544278 w 590550"/>
                <a:gd name="connsiteY128" fmla="*/ 183366 h 590550"/>
                <a:gd name="connsiteX129" fmla="*/ 546335 w 590550"/>
                <a:gd name="connsiteY129" fmla="*/ 208950 h 590550"/>
                <a:gd name="connsiteX130" fmla="*/ 544849 w 590550"/>
                <a:gd name="connsiteY130" fmla="*/ 220828 h 590550"/>
                <a:gd name="connsiteX131" fmla="*/ 525628 w 590550"/>
                <a:gd name="connsiteY131" fmla="*/ 240049 h 590550"/>
                <a:gd name="connsiteX132" fmla="*/ 513569 w 590550"/>
                <a:gd name="connsiteY132" fmla="*/ 241430 h 590550"/>
                <a:gd name="connsiteX133" fmla="*/ 488175 w 590550"/>
                <a:gd name="connsiteY133" fmla="*/ 239487 h 590550"/>
                <a:gd name="connsiteX134" fmla="*/ 487566 w 590550"/>
                <a:gd name="connsiteY134" fmla="*/ 239725 h 590550"/>
                <a:gd name="connsiteX135" fmla="*/ 470716 w 590550"/>
                <a:gd name="connsiteY135" fmla="*/ 259366 h 590550"/>
                <a:gd name="connsiteX136" fmla="*/ 461267 w 590550"/>
                <a:gd name="connsiteY136" fmla="*/ 266700 h 590550"/>
                <a:gd name="connsiteX137" fmla="*/ 434083 w 590550"/>
                <a:gd name="connsiteY137" fmla="*/ 266700 h 590550"/>
                <a:gd name="connsiteX138" fmla="*/ 424577 w 590550"/>
                <a:gd name="connsiteY138" fmla="*/ 259147 h 590550"/>
                <a:gd name="connsiteX139" fmla="*/ 407784 w 590550"/>
                <a:gd name="connsiteY139" fmla="*/ 239716 h 590550"/>
                <a:gd name="connsiteX140" fmla="*/ 407175 w 590550"/>
                <a:gd name="connsiteY140" fmla="*/ 239478 h 590550"/>
                <a:gd name="connsiteX141" fmla="*/ 381600 w 590550"/>
                <a:gd name="connsiteY141" fmla="*/ 241535 h 590550"/>
                <a:gd name="connsiteX142" fmla="*/ 369722 w 590550"/>
                <a:gd name="connsiteY142" fmla="*/ 240049 h 590550"/>
                <a:gd name="connsiteX143" fmla="*/ 350501 w 590550"/>
                <a:gd name="connsiteY143" fmla="*/ 220828 h 590550"/>
                <a:gd name="connsiteX144" fmla="*/ 349120 w 590550"/>
                <a:gd name="connsiteY144" fmla="*/ 208769 h 590550"/>
                <a:gd name="connsiteX145" fmla="*/ 352825 w 590550"/>
                <a:gd name="connsiteY145" fmla="*/ 190500 h 590550"/>
                <a:gd name="connsiteX146" fmla="*/ 376685 w 590550"/>
                <a:gd name="connsiteY146" fmla="*/ 190500 h 590550"/>
                <a:gd name="connsiteX147" fmla="*/ 447656 w 590550"/>
                <a:gd name="connsiteY147" fmla="*/ 228600 h 590550"/>
                <a:gd name="connsiteX148" fmla="*/ 533381 w 590550"/>
                <a:gd name="connsiteY148" fmla="*/ 142875 h 590550"/>
                <a:gd name="connsiteX149" fmla="*/ 447656 w 590550"/>
                <a:gd name="connsiteY149" fmla="*/ 57150 h 590550"/>
                <a:gd name="connsiteX150" fmla="*/ 376685 w 590550"/>
                <a:gd name="connsiteY150" fmla="*/ 95250 h 590550"/>
                <a:gd name="connsiteX151" fmla="*/ 352816 w 590550"/>
                <a:gd name="connsiteY151" fmla="*/ 95250 h 590550"/>
                <a:gd name="connsiteX152" fmla="*/ 348996 w 590550"/>
                <a:gd name="connsiteY152" fmla="*/ 76800 h 590550"/>
                <a:gd name="connsiteX153" fmla="*/ 350482 w 590550"/>
                <a:gd name="connsiteY153" fmla="*/ 64922 h 590550"/>
                <a:gd name="connsiteX154" fmla="*/ 369703 w 590550"/>
                <a:gd name="connsiteY154" fmla="*/ 45701 h 590550"/>
                <a:gd name="connsiteX155" fmla="*/ 381772 w 590550"/>
                <a:gd name="connsiteY155" fmla="*/ 44320 h 590550"/>
                <a:gd name="connsiteX156" fmla="*/ 406708 w 590550"/>
                <a:gd name="connsiteY156" fmla="*/ 46396 h 590550"/>
                <a:gd name="connsiteX157" fmla="*/ 407775 w 590550"/>
                <a:gd name="connsiteY157" fmla="*/ 46015 h 590550"/>
                <a:gd name="connsiteX158" fmla="*/ 424615 w 590550"/>
                <a:gd name="connsiteY158" fmla="*/ 26384 h 590550"/>
                <a:gd name="connsiteX159" fmla="*/ 434083 w 590550"/>
                <a:gd name="connsiteY159" fmla="*/ 19050 h 590550"/>
                <a:gd name="connsiteX160" fmla="*/ 461267 w 590550"/>
                <a:gd name="connsiteY160" fmla="*/ 19050 h 590550"/>
                <a:gd name="connsiteX161" fmla="*/ 470773 w 590550"/>
                <a:gd name="connsiteY161" fmla="*/ 26603 h 590550"/>
                <a:gd name="connsiteX162" fmla="*/ 487728 w 590550"/>
                <a:gd name="connsiteY162" fmla="*/ 46091 h 590550"/>
                <a:gd name="connsiteX163" fmla="*/ 513740 w 590550"/>
                <a:gd name="connsiteY163" fmla="*/ 44225 h 590550"/>
                <a:gd name="connsiteX164" fmla="*/ 525618 w 590550"/>
                <a:gd name="connsiteY164" fmla="*/ 45710 h 590550"/>
                <a:gd name="connsiteX165" fmla="*/ 544840 w 590550"/>
                <a:gd name="connsiteY165" fmla="*/ 64932 h 590550"/>
                <a:gd name="connsiteX166" fmla="*/ 546221 w 590550"/>
                <a:gd name="connsiteY166" fmla="*/ 76991 h 590550"/>
                <a:gd name="connsiteX167" fmla="*/ 544278 w 590550"/>
                <a:gd name="connsiteY167" fmla="*/ 102384 h 590550"/>
                <a:gd name="connsiteX168" fmla="*/ 544525 w 590550"/>
                <a:gd name="connsiteY168" fmla="*/ 103003 h 590550"/>
                <a:gd name="connsiteX169" fmla="*/ 564166 w 590550"/>
                <a:gd name="connsiteY169" fmla="*/ 119853 h 590550"/>
                <a:gd name="connsiteX170" fmla="*/ 571500 w 590550"/>
                <a:gd name="connsiteY170" fmla="*/ 129283 h 590550"/>
                <a:gd name="connsiteX171" fmla="*/ 571500 w 590550"/>
                <a:gd name="connsiteY171" fmla="*/ 156467 h 590550"/>
                <a:gd name="connsiteX172" fmla="*/ 563947 w 590550"/>
                <a:gd name="connsiteY172" fmla="*/ 165973 h 590550"/>
                <a:gd name="connsiteX173" fmla="*/ 544516 w 590550"/>
                <a:gd name="connsiteY173" fmla="*/ 182766 h 590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</a:cxnLst>
              <a:rect l="l" t="t" r="r" b="b"/>
              <a:pathLst>
                <a:path w="590550" h="590550">
                  <a:moveTo>
                    <a:pt x="562166" y="189948"/>
                  </a:moveTo>
                  <a:cubicBezTo>
                    <a:pt x="563385" y="187176"/>
                    <a:pt x="565737" y="185166"/>
                    <a:pt x="568862" y="184366"/>
                  </a:cubicBezTo>
                  <a:cubicBezTo>
                    <a:pt x="581625" y="181118"/>
                    <a:pt x="590550" y="169650"/>
                    <a:pt x="590550" y="156467"/>
                  </a:cubicBezTo>
                  <a:lnTo>
                    <a:pt x="590550" y="129283"/>
                  </a:lnTo>
                  <a:cubicBezTo>
                    <a:pt x="590550" y="116091"/>
                    <a:pt x="581625" y="104613"/>
                    <a:pt x="568633" y="101317"/>
                  </a:cubicBezTo>
                  <a:cubicBezTo>
                    <a:pt x="565842" y="100603"/>
                    <a:pt x="563480" y="98622"/>
                    <a:pt x="562242" y="95974"/>
                  </a:cubicBezTo>
                  <a:lnTo>
                    <a:pt x="562023" y="95431"/>
                  </a:lnTo>
                  <a:cubicBezTo>
                    <a:pt x="560823" y="92583"/>
                    <a:pt x="561032" y="89316"/>
                    <a:pt x="562699" y="86516"/>
                  </a:cubicBezTo>
                  <a:cubicBezTo>
                    <a:pt x="569433" y="75181"/>
                    <a:pt x="567633" y="60760"/>
                    <a:pt x="558308" y="51435"/>
                  </a:cubicBezTo>
                  <a:lnTo>
                    <a:pt x="539086" y="32214"/>
                  </a:lnTo>
                  <a:cubicBezTo>
                    <a:pt x="529761" y="22889"/>
                    <a:pt x="515331" y="21088"/>
                    <a:pt x="503825" y="27937"/>
                  </a:cubicBezTo>
                  <a:cubicBezTo>
                    <a:pt x="501215" y="29480"/>
                    <a:pt x="497948" y="29699"/>
                    <a:pt x="494890" y="28423"/>
                  </a:cubicBezTo>
                  <a:lnTo>
                    <a:pt x="494748" y="28385"/>
                  </a:lnTo>
                  <a:cubicBezTo>
                    <a:pt x="492014" y="27175"/>
                    <a:pt x="489947" y="24765"/>
                    <a:pt x="489166" y="21688"/>
                  </a:cubicBezTo>
                  <a:cubicBezTo>
                    <a:pt x="485918" y="8925"/>
                    <a:pt x="474450" y="0"/>
                    <a:pt x="461267" y="0"/>
                  </a:cubicBezTo>
                  <a:lnTo>
                    <a:pt x="434083" y="0"/>
                  </a:lnTo>
                  <a:cubicBezTo>
                    <a:pt x="420900" y="0"/>
                    <a:pt x="409432" y="8925"/>
                    <a:pt x="406117" y="21917"/>
                  </a:cubicBezTo>
                  <a:cubicBezTo>
                    <a:pt x="405403" y="24708"/>
                    <a:pt x="403422" y="27070"/>
                    <a:pt x="400774" y="28308"/>
                  </a:cubicBezTo>
                  <a:lnTo>
                    <a:pt x="400241" y="28527"/>
                  </a:lnTo>
                  <a:cubicBezTo>
                    <a:pt x="397402" y="29718"/>
                    <a:pt x="394116" y="29508"/>
                    <a:pt x="391316" y="27851"/>
                  </a:cubicBezTo>
                  <a:cubicBezTo>
                    <a:pt x="380000" y="21107"/>
                    <a:pt x="365560" y="22917"/>
                    <a:pt x="356235" y="32242"/>
                  </a:cubicBezTo>
                  <a:lnTo>
                    <a:pt x="337014" y="51464"/>
                  </a:lnTo>
                  <a:cubicBezTo>
                    <a:pt x="327689" y="60789"/>
                    <a:pt x="325888" y="75200"/>
                    <a:pt x="332737" y="86735"/>
                  </a:cubicBezTo>
                  <a:cubicBezTo>
                    <a:pt x="334223" y="89230"/>
                    <a:pt x="334442" y="92316"/>
                    <a:pt x="333337" y="95260"/>
                  </a:cubicBezTo>
                  <a:lnTo>
                    <a:pt x="47625" y="95260"/>
                  </a:lnTo>
                  <a:cubicBezTo>
                    <a:pt x="21365" y="95260"/>
                    <a:pt x="0" y="116624"/>
                    <a:pt x="0" y="142885"/>
                  </a:cubicBezTo>
                  <a:cubicBezTo>
                    <a:pt x="0" y="169145"/>
                    <a:pt x="21365" y="190510"/>
                    <a:pt x="47625" y="190510"/>
                  </a:cubicBezTo>
                  <a:lnTo>
                    <a:pt x="333385" y="190510"/>
                  </a:lnTo>
                  <a:cubicBezTo>
                    <a:pt x="334499" y="193310"/>
                    <a:pt x="334280" y="196491"/>
                    <a:pt x="332651" y="199225"/>
                  </a:cubicBezTo>
                  <a:cubicBezTo>
                    <a:pt x="325917" y="210560"/>
                    <a:pt x="327717" y="224981"/>
                    <a:pt x="337042" y="234305"/>
                  </a:cubicBezTo>
                  <a:lnTo>
                    <a:pt x="356264" y="253527"/>
                  </a:lnTo>
                  <a:cubicBezTo>
                    <a:pt x="365570" y="262852"/>
                    <a:pt x="379990" y="264643"/>
                    <a:pt x="391535" y="257804"/>
                  </a:cubicBezTo>
                  <a:cubicBezTo>
                    <a:pt x="394135" y="256251"/>
                    <a:pt x="397412" y="256032"/>
                    <a:pt x="400460" y="257318"/>
                  </a:cubicBezTo>
                  <a:lnTo>
                    <a:pt x="400612" y="257375"/>
                  </a:lnTo>
                  <a:cubicBezTo>
                    <a:pt x="403384" y="258594"/>
                    <a:pt x="405394" y="260947"/>
                    <a:pt x="406194" y="264071"/>
                  </a:cubicBezTo>
                  <a:cubicBezTo>
                    <a:pt x="409432" y="276825"/>
                    <a:pt x="420900" y="285750"/>
                    <a:pt x="434083" y="285750"/>
                  </a:cubicBezTo>
                  <a:lnTo>
                    <a:pt x="438150" y="285750"/>
                  </a:lnTo>
                  <a:lnTo>
                    <a:pt x="438150" y="323850"/>
                  </a:lnTo>
                  <a:lnTo>
                    <a:pt x="76200" y="323850"/>
                  </a:lnTo>
                  <a:lnTo>
                    <a:pt x="76200" y="381000"/>
                  </a:lnTo>
                  <a:lnTo>
                    <a:pt x="0" y="381000"/>
                  </a:lnTo>
                  <a:lnTo>
                    <a:pt x="0" y="590550"/>
                  </a:lnTo>
                  <a:lnTo>
                    <a:pt x="171450" y="590550"/>
                  </a:lnTo>
                  <a:lnTo>
                    <a:pt x="171450" y="381000"/>
                  </a:lnTo>
                  <a:lnTo>
                    <a:pt x="95250" y="381000"/>
                  </a:lnTo>
                  <a:lnTo>
                    <a:pt x="95250" y="342900"/>
                  </a:lnTo>
                  <a:lnTo>
                    <a:pt x="285750" y="342900"/>
                  </a:lnTo>
                  <a:lnTo>
                    <a:pt x="285750" y="381000"/>
                  </a:lnTo>
                  <a:lnTo>
                    <a:pt x="209550" y="381000"/>
                  </a:lnTo>
                  <a:lnTo>
                    <a:pt x="209550" y="590550"/>
                  </a:lnTo>
                  <a:lnTo>
                    <a:pt x="381000" y="590550"/>
                  </a:lnTo>
                  <a:lnTo>
                    <a:pt x="381000" y="381000"/>
                  </a:lnTo>
                  <a:lnTo>
                    <a:pt x="304800" y="381000"/>
                  </a:lnTo>
                  <a:lnTo>
                    <a:pt x="304800" y="342900"/>
                  </a:lnTo>
                  <a:lnTo>
                    <a:pt x="495300" y="342900"/>
                  </a:lnTo>
                  <a:lnTo>
                    <a:pt x="495300" y="381000"/>
                  </a:lnTo>
                  <a:lnTo>
                    <a:pt x="419100" y="381000"/>
                  </a:lnTo>
                  <a:lnTo>
                    <a:pt x="419100" y="590550"/>
                  </a:lnTo>
                  <a:lnTo>
                    <a:pt x="590550" y="590550"/>
                  </a:lnTo>
                  <a:lnTo>
                    <a:pt x="590550" y="381000"/>
                  </a:lnTo>
                  <a:lnTo>
                    <a:pt x="514350" y="381000"/>
                  </a:lnTo>
                  <a:lnTo>
                    <a:pt x="514350" y="323850"/>
                  </a:lnTo>
                  <a:lnTo>
                    <a:pt x="457200" y="323850"/>
                  </a:lnTo>
                  <a:lnTo>
                    <a:pt x="457200" y="285750"/>
                  </a:lnTo>
                  <a:lnTo>
                    <a:pt x="461267" y="285750"/>
                  </a:lnTo>
                  <a:cubicBezTo>
                    <a:pt x="474450" y="285750"/>
                    <a:pt x="485918" y="276825"/>
                    <a:pt x="489233" y="263833"/>
                  </a:cubicBezTo>
                  <a:cubicBezTo>
                    <a:pt x="489956" y="260995"/>
                    <a:pt x="491890" y="258689"/>
                    <a:pt x="494567" y="257442"/>
                  </a:cubicBezTo>
                  <a:lnTo>
                    <a:pt x="495119" y="257223"/>
                  </a:lnTo>
                  <a:cubicBezTo>
                    <a:pt x="497957" y="256013"/>
                    <a:pt x="501234" y="256242"/>
                    <a:pt x="504034" y="257899"/>
                  </a:cubicBezTo>
                  <a:cubicBezTo>
                    <a:pt x="515350" y="264633"/>
                    <a:pt x="529790" y="262833"/>
                    <a:pt x="539115" y="253508"/>
                  </a:cubicBezTo>
                  <a:lnTo>
                    <a:pt x="558336" y="234286"/>
                  </a:lnTo>
                  <a:cubicBezTo>
                    <a:pt x="567661" y="224961"/>
                    <a:pt x="569462" y="210550"/>
                    <a:pt x="562613" y="199015"/>
                  </a:cubicBezTo>
                  <a:cubicBezTo>
                    <a:pt x="561061" y="196415"/>
                    <a:pt x="560842" y="193148"/>
                    <a:pt x="562127" y="190090"/>
                  </a:cubicBezTo>
                  <a:lnTo>
                    <a:pt x="562166" y="189948"/>
                  </a:lnTo>
                  <a:close/>
                  <a:moveTo>
                    <a:pt x="152400" y="571500"/>
                  </a:moveTo>
                  <a:lnTo>
                    <a:pt x="19050" y="571500"/>
                  </a:lnTo>
                  <a:lnTo>
                    <a:pt x="19050" y="400050"/>
                  </a:lnTo>
                  <a:lnTo>
                    <a:pt x="152400" y="400050"/>
                  </a:lnTo>
                  <a:lnTo>
                    <a:pt x="152400" y="571500"/>
                  </a:lnTo>
                  <a:close/>
                  <a:moveTo>
                    <a:pt x="361950" y="571500"/>
                  </a:moveTo>
                  <a:lnTo>
                    <a:pt x="228600" y="571500"/>
                  </a:lnTo>
                  <a:lnTo>
                    <a:pt x="228600" y="400050"/>
                  </a:lnTo>
                  <a:lnTo>
                    <a:pt x="361950" y="400050"/>
                  </a:lnTo>
                  <a:lnTo>
                    <a:pt x="361950" y="571500"/>
                  </a:lnTo>
                  <a:close/>
                  <a:moveTo>
                    <a:pt x="571500" y="571500"/>
                  </a:moveTo>
                  <a:lnTo>
                    <a:pt x="438150" y="571500"/>
                  </a:lnTo>
                  <a:lnTo>
                    <a:pt x="438150" y="400050"/>
                  </a:lnTo>
                  <a:lnTo>
                    <a:pt x="571500" y="400050"/>
                  </a:lnTo>
                  <a:lnTo>
                    <a:pt x="571500" y="571500"/>
                  </a:lnTo>
                  <a:close/>
                  <a:moveTo>
                    <a:pt x="133350" y="171450"/>
                  </a:moveTo>
                  <a:lnTo>
                    <a:pt x="133350" y="152400"/>
                  </a:lnTo>
                  <a:lnTo>
                    <a:pt x="400050" y="152400"/>
                  </a:lnTo>
                  <a:lnTo>
                    <a:pt x="400050" y="171450"/>
                  </a:lnTo>
                  <a:lnTo>
                    <a:pt x="133350" y="171450"/>
                  </a:lnTo>
                  <a:close/>
                  <a:moveTo>
                    <a:pt x="114300" y="171450"/>
                  </a:moveTo>
                  <a:lnTo>
                    <a:pt x="95250" y="171450"/>
                  </a:lnTo>
                  <a:lnTo>
                    <a:pt x="95250" y="114300"/>
                  </a:lnTo>
                  <a:lnTo>
                    <a:pt x="114300" y="114300"/>
                  </a:lnTo>
                  <a:lnTo>
                    <a:pt x="114300" y="171450"/>
                  </a:lnTo>
                  <a:close/>
                  <a:moveTo>
                    <a:pt x="473507" y="138913"/>
                  </a:moveTo>
                  <a:cubicBezTo>
                    <a:pt x="475145" y="139532"/>
                    <a:pt x="476250" y="141122"/>
                    <a:pt x="476250" y="142875"/>
                  </a:cubicBezTo>
                  <a:cubicBezTo>
                    <a:pt x="476250" y="144628"/>
                    <a:pt x="475145" y="146218"/>
                    <a:pt x="473507" y="146828"/>
                  </a:cubicBezTo>
                  <a:lnTo>
                    <a:pt x="419100" y="167230"/>
                  </a:lnTo>
                  <a:lnTo>
                    <a:pt x="419100" y="118520"/>
                  </a:lnTo>
                  <a:lnTo>
                    <a:pt x="473507" y="138913"/>
                  </a:lnTo>
                  <a:close/>
                  <a:moveTo>
                    <a:pt x="411309" y="190500"/>
                  </a:moveTo>
                  <a:lnTo>
                    <a:pt x="480203" y="164659"/>
                  </a:lnTo>
                  <a:cubicBezTo>
                    <a:pt x="489233" y="161268"/>
                    <a:pt x="495300" y="152514"/>
                    <a:pt x="495300" y="142875"/>
                  </a:cubicBezTo>
                  <a:cubicBezTo>
                    <a:pt x="495300" y="133236"/>
                    <a:pt x="489233" y="124482"/>
                    <a:pt x="480203" y="121082"/>
                  </a:cubicBezTo>
                  <a:lnTo>
                    <a:pt x="411309" y="95250"/>
                  </a:lnTo>
                  <a:lnTo>
                    <a:pt x="401183" y="95250"/>
                  </a:lnTo>
                  <a:cubicBezTo>
                    <a:pt x="413490" y="83249"/>
                    <a:pt x="430139" y="76200"/>
                    <a:pt x="447675" y="76200"/>
                  </a:cubicBezTo>
                  <a:cubicBezTo>
                    <a:pt x="484432" y="76200"/>
                    <a:pt x="514350" y="106118"/>
                    <a:pt x="514350" y="142875"/>
                  </a:cubicBezTo>
                  <a:cubicBezTo>
                    <a:pt x="514350" y="179632"/>
                    <a:pt x="484432" y="209550"/>
                    <a:pt x="447675" y="209550"/>
                  </a:cubicBezTo>
                  <a:cubicBezTo>
                    <a:pt x="430139" y="209550"/>
                    <a:pt x="413490" y="202502"/>
                    <a:pt x="401174" y="190500"/>
                  </a:cubicBezTo>
                  <a:lnTo>
                    <a:pt x="411309" y="190500"/>
                  </a:lnTo>
                  <a:close/>
                  <a:moveTo>
                    <a:pt x="400050" y="114300"/>
                  </a:moveTo>
                  <a:lnTo>
                    <a:pt x="400050" y="133350"/>
                  </a:lnTo>
                  <a:lnTo>
                    <a:pt x="133350" y="133350"/>
                  </a:lnTo>
                  <a:lnTo>
                    <a:pt x="133350" y="114300"/>
                  </a:lnTo>
                  <a:lnTo>
                    <a:pt x="400050" y="114300"/>
                  </a:lnTo>
                  <a:close/>
                  <a:moveTo>
                    <a:pt x="19050" y="142875"/>
                  </a:moveTo>
                  <a:cubicBezTo>
                    <a:pt x="19050" y="127121"/>
                    <a:pt x="31871" y="114300"/>
                    <a:pt x="47625" y="114300"/>
                  </a:cubicBezTo>
                  <a:lnTo>
                    <a:pt x="76200" y="114300"/>
                  </a:lnTo>
                  <a:lnTo>
                    <a:pt x="76200" y="171450"/>
                  </a:lnTo>
                  <a:lnTo>
                    <a:pt x="47625" y="171450"/>
                  </a:lnTo>
                  <a:cubicBezTo>
                    <a:pt x="31871" y="171450"/>
                    <a:pt x="19050" y="158629"/>
                    <a:pt x="19050" y="142875"/>
                  </a:cubicBezTo>
                  <a:close/>
                  <a:moveTo>
                    <a:pt x="544516" y="182766"/>
                  </a:moveTo>
                  <a:lnTo>
                    <a:pt x="544278" y="183366"/>
                  </a:lnTo>
                  <a:cubicBezTo>
                    <a:pt x="540953" y="191662"/>
                    <a:pt x="541677" y="201130"/>
                    <a:pt x="546335" y="208950"/>
                  </a:cubicBezTo>
                  <a:cubicBezTo>
                    <a:pt x="548611" y="212789"/>
                    <a:pt x="548002" y="217675"/>
                    <a:pt x="544849" y="220828"/>
                  </a:cubicBezTo>
                  <a:lnTo>
                    <a:pt x="525628" y="240049"/>
                  </a:lnTo>
                  <a:cubicBezTo>
                    <a:pt x="522465" y="243211"/>
                    <a:pt x="517569" y="243821"/>
                    <a:pt x="513569" y="241430"/>
                  </a:cubicBezTo>
                  <a:cubicBezTo>
                    <a:pt x="505920" y="236877"/>
                    <a:pt x="496453" y="236182"/>
                    <a:pt x="488175" y="239487"/>
                  </a:cubicBezTo>
                  <a:lnTo>
                    <a:pt x="487566" y="239725"/>
                  </a:lnTo>
                  <a:cubicBezTo>
                    <a:pt x="479260" y="243202"/>
                    <a:pt x="472983" y="250469"/>
                    <a:pt x="470716" y="259366"/>
                  </a:cubicBezTo>
                  <a:cubicBezTo>
                    <a:pt x="469611" y="263681"/>
                    <a:pt x="465725" y="266700"/>
                    <a:pt x="461267" y="266700"/>
                  </a:cubicBezTo>
                  <a:lnTo>
                    <a:pt x="434083" y="266700"/>
                  </a:lnTo>
                  <a:cubicBezTo>
                    <a:pt x="429625" y="266700"/>
                    <a:pt x="425739" y="263681"/>
                    <a:pt x="424577" y="259147"/>
                  </a:cubicBezTo>
                  <a:cubicBezTo>
                    <a:pt x="422377" y="250460"/>
                    <a:pt x="416090" y="243192"/>
                    <a:pt x="407784" y="239716"/>
                  </a:cubicBezTo>
                  <a:lnTo>
                    <a:pt x="407175" y="239478"/>
                  </a:lnTo>
                  <a:cubicBezTo>
                    <a:pt x="398907" y="236144"/>
                    <a:pt x="389439" y="236868"/>
                    <a:pt x="381600" y="241535"/>
                  </a:cubicBezTo>
                  <a:cubicBezTo>
                    <a:pt x="377771" y="243811"/>
                    <a:pt x="372875" y="243211"/>
                    <a:pt x="369722" y="240049"/>
                  </a:cubicBezTo>
                  <a:lnTo>
                    <a:pt x="350501" y="220828"/>
                  </a:lnTo>
                  <a:cubicBezTo>
                    <a:pt x="347348" y="217675"/>
                    <a:pt x="346729" y="212789"/>
                    <a:pt x="349120" y="208769"/>
                  </a:cubicBezTo>
                  <a:cubicBezTo>
                    <a:pt x="352406" y="203254"/>
                    <a:pt x="353616" y="196787"/>
                    <a:pt x="352825" y="190500"/>
                  </a:cubicBezTo>
                  <a:lnTo>
                    <a:pt x="376685" y="190500"/>
                  </a:lnTo>
                  <a:cubicBezTo>
                    <a:pt x="392535" y="214065"/>
                    <a:pt x="419138" y="228600"/>
                    <a:pt x="447656" y="228600"/>
                  </a:cubicBezTo>
                  <a:cubicBezTo>
                    <a:pt x="494929" y="228600"/>
                    <a:pt x="533381" y="190148"/>
                    <a:pt x="533381" y="142875"/>
                  </a:cubicBezTo>
                  <a:cubicBezTo>
                    <a:pt x="533381" y="95602"/>
                    <a:pt x="494929" y="57150"/>
                    <a:pt x="447656" y="57150"/>
                  </a:cubicBezTo>
                  <a:cubicBezTo>
                    <a:pt x="419138" y="57150"/>
                    <a:pt x="392535" y="71685"/>
                    <a:pt x="376685" y="95250"/>
                  </a:cubicBezTo>
                  <a:lnTo>
                    <a:pt x="352816" y="95250"/>
                  </a:lnTo>
                  <a:cubicBezTo>
                    <a:pt x="353597" y="88944"/>
                    <a:pt x="352368" y="82448"/>
                    <a:pt x="348996" y="76800"/>
                  </a:cubicBezTo>
                  <a:cubicBezTo>
                    <a:pt x="346720" y="72962"/>
                    <a:pt x="347329" y="68075"/>
                    <a:pt x="350482" y="64922"/>
                  </a:cubicBezTo>
                  <a:lnTo>
                    <a:pt x="369703" y="45701"/>
                  </a:lnTo>
                  <a:cubicBezTo>
                    <a:pt x="372866" y="42539"/>
                    <a:pt x="377742" y="41939"/>
                    <a:pt x="381772" y="44320"/>
                  </a:cubicBezTo>
                  <a:cubicBezTo>
                    <a:pt x="389544" y="48939"/>
                    <a:pt x="399193" y="49597"/>
                    <a:pt x="406708" y="46396"/>
                  </a:cubicBezTo>
                  <a:lnTo>
                    <a:pt x="407775" y="46015"/>
                  </a:lnTo>
                  <a:cubicBezTo>
                    <a:pt x="416081" y="42539"/>
                    <a:pt x="422348" y="35281"/>
                    <a:pt x="424615" y="26384"/>
                  </a:cubicBezTo>
                  <a:cubicBezTo>
                    <a:pt x="425739" y="22069"/>
                    <a:pt x="429625" y="19050"/>
                    <a:pt x="434083" y="19050"/>
                  </a:cubicBezTo>
                  <a:lnTo>
                    <a:pt x="461267" y="19050"/>
                  </a:lnTo>
                  <a:cubicBezTo>
                    <a:pt x="465725" y="19050"/>
                    <a:pt x="469611" y="22069"/>
                    <a:pt x="470773" y="26603"/>
                  </a:cubicBezTo>
                  <a:cubicBezTo>
                    <a:pt x="472973" y="35290"/>
                    <a:pt x="479250" y="42548"/>
                    <a:pt x="487728" y="46091"/>
                  </a:cubicBezTo>
                  <a:cubicBezTo>
                    <a:pt x="496110" y="49616"/>
                    <a:pt x="505768" y="48968"/>
                    <a:pt x="513740" y="44225"/>
                  </a:cubicBezTo>
                  <a:cubicBezTo>
                    <a:pt x="517589" y="41948"/>
                    <a:pt x="522465" y="42558"/>
                    <a:pt x="525618" y="45710"/>
                  </a:cubicBezTo>
                  <a:lnTo>
                    <a:pt x="544840" y="64932"/>
                  </a:lnTo>
                  <a:cubicBezTo>
                    <a:pt x="547992" y="68085"/>
                    <a:pt x="548611" y="72971"/>
                    <a:pt x="546221" y="76991"/>
                  </a:cubicBezTo>
                  <a:cubicBezTo>
                    <a:pt x="541668" y="84639"/>
                    <a:pt x="540953" y="94097"/>
                    <a:pt x="544278" y="102384"/>
                  </a:cubicBezTo>
                  <a:lnTo>
                    <a:pt x="544525" y="103003"/>
                  </a:lnTo>
                  <a:cubicBezTo>
                    <a:pt x="548002" y="111309"/>
                    <a:pt x="555260" y="117577"/>
                    <a:pt x="564166" y="119853"/>
                  </a:cubicBezTo>
                  <a:cubicBezTo>
                    <a:pt x="568490" y="120929"/>
                    <a:pt x="571500" y="124816"/>
                    <a:pt x="571500" y="129283"/>
                  </a:cubicBezTo>
                  <a:lnTo>
                    <a:pt x="571500" y="156467"/>
                  </a:lnTo>
                  <a:cubicBezTo>
                    <a:pt x="571500" y="160925"/>
                    <a:pt x="568481" y="164811"/>
                    <a:pt x="563947" y="165973"/>
                  </a:cubicBezTo>
                  <a:cubicBezTo>
                    <a:pt x="555260" y="168173"/>
                    <a:pt x="547992" y="174450"/>
                    <a:pt x="544516" y="182766"/>
                  </a:cubicBezTo>
                  <a:close/>
                </a:path>
              </a:pathLst>
            </a:custGeom>
            <a:grpFill/>
            <a:ln w="63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IN" sz="1678" dirty="0"/>
            </a:p>
          </p:txBody>
        </p:sp>
        <p:sp>
          <p:nvSpPr>
            <p:cNvPr id="100" name="Graphic 42">
              <a:extLst>
                <a:ext uri="{FF2B5EF4-FFF2-40B4-BE49-F238E27FC236}">
                  <a16:creationId xmlns:a16="http://schemas.microsoft.com/office/drawing/2014/main" id="{9F4BBD6D-A380-4A8B-8DEB-19F110216F73}"/>
                </a:ext>
              </a:extLst>
            </p:cNvPr>
            <p:cNvSpPr/>
            <p:nvPr/>
          </p:nvSpPr>
          <p:spPr>
            <a:xfrm>
              <a:off x="1044133" y="2096249"/>
              <a:ext cx="57537" cy="11507"/>
            </a:xfrm>
            <a:custGeom>
              <a:avLst/>
              <a:gdLst>
                <a:gd name="connsiteX0" fmla="*/ 0 w 95250"/>
                <a:gd name="connsiteY0" fmla="*/ 0 h 19050"/>
                <a:gd name="connsiteX1" fmla="*/ 95250 w 95250"/>
                <a:gd name="connsiteY1" fmla="*/ 0 h 19050"/>
                <a:gd name="connsiteX2" fmla="*/ 95250 w 95250"/>
                <a:gd name="connsiteY2" fmla="*/ 19050 h 19050"/>
                <a:gd name="connsiteX3" fmla="*/ 0 w 95250"/>
                <a:gd name="connsiteY3" fmla="*/ 19050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250" h="19050">
                  <a:moveTo>
                    <a:pt x="0" y="0"/>
                  </a:moveTo>
                  <a:lnTo>
                    <a:pt x="95250" y="0"/>
                  </a:lnTo>
                  <a:lnTo>
                    <a:pt x="95250" y="19050"/>
                  </a:lnTo>
                  <a:lnTo>
                    <a:pt x="0" y="19050"/>
                  </a:lnTo>
                  <a:close/>
                </a:path>
              </a:pathLst>
            </a:custGeom>
            <a:grpFill/>
            <a:ln w="63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IN" sz="1678" dirty="0"/>
            </a:p>
          </p:txBody>
        </p:sp>
        <p:sp>
          <p:nvSpPr>
            <p:cNvPr id="101" name="Graphic 42">
              <a:extLst>
                <a:ext uri="{FF2B5EF4-FFF2-40B4-BE49-F238E27FC236}">
                  <a16:creationId xmlns:a16="http://schemas.microsoft.com/office/drawing/2014/main" id="{43C2F97C-5D5A-44B1-B5A3-9672BD38E622}"/>
                </a:ext>
              </a:extLst>
            </p:cNvPr>
            <p:cNvSpPr/>
            <p:nvPr/>
          </p:nvSpPr>
          <p:spPr>
            <a:xfrm>
              <a:off x="1044133" y="2142278"/>
              <a:ext cx="57537" cy="34522"/>
            </a:xfrm>
            <a:custGeom>
              <a:avLst/>
              <a:gdLst>
                <a:gd name="connsiteX0" fmla="*/ 95250 w 95250"/>
                <a:gd name="connsiteY0" fmla="*/ 0 h 57150"/>
                <a:gd name="connsiteX1" fmla="*/ 0 w 95250"/>
                <a:gd name="connsiteY1" fmla="*/ 0 h 57150"/>
                <a:gd name="connsiteX2" fmla="*/ 0 w 95250"/>
                <a:gd name="connsiteY2" fmla="*/ 57150 h 57150"/>
                <a:gd name="connsiteX3" fmla="*/ 95250 w 95250"/>
                <a:gd name="connsiteY3" fmla="*/ 57150 h 57150"/>
                <a:gd name="connsiteX4" fmla="*/ 95250 w 95250"/>
                <a:gd name="connsiteY4" fmla="*/ 0 h 57150"/>
                <a:gd name="connsiteX5" fmla="*/ 76200 w 95250"/>
                <a:gd name="connsiteY5" fmla="*/ 38100 h 57150"/>
                <a:gd name="connsiteX6" fmla="*/ 19050 w 95250"/>
                <a:gd name="connsiteY6" fmla="*/ 38100 h 57150"/>
                <a:gd name="connsiteX7" fmla="*/ 19050 w 95250"/>
                <a:gd name="connsiteY7" fmla="*/ 19050 h 57150"/>
                <a:gd name="connsiteX8" fmla="*/ 76200 w 95250"/>
                <a:gd name="connsiteY8" fmla="*/ 19050 h 57150"/>
                <a:gd name="connsiteX9" fmla="*/ 76200 w 95250"/>
                <a:gd name="connsiteY9" fmla="*/ 38100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5250" h="57150">
                  <a:moveTo>
                    <a:pt x="95250" y="0"/>
                  </a:moveTo>
                  <a:lnTo>
                    <a:pt x="0" y="0"/>
                  </a:lnTo>
                  <a:lnTo>
                    <a:pt x="0" y="57150"/>
                  </a:lnTo>
                  <a:lnTo>
                    <a:pt x="95250" y="57150"/>
                  </a:lnTo>
                  <a:lnTo>
                    <a:pt x="95250" y="0"/>
                  </a:lnTo>
                  <a:close/>
                  <a:moveTo>
                    <a:pt x="76200" y="38100"/>
                  </a:moveTo>
                  <a:lnTo>
                    <a:pt x="19050" y="38100"/>
                  </a:lnTo>
                  <a:lnTo>
                    <a:pt x="19050" y="19050"/>
                  </a:lnTo>
                  <a:lnTo>
                    <a:pt x="76200" y="19050"/>
                  </a:lnTo>
                  <a:lnTo>
                    <a:pt x="76200" y="38100"/>
                  </a:lnTo>
                  <a:close/>
                </a:path>
              </a:pathLst>
            </a:custGeom>
            <a:grpFill/>
            <a:ln w="63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IN" sz="1678" dirty="0"/>
            </a:p>
          </p:txBody>
        </p:sp>
        <p:sp>
          <p:nvSpPr>
            <p:cNvPr id="102" name="Graphic 42">
              <a:extLst>
                <a:ext uri="{FF2B5EF4-FFF2-40B4-BE49-F238E27FC236}">
                  <a16:creationId xmlns:a16="http://schemas.microsoft.com/office/drawing/2014/main" id="{337250DC-9A26-4CC1-9192-A6CE25690BCF}"/>
                </a:ext>
              </a:extLst>
            </p:cNvPr>
            <p:cNvSpPr/>
            <p:nvPr/>
          </p:nvSpPr>
          <p:spPr>
            <a:xfrm>
              <a:off x="1044133" y="2119264"/>
              <a:ext cx="57537" cy="11507"/>
            </a:xfrm>
            <a:custGeom>
              <a:avLst/>
              <a:gdLst>
                <a:gd name="connsiteX0" fmla="*/ 0 w 95250"/>
                <a:gd name="connsiteY0" fmla="*/ 0 h 19050"/>
                <a:gd name="connsiteX1" fmla="*/ 95250 w 95250"/>
                <a:gd name="connsiteY1" fmla="*/ 0 h 19050"/>
                <a:gd name="connsiteX2" fmla="*/ 95250 w 95250"/>
                <a:gd name="connsiteY2" fmla="*/ 19050 h 19050"/>
                <a:gd name="connsiteX3" fmla="*/ 0 w 95250"/>
                <a:gd name="connsiteY3" fmla="*/ 19050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250" h="19050">
                  <a:moveTo>
                    <a:pt x="0" y="0"/>
                  </a:moveTo>
                  <a:lnTo>
                    <a:pt x="95250" y="0"/>
                  </a:lnTo>
                  <a:lnTo>
                    <a:pt x="95250" y="19050"/>
                  </a:lnTo>
                  <a:lnTo>
                    <a:pt x="0" y="19050"/>
                  </a:lnTo>
                  <a:close/>
                </a:path>
              </a:pathLst>
            </a:custGeom>
            <a:grpFill/>
            <a:ln w="63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IN" sz="1678" dirty="0"/>
            </a:p>
          </p:txBody>
        </p:sp>
        <p:sp>
          <p:nvSpPr>
            <p:cNvPr id="103" name="Graphic 42">
              <a:extLst>
                <a:ext uri="{FF2B5EF4-FFF2-40B4-BE49-F238E27FC236}">
                  <a16:creationId xmlns:a16="http://schemas.microsoft.com/office/drawing/2014/main" id="{FF9A7107-8D32-4758-A007-DD7D09709F90}"/>
                </a:ext>
              </a:extLst>
            </p:cNvPr>
            <p:cNvSpPr/>
            <p:nvPr/>
          </p:nvSpPr>
          <p:spPr>
            <a:xfrm>
              <a:off x="917552" y="2096249"/>
              <a:ext cx="11507" cy="11507"/>
            </a:xfrm>
            <a:custGeom>
              <a:avLst/>
              <a:gdLst>
                <a:gd name="connsiteX0" fmla="*/ 0 w 19050"/>
                <a:gd name="connsiteY0" fmla="*/ 0 h 19050"/>
                <a:gd name="connsiteX1" fmla="*/ 19050 w 19050"/>
                <a:gd name="connsiteY1" fmla="*/ 0 h 19050"/>
                <a:gd name="connsiteX2" fmla="*/ 19050 w 19050"/>
                <a:gd name="connsiteY2" fmla="*/ 19050 h 19050"/>
                <a:gd name="connsiteX3" fmla="*/ 0 w 19050"/>
                <a:gd name="connsiteY3" fmla="*/ 19050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19050">
                  <a:moveTo>
                    <a:pt x="0" y="0"/>
                  </a:moveTo>
                  <a:lnTo>
                    <a:pt x="19050" y="0"/>
                  </a:lnTo>
                  <a:lnTo>
                    <a:pt x="19050" y="19050"/>
                  </a:lnTo>
                  <a:lnTo>
                    <a:pt x="0" y="19050"/>
                  </a:lnTo>
                  <a:close/>
                </a:path>
              </a:pathLst>
            </a:custGeom>
            <a:grpFill/>
            <a:ln w="63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IN" sz="1678" dirty="0"/>
            </a:p>
          </p:txBody>
        </p:sp>
        <p:sp>
          <p:nvSpPr>
            <p:cNvPr id="104" name="Graphic 42">
              <a:extLst>
                <a:ext uri="{FF2B5EF4-FFF2-40B4-BE49-F238E27FC236}">
                  <a16:creationId xmlns:a16="http://schemas.microsoft.com/office/drawing/2014/main" id="{4BAC3B04-D0AE-4EEF-B64A-9C8E15E3F5D3}"/>
                </a:ext>
              </a:extLst>
            </p:cNvPr>
            <p:cNvSpPr/>
            <p:nvPr/>
          </p:nvSpPr>
          <p:spPr>
            <a:xfrm>
              <a:off x="940566" y="2096249"/>
              <a:ext cx="34522" cy="11507"/>
            </a:xfrm>
            <a:custGeom>
              <a:avLst/>
              <a:gdLst>
                <a:gd name="connsiteX0" fmla="*/ 0 w 57150"/>
                <a:gd name="connsiteY0" fmla="*/ 0 h 19050"/>
                <a:gd name="connsiteX1" fmla="*/ 57150 w 57150"/>
                <a:gd name="connsiteY1" fmla="*/ 0 h 19050"/>
                <a:gd name="connsiteX2" fmla="*/ 57150 w 57150"/>
                <a:gd name="connsiteY2" fmla="*/ 19050 h 19050"/>
                <a:gd name="connsiteX3" fmla="*/ 0 w 57150"/>
                <a:gd name="connsiteY3" fmla="*/ 19050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150" h="19050">
                  <a:moveTo>
                    <a:pt x="0" y="0"/>
                  </a:moveTo>
                  <a:lnTo>
                    <a:pt x="57150" y="0"/>
                  </a:lnTo>
                  <a:lnTo>
                    <a:pt x="57150" y="19050"/>
                  </a:lnTo>
                  <a:lnTo>
                    <a:pt x="0" y="19050"/>
                  </a:lnTo>
                  <a:close/>
                </a:path>
              </a:pathLst>
            </a:custGeom>
            <a:grpFill/>
            <a:ln w="63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IN" sz="1678" dirty="0"/>
            </a:p>
          </p:txBody>
        </p:sp>
        <p:sp>
          <p:nvSpPr>
            <p:cNvPr id="105" name="Graphic 42">
              <a:extLst>
                <a:ext uri="{FF2B5EF4-FFF2-40B4-BE49-F238E27FC236}">
                  <a16:creationId xmlns:a16="http://schemas.microsoft.com/office/drawing/2014/main" id="{BD0726FA-C84B-4D8E-99B7-74EFA2EC422C}"/>
                </a:ext>
              </a:extLst>
            </p:cNvPr>
            <p:cNvSpPr/>
            <p:nvPr/>
          </p:nvSpPr>
          <p:spPr>
            <a:xfrm>
              <a:off x="917552" y="2119264"/>
              <a:ext cx="11507" cy="11507"/>
            </a:xfrm>
            <a:custGeom>
              <a:avLst/>
              <a:gdLst>
                <a:gd name="connsiteX0" fmla="*/ 0 w 19050"/>
                <a:gd name="connsiteY0" fmla="*/ 0 h 19050"/>
                <a:gd name="connsiteX1" fmla="*/ 19050 w 19050"/>
                <a:gd name="connsiteY1" fmla="*/ 0 h 19050"/>
                <a:gd name="connsiteX2" fmla="*/ 19050 w 19050"/>
                <a:gd name="connsiteY2" fmla="*/ 19050 h 19050"/>
                <a:gd name="connsiteX3" fmla="*/ 0 w 19050"/>
                <a:gd name="connsiteY3" fmla="*/ 19050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19050">
                  <a:moveTo>
                    <a:pt x="0" y="0"/>
                  </a:moveTo>
                  <a:lnTo>
                    <a:pt x="19050" y="0"/>
                  </a:lnTo>
                  <a:lnTo>
                    <a:pt x="19050" y="19050"/>
                  </a:lnTo>
                  <a:lnTo>
                    <a:pt x="0" y="19050"/>
                  </a:lnTo>
                  <a:close/>
                </a:path>
              </a:pathLst>
            </a:custGeom>
            <a:grpFill/>
            <a:ln w="63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IN" sz="1678" dirty="0"/>
            </a:p>
          </p:txBody>
        </p:sp>
        <p:sp>
          <p:nvSpPr>
            <p:cNvPr id="106" name="Graphic 42">
              <a:extLst>
                <a:ext uri="{FF2B5EF4-FFF2-40B4-BE49-F238E27FC236}">
                  <a16:creationId xmlns:a16="http://schemas.microsoft.com/office/drawing/2014/main" id="{76309A7D-9923-4108-9753-24CA819B277C}"/>
                </a:ext>
              </a:extLst>
            </p:cNvPr>
            <p:cNvSpPr/>
            <p:nvPr/>
          </p:nvSpPr>
          <p:spPr>
            <a:xfrm>
              <a:off x="940566" y="2119264"/>
              <a:ext cx="34522" cy="11507"/>
            </a:xfrm>
            <a:custGeom>
              <a:avLst/>
              <a:gdLst>
                <a:gd name="connsiteX0" fmla="*/ 0 w 57150"/>
                <a:gd name="connsiteY0" fmla="*/ 0 h 19050"/>
                <a:gd name="connsiteX1" fmla="*/ 57150 w 57150"/>
                <a:gd name="connsiteY1" fmla="*/ 0 h 19050"/>
                <a:gd name="connsiteX2" fmla="*/ 57150 w 57150"/>
                <a:gd name="connsiteY2" fmla="*/ 19050 h 19050"/>
                <a:gd name="connsiteX3" fmla="*/ 0 w 57150"/>
                <a:gd name="connsiteY3" fmla="*/ 19050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150" h="19050">
                  <a:moveTo>
                    <a:pt x="0" y="0"/>
                  </a:moveTo>
                  <a:lnTo>
                    <a:pt x="57150" y="0"/>
                  </a:lnTo>
                  <a:lnTo>
                    <a:pt x="57150" y="19050"/>
                  </a:lnTo>
                  <a:lnTo>
                    <a:pt x="0" y="19050"/>
                  </a:lnTo>
                  <a:close/>
                </a:path>
              </a:pathLst>
            </a:custGeom>
            <a:grpFill/>
            <a:ln w="63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IN" sz="1678" dirty="0"/>
            </a:p>
          </p:txBody>
        </p:sp>
        <p:sp>
          <p:nvSpPr>
            <p:cNvPr id="107" name="Graphic 42">
              <a:extLst>
                <a:ext uri="{FF2B5EF4-FFF2-40B4-BE49-F238E27FC236}">
                  <a16:creationId xmlns:a16="http://schemas.microsoft.com/office/drawing/2014/main" id="{35C110E5-4D50-44EB-95BC-3032649874ED}"/>
                </a:ext>
              </a:extLst>
            </p:cNvPr>
            <p:cNvSpPr/>
            <p:nvPr/>
          </p:nvSpPr>
          <p:spPr>
            <a:xfrm>
              <a:off x="790971" y="2096249"/>
              <a:ext cx="11507" cy="11507"/>
            </a:xfrm>
            <a:custGeom>
              <a:avLst/>
              <a:gdLst>
                <a:gd name="connsiteX0" fmla="*/ 0 w 19050"/>
                <a:gd name="connsiteY0" fmla="*/ 0 h 19050"/>
                <a:gd name="connsiteX1" fmla="*/ 19050 w 19050"/>
                <a:gd name="connsiteY1" fmla="*/ 0 h 19050"/>
                <a:gd name="connsiteX2" fmla="*/ 19050 w 19050"/>
                <a:gd name="connsiteY2" fmla="*/ 19050 h 19050"/>
                <a:gd name="connsiteX3" fmla="*/ 0 w 19050"/>
                <a:gd name="connsiteY3" fmla="*/ 19050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19050">
                  <a:moveTo>
                    <a:pt x="0" y="0"/>
                  </a:moveTo>
                  <a:lnTo>
                    <a:pt x="19050" y="0"/>
                  </a:lnTo>
                  <a:lnTo>
                    <a:pt x="19050" y="19050"/>
                  </a:lnTo>
                  <a:lnTo>
                    <a:pt x="0" y="19050"/>
                  </a:lnTo>
                  <a:close/>
                </a:path>
              </a:pathLst>
            </a:custGeom>
            <a:grpFill/>
            <a:ln w="63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IN" sz="1678" dirty="0"/>
            </a:p>
          </p:txBody>
        </p:sp>
        <p:sp>
          <p:nvSpPr>
            <p:cNvPr id="108" name="Graphic 42">
              <a:extLst>
                <a:ext uri="{FF2B5EF4-FFF2-40B4-BE49-F238E27FC236}">
                  <a16:creationId xmlns:a16="http://schemas.microsoft.com/office/drawing/2014/main" id="{26CF7654-F819-460E-AC57-66114D7C782A}"/>
                </a:ext>
              </a:extLst>
            </p:cNvPr>
            <p:cNvSpPr/>
            <p:nvPr/>
          </p:nvSpPr>
          <p:spPr>
            <a:xfrm>
              <a:off x="813985" y="2096249"/>
              <a:ext cx="34522" cy="11507"/>
            </a:xfrm>
            <a:custGeom>
              <a:avLst/>
              <a:gdLst>
                <a:gd name="connsiteX0" fmla="*/ 0 w 57150"/>
                <a:gd name="connsiteY0" fmla="*/ 0 h 19050"/>
                <a:gd name="connsiteX1" fmla="*/ 57150 w 57150"/>
                <a:gd name="connsiteY1" fmla="*/ 0 h 19050"/>
                <a:gd name="connsiteX2" fmla="*/ 57150 w 57150"/>
                <a:gd name="connsiteY2" fmla="*/ 19050 h 19050"/>
                <a:gd name="connsiteX3" fmla="*/ 0 w 57150"/>
                <a:gd name="connsiteY3" fmla="*/ 19050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150" h="19050">
                  <a:moveTo>
                    <a:pt x="0" y="0"/>
                  </a:moveTo>
                  <a:lnTo>
                    <a:pt x="57150" y="0"/>
                  </a:lnTo>
                  <a:lnTo>
                    <a:pt x="57150" y="19050"/>
                  </a:lnTo>
                  <a:lnTo>
                    <a:pt x="0" y="19050"/>
                  </a:lnTo>
                  <a:close/>
                </a:path>
              </a:pathLst>
            </a:custGeom>
            <a:grpFill/>
            <a:ln w="63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IN" sz="1678" dirty="0"/>
            </a:p>
          </p:txBody>
        </p:sp>
        <p:sp>
          <p:nvSpPr>
            <p:cNvPr id="109" name="Graphic 42">
              <a:extLst>
                <a:ext uri="{FF2B5EF4-FFF2-40B4-BE49-F238E27FC236}">
                  <a16:creationId xmlns:a16="http://schemas.microsoft.com/office/drawing/2014/main" id="{FFEB246F-0249-48EF-8F52-63D1B144F7F7}"/>
                </a:ext>
              </a:extLst>
            </p:cNvPr>
            <p:cNvSpPr/>
            <p:nvPr/>
          </p:nvSpPr>
          <p:spPr>
            <a:xfrm>
              <a:off x="790971" y="2119264"/>
              <a:ext cx="11507" cy="11507"/>
            </a:xfrm>
            <a:custGeom>
              <a:avLst/>
              <a:gdLst>
                <a:gd name="connsiteX0" fmla="*/ 0 w 19050"/>
                <a:gd name="connsiteY0" fmla="*/ 0 h 19050"/>
                <a:gd name="connsiteX1" fmla="*/ 19050 w 19050"/>
                <a:gd name="connsiteY1" fmla="*/ 0 h 19050"/>
                <a:gd name="connsiteX2" fmla="*/ 19050 w 19050"/>
                <a:gd name="connsiteY2" fmla="*/ 19050 h 19050"/>
                <a:gd name="connsiteX3" fmla="*/ 0 w 19050"/>
                <a:gd name="connsiteY3" fmla="*/ 19050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19050">
                  <a:moveTo>
                    <a:pt x="0" y="0"/>
                  </a:moveTo>
                  <a:lnTo>
                    <a:pt x="19050" y="0"/>
                  </a:lnTo>
                  <a:lnTo>
                    <a:pt x="19050" y="19050"/>
                  </a:lnTo>
                  <a:lnTo>
                    <a:pt x="0" y="19050"/>
                  </a:lnTo>
                  <a:close/>
                </a:path>
              </a:pathLst>
            </a:custGeom>
            <a:grpFill/>
            <a:ln w="63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IN" sz="1678" dirty="0"/>
            </a:p>
          </p:txBody>
        </p:sp>
        <p:sp>
          <p:nvSpPr>
            <p:cNvPr id="110" name="Graphic 42">
              <a:extLst>
                <a:ext uri="{FF2B5EF4-FFF2-40B4-BE49-F238E27FC236}">
                  <a16:creationId xmlns:a16="http://schemas.microsoft.com/office/drawing/2014/main" id="{FB00A76B-C4FF-4227-9108-7483B18CF9A2}"/>
                </a:ext>
              </a:extLst>
            </p:cNvPr>
            <p:cNvSpPr/>
            <p:nvPr/>
          </p:nvSpPr>
          <p:spPr>
            <a:xfrm>
              <a:off x="813985" y="2119264"/>
              <a:ext cx="34522" cy="11507"/>
            </a:xfrm>
            <a:custGeom>
              <a:avLst/>
              <a:gdLst>
                <a:gd name="connsiteX0" fmla="*/ 0 w 57150"/>
                <a:gd name="connsiteY0" fmla="*/ 0 h 19050"/>
                <a:gd name="connsiteX1" fmla="*/ 57150 w 57150"/>
                <a:gd name="connsiteY1" fmla="*/ 0 h 19050"/>
                <a:gd name="connsiteX2" fmla="*/ 57150 w 57150"/>
                <a:gd name="connsiteY2" fmla="*/ 19050 h 19050"/>
                <a:gd name="connsiteX3" fmla="*/ 0 w 57150"/>
                <a:gd name="connsiteY3" fmla="*/ 19050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150" h="19050">
                  <a:moveTo>
                    <a:pt x="0" y="0"/>
                  </a:moveTo>
                  <a:lnTo>
                    <a:pt x="57150" y="0"/>
                  </a:lnTo>
                  <a:lnTo>
                    <a:pt x="57150" y="19050"/>
                  </a:lnTo>
                  <a:lnTo>
                    <a:pt x="0" y="19050"/>
                  </a:lnTo>
                  <a:close/>
                </a:path>
              </a:pathLst>
            </a:custGeom>
            <a:grpFill/>
            <a:ln w="63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IN" sz="1678" dirty="0"/>
            </a:p>
          </p:txBody>
        </p:sp>
        <p:sp>
          <p:nvSpPr>
            <p:cNvPr id="111" name="Graphic 42">
              <a:extLst>
                <a:ext uri="{FF2B5EF4-FFF2-40B4-BE49-F238E27FC236}">
                  <a16:creationId xmlns:a16="http://schemas.microsoft.com/office/drawing/2014/main" id="{D2A051C4-A80A-485D-952C-BABC1E3D6F35}"/>
                </a:ext>
              </a:extLst>
            </p:cNvPr>
            <p:cNvSpPr/>
            <p:nvPr/>
          </p:nvSpPr>
          <p:spPr>
            <a:xfrm>
              <a:off x="790971" y="2142278"/>
              <a:ext cx="11507" cy="11507"/>
            </a:xfrm>
            <a:custGeom>
              <a:avLst/>
              <a:gdLst>
                <a:gd name="connsiteX0" fmla="*/ 0 w 19050"/>
                <a:gd name="connsiteY0" fmla="*/ 0 h 19050"/>
                <a:gd name="connsiteX1" fmla="*/ 19050 w 19050"/>
                <a:gd name="connsiteY1" fmla="*/ 0 h 19050"/>
                <a:gd name="connsiteX2" fmla="*/ 19050 w 19050"/>
                <a:gd name="connsiteY2" fmla="*/ 19050 h 19050"/>
                <a:gd name="connsiteX3" fmla="*/ 0 w 19050"/>
                <a:gd name="connsiteY3" fmla="*/ 19050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19050">
                  <a:moveTo>
                    <a:pt x="0" y="0"/>
                  </a:moveTo>
                  <a:lnTo>
                    <a:pt x="19050" y="0"/>
                  </a:lnTo>
                  <a:lnTo>
                    <a:pt x="19050" y="19050"/>
                  </a:lnTo>
                  <a:lnTo>
                    <a:pt x="0" y="19050"/>
                  </a:lnTo>
                  <a:close/>
                </a:path>
              </a:pathLst>
            </a:custGeom>
            <a:grpFill/>
            <a:ln w="63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IN" sz="1678" dirty="0"/>
            </a:p>
          </p:txBody>
        </p:sp>
        <p:sp>
          <p:nvSpPr>
            <p:cNvPr id="112" name="Graphic 42">
              <a:extLst>
                <a:ext uri="{FF2B5EF4-FFF2-40B4-BE49-F238E27FC236}">
                  <a16:creationId xmlns:a16="http://schemas.microsoft.com/office/drawing/2014/main" id="{5C7BFB32-523E-4111-AD62-8C6A06E1ECE5}"/>
                </a:ext>
              </a:extLst>
            </p:cNvPr>
            <p:cNvSpPr/>
            <p:nvPr/>
          </p:nvSpPr>
          <p:spPr>
            <a:xfrm>
              <a:off x="813985" y="2142278"/>
              <a:ext cx="34522" cy="11507"/>
            </a:xfrm>
            <a:custGeom>
              <a:avLst/>
              <a:gdLst>
                <a:gd name="connsiteX0" fmla="*/ 0 w 57150"/>
                <a:gd name="connsiteY0" fmla="*/ 0 h 19050"/>
                <a:gd name="connsiteX1" fmla="*/ 57150 w 57150"/>
                <a:gd name="connsiteY1" fmla="*/ 0 h 19050"/>
                <a:gd name="connsiteX2" fmla="*/ 57150 w 57150"/>
                <a:gd name="connsiteY2" fmla="*/ 19050 h 19050"/>
                <a:gd name="connsiteX3" fmla="*/ 0 w 57150"/>
                <a:gd name="connsiteY3" fmla="*/ 19050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150" h="19050">
                  <a:moveTo>
                    <a:pt x="0" y="0"/>
                  </a:moveTo>
                  <a:lnTo>
                    <a:pt x="57150" y="0"/>
                  </a:lnTo>
                  <a:lnTo>
                    <a:pt x="57150" y="19050"/>
                  </a:lnTo>
                  <a:lnTo>
                    <a:pt x="0" y="19050"/>
                  </a:lnTo>
                  <a:close/>
                </a:path>
              </a:pathLst>
            </a:custGeom>
            <a:grpFill/>
            <a:ln w="63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IN" sz="1678" dirty="0"/>
            </a:p>
          </p:txBody>
        </p:sp>
        <p:sp>
          <p:nvSpPr>
            <p:cNvPr id="113" name="Graphic 42">
              <a:extLst>
                <a:ext uri="{FF2B5EF4-FFF2-40B4-BE49-F238E27FC236}">
                  <a16:creationId xmlns:a16="http://schemas.microsoft.com/office/drawing/2014/main" id="{F57A8003-C06F-4FBD-B168-1CED47408C31}"/>
                </a:ext>
              </a:extLst>
            </p:cNvPr>
            <p:cNvSpPr/>
            <p:nvPr/>
          </p:nvSpPr>
          <p:spPr>
            <a:xfrm>
              <a:off x="790971" y="2165293"/>
              <a:ext cx="11507" cy="11507"/>
            </a:xfrm>
            <a:custGeom>
              <a:avLst/>
              <a:gdLst>
                <a:gd name="connsiteX0" fmla="*/ 0 w 19050"/>
                <a:gd name="connsiteY0" fmla="*/ 0 h 19050"/>
                <a:gd name="connsiteX1" fmla="*/ 19050 w 19050"/>
                <a:gd name="connsiteY1" fmla="*/ 0 h 19050"/>
                <a:gd name="connsiteX2" fmla="*/ 19050 w 19050"/>
                <a:gd name="connsiteY2" fmla="*/ 19050 h 19050"/>
                <a:gd name="connsiteX3" fmla="*/ 0 w 19050"/>
                <a:gd name="connsiteY3" fmla="*/ 19050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19050">
                  <a:moveTo>
                    <a:pt x="0" y="0"/>
                  </a:moveTo>
                  <a:lnTo>
                    <a:pt x="19050" y="0"/>
                  </a:lnTo>
                  <a:lnTo>
                    <a:pt x="19050" y="19050"/>
                  </a:lnTo>
                  <a:lnTo>
                    <a:pt x="0" y="19050"/>
                  </a:lnTo>
                  <a:close/>
                </a:path>
              </a:pathLst>
            </a:custGeom>
            <a:grpFill/>
            <a:ln w="63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IN" sz="1678" dirty="0"/>
            </a:p>
          </p:txBody>
        </p:sp>
        <p:sp>
          <p:nvSpPr>
            <p:cNvPr id="114" name="Graphic 42">
              <a:extLst>
                <a:ext uri="{FF2B5EF4-FFF2-40B4-BE49-F238E27FC236}">
                  <a16:creationId xmlns:a16="http://schemas.microsoft.com/office/drawing/2014/main" id="{C00D2BAA-50FD-4864-B886-CD1DC3534C87}"/>
                </a:ext>
              </a:extLst>
            </p:cNvPr>
            <p:cNvSpPr/>
            <p:nvPr/>
          </p:nvSpPr>
          <p:spPr>
            <a:xfrm>
              <a:off x="813985" y="2165293"/>
              <a:ext cx="34522" cy="11507"/>
            </a:xfrm>
            <a:custGeom>
              <a:avLst/>
              <a:gdLst>
                <a:gd name="connsiteX0" fmla="*/ 0 w 57150"/>
                <a:gd name="connsiteY0" fmla="*/ 0 h 19050"/>
                <a:gd name="connsiteX1" fmla="*/ 57150 w 57150"/>
                <a:gd name="connsiteY1" fmla="*/ 0 h 19050"/>
                <a:gd name="connsiteX2" fmla="*/ 57150 w 57150"/>
                <a:gd name="connsiteY2" fmla="*/ 19050 h 19050"/>
                <a:gd name="connsiteX3" fmla="*/ 0 w 57150"/>
                <a:gd name="connsiteY3" fmla="*/ 19050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150" h="19050">
                  <a:moveTo>
                    <a:pt x="0" y="0"/>
                  </a:moveTo>
                  <a:lnTo>
                    <a:pt x="57150" y="0"/>
                  </a:lnTo>
                  <a:lnTo>
                    <a:pt x="57150" y="19050"/>
                  </a:lnTo>
                  <a:lnTo>
                    <a:pt x="0" y="19050"/>
                  </a:lnTo>
                  <a:close/>
                </a:path>
              </a:pathLst>
            </a:custGeom>
            <a:grpFill/>
            <a:ln w="63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IN" sz="1678" dirty="0"/>
            </a:p>
          </p:txBody>
        </p:sp>
        <p:sp>
          <p:nvSpPr>
            <p:cNvPr id="115" name="Graphic 42">
              <a:extLst>
                <a:ext uri="{FF2B5EF4-FFF2-40B4-BE49-F238E27FC236}">
                  <a16:creationId xmlns:a16="http://schemas.microsoft.com/office/drawing/2014/main" id="{E527E669-1324-48F8-9961-5E8BAD36C71F}"/>
                </a:ext>
              </a:extLst>
            </p:cNvPr>
            <p:cNvSpPr/>
            <p:nvPr/>
          </p:nvSpPr>
          <p:spPr>
            <a:xfrm>
              <a:off x="917552" y="2142278"/>
              <a:ext cx="57537" cy="34522"/>
            </a:xfrm>
            <a:custGeom>
              <a:avLst/>
              <a:gdLst>
                <a:gd name="connsiteX0" fmla="*/ 95250 w 95250"/>
                <a:gd name="connsiteY0" fmla="*/ 0 h 57150"/>
                <a:gd name="connsiteX1" fmla="*/ 0 w 95250"/>
                <a:gd name="connsiteY1" fmla="*/ 0 h 57150"/>
                <a:gd name="connsiteX2" fmla="*/ 0 w 95250"/>
                <a:gd name="connsiteY2" fmla="*/ 57150 h 57150"/>
                <a:gd name="connsiteX3" fmla="*/ 95250 w 95250"/>
                <a:gd name="connsiteY3" fmla="*/ 57150 h 57150"/>
                <a:gd name="connsiteX4" fmla="*/ 95250 w 95250"/>
                <a:gd name="connsiteY4" fmla="*/ 0 h 57150"/>
                <a:gd name="connsiteX5" fmla="*/ 76200 w 95250"/>
                <a:gd name="connsiteY5" fmla="*/ 38100 h 57150"/>
                <a:gd name="connsiteX6" fmla="*/ 19050 w 95250"/>
                <a:gd name="connsiteY6" fmla="*/ 38100 h 57150"/>
                <a:gd name="connsiteX7" fmla="*/ 19050 w 95250"/>
                <a:gd name="connsiteY7" fmla="*/ 19050 h 57150"/>
                <a:gd name="connsiteX8" fmla="*/ 76200 w 95250"/>
                <a:gd name="connsiteY8" fmla="*/ 19050 h 57150"/>
                <a:gd name="connsiteX9" fmla="*/ 76200 w 95250"/>
                <a:gd name="connsiteY9" fmla="*/ 38100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5250" h="57150">
                  <a:moveTo>
                    <a:pt x="95250" y="0"/>
                  </a:moveTo>
                  <a:lnTo>
                    <a:pt x="0" y="0"/>
                  </a:lnTo>
                  <a:lnTo>
                    <a:pt x="0" y="57150"/>
                  </a:lnTo>
                  <a:lnTo>
                    <a:pt x="95250" y="57150"/>
                  </a:lnTo>
                  <a:lnTo>
                    <a:pt x="95250" y="0"/>
                  </a:lnTo>
                  <a:close/>
                  <a:moveTo>
                    <a:pt x="76200" y="38100"/>
                  </a:moveTo>
                  <a:lnTo>
                    <a:pt x="19050" y="38100"/>
                  </a:lnTo>
                  <a:lnTo>
                    <a:pt x="19050" y="19050"/>
                  </a:lnTo>
                  <a:lnTo>
                    <a:pt x="76200" y="19050"/>
                  </a:lnTo>
                  <a:lnTo>
                    <a:pt x="76200" y="38100"/>
                  </a:lnTo>
                  <a:close/>
                </a:path>
              </a:pathLst>
            </a:custGeom>
            <a:grpFill/>
            <a:ln w="63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IN" sz="1678" dirty="0"/>
            </a:p>
          </p:txBody>
        </p:sp>
      </p:grpSp>
    </p:spTree>
    <p:extLst>
      <p:ext uri="{BB962C8B-B14F-4D97-AF65-F5344CB8AC3E}">
        <p14:creationId xmlns:p14="http://schemas.microsoft.com/office/powerpoint/2010/main" val="5562767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C3C9C23-9D24-4FD9-B31F-4F833B40D7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103653F-4628-4CCA-BBFC-10994C39EA7C}" type="slidenum">
              <a:rPr lang="en-US" smtClean="0">
                <a:solidFill>
                  <a:srgbClr val="FFFFFF"/>
                </a:solidFill>
              </a:rPr>
              <a:pPr/>
              <a:t>3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3" name="object 3">
            <a:extLst>
              <a:ext uri="{FF2B5EF4-FFF2-40B4-BE49-F238E27FC236}">
                <a16:creationId xmlns:a16="http://schemas.microsoft.com/office/drawing/2014/main" id="{0E7DC4E3-9E9C-4536-B88D-6356FC47C887}"/>
              </a:ext>
            </a:extLst>
          </p:cNvPr>
          <p:cNvSpPr/>
          <p:nvPr/>
        </p:nvSpPr>
        <p:spPr>
          <a:xfrm>
            <a:off x="11934064" y="7173436"/>
            <a:ext cx="0" cy="138430"/>
          </a:xfrm>
          <a:custGeom>
            <a:avLst/>
            <a:gdLst/>
            <a:ahLst/>
            <a:cxnLst/>
            <a:rect l="l" t="t" r="r" b="b"/>
            <a:pathLst>
              <a:path h="138429">
                <a:moveTo>
                  <a:pt x="0" y="0"/>
                </a:moveTo>
                <a:lnTo>
                  <a:pt x="0" y="138112"/>
                </a:lnTo>
              </a:path>
            </a:pathLst>
          </a:custGeom>
          <a:ln w="3175">
            <a:solidFill>
              <a:srgbClr val="A6A6A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4" name="object 8">
            <a:extLst>
              <a:ext uri="{FF2B5EF4-FFF2-40B4-BE49-F238E27FC236}">
                <a16:creationId xmlns:a16="http://schemas.microsoft.com/office/drawing/2014/main" id="{4AD65A83-9DA8-4F90-82E1-54ED65F75BEF}"/>
              </a:ext>
            </a:extLst>
          </p:cNvPr>
          <p:cNvSpPr txBox="1"/>
          <p:nvPr/>
        </p:nvSpPr>
        <p:spPr>
          <a:xfrm>
            <a:off x="294833" y="7608224"/>
            <a:ext cx="13012469" cy="25840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38100" marR="3048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latin typeface="Arial Narrow" panose="020B0606020202030204" pitchFamily="34" charset="0"/>
                <a:cs typeface="Arial MT"/>
              </a:rPr>
              <a:t>BAT:</a:t>
            </a:r>
            <a:r>
              <a:rPr sz="1600" spc="-10" dirty="0">
                <a:latin typeface="Arial Narrow" panose="020B0606020202030204" pitchFamily="34" charset="0"/>
                <a:cs typeface="Arial MT"/>
              </a:rPr>
              <a:t> </a:t>
            </a:r>
            <a:r>
              <a:rPr sz="1600" spc="-5" dirty="0">
                <a:latin typeface="Arial Narrow" panose="020B0606020202030204" pitchFamily="34" charset="0"/>
                <a:cs typeface="Arial MT"/>
              </a:rPr>
              <a:t>Best</a:t>
            </a:r>
            <a:r>
              <a:rPr sz="1600" spc="5" dirty="0">
                <a:latin typeface="Arial Narrow" panose="020B0606020202030204" pitchFamily="34" charset="0"/>
                <a:cs typeface="Arial MT"/>
              </a:rPr>
              <a:t> </a:t>
            </a:r>
            <a:r>
              <a:rPr sz="1600" spc="-10" dirty="0">
                <a:latin typeface="Arial Narrow" panose="020B0606020202030204" pitchFamily="34" charset="0"/>
                <a:cs typeface="Arial MT"/>
              </a:rPr>
              <a:t>Available</a:t>
            </a:r>
            <a:r>
              <a:rPr sz="1600" spc="20" dirty="0">
                <a:latin typeface="Arial Narrow" panose="020B0606020202030204" pitchFamily="34" charset="0"/>
                <a:cs typeface="Arial MT"/>
              </a:rPr>
              <a:t> </a:t>
            </a:r>
            <a:r>
              <a:rPr sz="1600" spc="-10" dirty="0">
                <a:latin typeface="Arial Narrow" panose="020B0606020202030204" pitchFamily="34" charset="0"/>
                <a:cs typeface="Arial MT"/>
              </a:rPr>
              <a:t>Technology</a:t>
            </a:r>
            <a:r>
              <a:rPr sz="1600" spc="-5" dirty="0">
                <a:latin typeface="Arial Narrow" panose="020B0606020202030204" pitchFamily="34" charset="0"/>
                <a:cs typeface="Arial MT"/>
              </a:rPr>
              <a:t>,</a:t>
            </a:r>
            <a:r>
              <a:rPr sz="1600" spc="-10" dirty="0">
                <a:latin typeface="Arial Narrow" panose="020B0606020202030204" pitchFamily="34" charset="0"/>
                <a:cs typeface="Arial MT"/>
              </a:rPr>
              <a:t> </a:t>
            </a:r>
            <a:r>
              <a:rPr sz="1600" spc="-5" dirty="0">
                <a:latin typeface="Arial Narrow" panose="020B0606020202030204" pitchFamily="34" charset="0"/>
                <a:cs typeface="Arial MT"/>
              </a:rPr>
              <a:t>EAF:</a:t>
            </a:r>
            <a:r>
              <a:rPr sz="1600" spc="15" dirty="0">
                <a:latin typeface="Arial Narrow" panose="020B0606020202030204" pitchFamily="34" charset="0"/>
                <a:cs typeface="Arial MT"/>
              </a:rPr>
              <a:t> </a:t>
            </a:r>
            <a:r>
              <a:rPr sz="1600" spc="-5" dirty="0">
                <a:latin typeface="Arial Narrow" panose="020B0606020202030204" pitchFamily="34" charset="0"/>
                <a:cs typeface="Arial MT"/>
              </a:rPr>
              <a:t>Electric </a:t>
            </a:r>
            <a:r>
              <a:rPr sz="1600" spc="-265" dirty="0">
                <a:latin typeface="Arial Narrow" panose="020B0606020202030204" pitchFamily="34" charset="0"/>
                <a:cs typeface="Arial MT"/>
              </a:rPr>
              <a:t> </a:t>
            </a:r>
            <a:r>
              <a:rPr sz="1600" spc="-5" dirty="0">
                <a:latin typeface="Arial Narrow" panose="020B0606020202030204" pitchFamily="34" charset="0"/>
                <a:cs typeface="Arial MT"/>
              </a:rPr>
              <a:t>Arc</a:t>
            </a:r>
            <a:r>
              <a:rPr sz="1600" dirty="0">
                <a:latin typeface="Arial Narrow" panose="020B0606020202030204" pitchFamily="34" charset="0"/>
                <a:cs typeface="Arial MT"/>
              </a:rPr>
              <a:t> </a:t>
            </a:r>
            <a:r>
              <a:rPr sz="1600" spc="-5" dirty="0">
                <a:latin typeface="Arial Narrow" panose="020B0606020202030204" pitchFamily="34" charset="0"/>
                <a:cs typeface="Arial MT"/>
              </a:rPr>
              <a:t>Furnace</a:t>
            </a:r>
            <a:r>
              <a:rPr lang="en-US" sz="1600" spc="-5" dirty="0">
                <a:latin typeface="Arial Narrow" panose="020B0606020202030204" pitchFamily="34" charset="0"/>
                <a:cs typeface="Arial MT"/>
              </a:rPr>
              <a:t>, BF: Blast Furnace, NG: Natural Gas, BF: Blast Furnace</a:t>
            </a:r>
            <a:endParaRPr sz="1600" dirty="0">
              <a:latin typeface="Arial Narrow" panose="020B0606020202030204" pitchFamily="34" charset="0"/>
              <a:cs typeface="Arial MT"/>
            </a:endParaRPr>
          </a:p>
        </p:txBody>
      </p:sp>
      <p:grpSp>
        <p:nvGrpSpPr>
          <p:cNvPr id="55" name="object 9">
            <a:extLst>
              <a:ext uri="{FF2B5EF4-FFF2-40B4-BE49-F238E27FC236}">
                <a16:creationId xmlns:a16="http://schemas.microsoft.com/office/drawing/2014/main" id="{CE71FFBE-6A6C-4E1F-919D-F29EB242EAA9}"/>
              </a:ext>
            </a:extLst>
          </p:cNvPr>
          <p:cNvGrpSpPr/>
          <p:nvPr/>
        </p:nvGrpSpPr>
        <p:grpSpPr>
          <a:xfrm>
            <a:off x="11127152" y="1687072"/>
            <a:ext cx="2957282" cy="5622712"/>
            <a:chOff x="9697603" y="998761"/>
            <a:chExt cx="2196465" cy="5165946"/>
          </a:xfrm>
        </p:grpSpPr>
        <p:sp>
          <p:nvSpPr>
            <p:cNvPr id="56" name="object 10">
              <a:extLst>
                <a:ext uri="{FF2B5EF4-FFF2-40B4-BE49-F238E27FC236}">
                  <a16:creationId xmlns:a16="http://schemas.microsoft.com/office/drawing/2014/main" id="{CF37D893-C075-4A13-BB09-8DCD66984F12}"/>
                </a:ext>
              </a:extLst>
            </p:cNvPr>
            <p:cNvSpPr/>
            <p:nvPr/>
          </p:nvSpPr>
          <p:spPr>
            <a:xfrm>
              <a:off x="9710927" y="1719072"/>
              <a:ext cx="2039620" cy="4445635"/>
            </a:xfrm>
            <a:custGeom>
              <a:avLst/>
              <a:gdLst/>
              <a:ahLst/>
              <a:cxnLst/>
              <a:rect l="l" t="t" r="r" b="b"/>
              <a:pathLst>
                <a:path w="2039620" h="4445635">
                  <a:moveTo>
                    <a:pt x="2039112" y="0"/>
                  </a:moveTo>
                  <a:lnTo>
                    <a:pt x="0" y="0"/>
                  </a:lnTo>
                  <a:lnTo>
                    <a:pt x="0" y="4445508"/>
                  </a:lnTo>
                  <a:lnTo>
                    <a:pt x="2039112" y="4445508"/>
                  </a:lnTo>
                  <a:lnTo>
                    <a:pt x="2039112" y="0"/>
                  </a:lnTo>
                  <a:close/>
                </a:path>
              </a:pathLst>
            </a:custGeom>
            <a:solidFill>
              <a:srgbClr val="E6E6E6">
                <a:alpha val="56077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7" name="object 11">
              <a:extLst>
                <a:ext uri="{FF2B5EF4-FFF2-40B4-BE49-F238E27FC236}">
                  <a16:creationId xmlns:a16="http://schemas.microsoft.com/office/drawing/2014/main" id="{228F17D9-AFED-47BF-A9BC-59C9BBB75FAF}"/>
                </a:ext>
              </a:extLst>
            </p:cNvPr>
            <p:cNvSpPr/>
            <p:nvPr/>
          </p:nvSpPr>
          <p:spPr>
            <a:xfrm>
              <a:off x="9697603" y="998761"/>
              <a:ext cx="2196465" cy="448309"/>
            </a:xfrm>
            <a:custGeom>
              <a:avLst/>
              <a:gdLst/>
              <a:ahLst/>
              <a:cxnLst/>
              <a:rect l="l" t="t" r="r" b="b"/>
              <a:pathLst>
                <a:path w="2196465" h="448310">
                  <a:moveTo>
                    <a:pt x="1972055" y="0"/>
                  </a:moveTo>
                  <a:lnTo>
                    <a:pt x="224027" y="0"/>
                  </a:lnTo>
                  <a:lnTo>
                    <a:pt x="178886" y="4552"/>
                  </a:lnTo>
                  <a:lnTo>
                    <a:pt x="136838" y="17609"/>
                  </a:lnTo>
                  <a:lnTo>
                    <a:pt x="98784" y="38268"/>
                  </a:lnTo>
                  <a:lnTo>
                    <a:pt x="65627" y="65627"/>
                  </a:lnTo>
                  <a:lnTo>
                    <a:pt x="38268" y="98784"/>
                  </a:lnTo>
                  <a:lnTo>
                    <a:pt x="17609" y="136838"/>
                  </a:lnTo>
                  <a:lnTo>
                    <a:pt x="4552" y="178886"/>
                  </a:lnTo>
                  <a:lnTo>
                    <a:pt x="0" y="224027"/>
                  </a:lnTo>
                  <a:lnTo>
                    <a:pt x="4552" y="269169"/>
                  </a:lnTo>
                  <a:lnTo>
                    <a:pt x="17609" y="311217"/>
                  </a:lnTo>
                  <a:lnTo>
                    <a:pt x="38268" y="349271"/>
                  </a:lnTo>
                  <a:lnTo>
                    <a:pt x="65627" y="382428"/>
                  </a:lnTo>
                  <a:lnTo>
                    <a:pt x="98784" y="409787"/>
                  </a:lnTo>
                  <a:lnTo>
                    <a:pt x="136838" y="430446"/>
                  </a:lnTo>
                  <a:lnTo>
                    <a:pt x="178886" y="443503"/>
                  </a:lnTo>
                  <a:lnTo>
                    <a:pt x="224027" y="448056"/>
                  </a:lnTo>
                  <a:lnTo>
                    <a:pt x="1972055" y="448056"/>
                  </a:lnTo>
                  <a:lnTo>
                    <a:pt x="2017197" y="443503"/>
                  </a:lnTo>
                  <a:lnTo>
                    <a:pt x="2059245" y="430446"/>
                  </a:lnTo>
                  <a:lnTo>
                    <a:pt x="2097299" y="409787"/>
                  </a:lnTo>
                  <a:lnTo>
                    <a:pt x="2130456" y="382428"/>
                  </a:lnTo>
                  <a:lnTo>
                    <a:pt x="2157815" y="349271"/>
                  </a:lnTo>
                  <a:lnTo>
                    <a:pt x="2178474" y="311217"/>
                  </a:lnTo>
                  <a:lnTo>
                    <a:pt x="2191531" y="269169"/>
                  </a:lnTo>
                  <a:lnTo>
                    <a:pt x="2196083" y="224027"/>
                  </a:lnTo>
                  <a:lnTo>
                    <a:pt x="2191531" y="178886"/>
                  </a:lnTo>
                  <a:lnTo>
                    <a:pt x="2178474" y="136838"/>
                  </a:lnTo>
                  <a:lnTo>
                    <a:pt x="2157815" y="98784"/>
                  </a:lnTo>
                  <a:lnTo>
                    <a:pt x="2130456" y="65627"/>
                  </a:lnTo>
                  <a:lnTo>
                    <a:pt x="2097299" y="38268"/>
                  </a:lnTo>
                  <a:lnTo>
                    <a:pt x="2059245" y="17609"/>
                  </a:lnTo>
                  <a:lnTo>
                    <a:pt x="2017197" y="4552"/>
                  </a:lnTo>
                  <a:lnTo>
                    <a:pt x="1972055" y="0"/>
                  </a:lnTo>
                  <a:close/>
                </a:path>
              </a:pathLst>
            </a:custGeom>
            <a:solidFill>
              <a:srgbClr val="5A235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8" name="object 12">
            <a:extLst>
              <a:ext uri="{FF2B5EF4-FFF2-40B4-BE49-F238E27FC236}">
                <a16:creationId xmlns:a16="http://schemas.microsoft.com/office/drawing/2014/main" id="{097E1662-2839-42D4-A69A-3E3A82491EE0}"/>
              </a:ext>
            </a:extLst>
          </p:cNvPr>
          <p:cNvSpPr/>
          <p:nvPr/>
        </p:nvSpPr>
        <p:spPr>
          <a:xfrm>
            <a:off x="1347466" y="1662207"/>
            <a:ext cx="2574096" cy="494880"/>
          </a:xfrm>
          <a:custGeom>
            <a:avLst/>
            <a:gdLst/>
            <a:ahLst/>
            <a:cxnLst/>
            <a:rect l="l" t="t" r="r" b="b"/>
            <a:pathLst>
              <a:path w="2242185" h="448310">
                <a:moveTo>
                  <a:pt x="2017776" y="0"/>
                </a:moveTo>
                <a:lnTo>
                  <a:pt x="224028" y="0"/>
                </a:lnTo>
                <a:lnTo>
                  <a:pt x="178886" y="4552"/>
                </a:lnTo>
                <a:lnTo>
                  <a:pt x="136838" y="17609"/>
                </a:lnTo>
                <a:lnTo>
                  <a:pt x="98784" y="38268"/>
                </a:lnTo>
                <a:lnTo>
                  <a:pt x="65627" y="65627"/>
                </a:lnTo>
                <a:lnTo>
                  <a:pt x="38268" y="98784"/>
                </a:lnTo>
                <a:lnTo>
                  <a:pt x="17609" y="136838"/>
                </a:lnTo>
                <a:lnTo>
                  <a:pt x="4552" y="178886"/>
                </a:lnTo>
                <a:lnTo>
                  <a:pt x="0" y="224027"/>
                </a:lnTo>
                <a:lnTo>
                  <a:pt x="4552" y="269169"/>
                </a:lnTo>
                <a:lnTo>
                  <a:pt x="17609" y="311217"/>
                </a:lnTo>
                <a:lnTo>
                  <a:pt x="38268" y="349271"/>
                </a:lnTo>
                <a:lnTo>
                  <a:pt x="65627" y="382428"/>
                </a:lnTo>
                <a:lnTo>
                  <a:pt x="98784" y="409787"/>
                </a:lnTo>
                <a:lnTo>
                  <a:pt x="136838" y="430446"/>
                </a:lnTo>
                <a:lnTo>
                  <a:pt x="178886" y="443503"/>
                </a:lnTo>
                <a:lnTo>
                  <a:pt x="224028" y="448056"/>
                </a:lnTo>
                <a:lnTo>
                  <a:pt x="2017776" y="448056"/>
                </a:lnTo>
                <a:lnTo>
                  <a:pt x="2062917" y="443503"/>
                </a:lnTo>
                <a:lnTo>
                  <a:pt x="2104965" y="430446"/>
                </a:lnTo>
                <a:lnTo>
                  <a:pt x="2143019" y="409787"/>
                </a:lnTo>
                <a:lnTo>
                  <a:pt x="2176176" y="382428"/>
                </a:lnTo>
                <a:lnTo>
                  <a:pt x="2203535" y="349271"/>
                </a:lnTo>
                <a:lnTo>
                  <a:pt x="2224194" y="311217"/>
                </a:lnTo>
                <a:lnTo>
                  <a:pt x="2237251" y="269169"/>
                </a:lnTo>
                <a:lnTo>
                  <a:pt x="2241804" y="224027"/>
                </a:lnTo>
                <a:lnTo>
                  <a:pt x="2237251" y="178886"/>
                </a:lnTo>
                <a:lnTo>
                  <a:pt x="2224194" y="136838"/>
                </a:lnTo>
                <a:lnTo>
                  <a:pt x="2203535" y="98784"/>
                </a:lnTo>
                <a:lnTo>
                  <a:pt x="2176176" y="65627"/>
                </a:lnTo>
                <a:lnTo>
                  <a:pt x="2143019" y="38268"/>
                </a:lnTo>
                <a:lnTo>
                  <a:pt x="2104965" y="17609"/>
                </a:lnTo>
                <a:lnTo>
                  <a:pt x="2062917" y="4552"/>
                </a:lnTo>
                <a:lnTo>
                  <a:pt x="2017776" y="0"/>
                </a:lnTo>
                <a:close/>
              </a:path>
            </a:pathLst>
          </a:custGeom>
          <a:solidFill>
            <a:srgbClr val="3C7DD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9" name="object 13">
            <a:extLst>
              <a:ext uri="{FF2B5EF4-FFF2-40B4-BE49-F238E27FC236}">
                <a16:creationId xmlns:a16="http://schemas.microsoft.com/office/drawing/2014/main" id="{8246FF83-BCF5-4327-89A8-A9AC4D269DD4}"/>
              </a:ext>
            </a:extLst>
          </p:cNvPr>
          <p:cNvSpPr txBox="1"/>
          <p:nvPr/>
        </p:nvSpPr>
        <p:spPr>
          <a:xfrm>
            <a:off x="1849464" y="1755993"/>
            <a:ext cx="1962520" cy="3206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000" b="1" spc="-5" dirty="0">
                <a:solidFill>
                  <a:srgbClr val="FFFFFF"/>
                </a:solidFill>
                <a:latin typeface="Arial"/>
                <a:cs typeface="Arial"/>
              </a:rPr>
              <a:t>Key</a:t>
            </a:r>
            <a:r>
              <a:rPr sz="2000" b="1" spc="-5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2000" b="1" spc="-5" dirty="0">
                <a:solidFill>
                  <a:srgbClr val="FFFFFF"/>
                </a:solidFill>
                <a:latin typeface="Arial"/>
                <a:cs typeface="Arial"/>
              </a:rPr>
              <a:t>Enablers</a:t>
            </a:r>
            <a:endParaRPr sz="2000" dirty="0">
              <a:latin typeface="Arial"/>
              <a:cs typeface="Arial"/>
            </a:endParaRPr>
          </a:p>
        </p:txBody>
      </p:sp>
      <p:sp>
        <p:nvSpPr>
          <p:cNvPr id="60" name="object 14">
            <a:extLst>
              <a:ext uri="{FF2B5EF4-FFF2-40B4-BE49-F238E27FC236}">
                <a16:creationId xmlns:a16="http://schemas.microsoft.com/office/drawing/2014/main" id="{10CD3505-6F30-495A-9D30-9308C266A22B}"/>
              </a:ext>
            </a:extLst>
          </p:cNvPr>
          <p:cNvSpPr txBox="1"/>
          <p:nvPr/>
        </p:nvSpPr>
        <p:spPr>
          <a:xfrm>
            <a:off x="1878899" y="2681447"/>
            <a:ext cx="1736856" cy="290464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800" dirty="0">
                <a:latin typeface="Arial MT"/>
                <a:cs typeface="Arial MT"/>
              </a:rPr>
              <a:t>Adoption</a:t>
            </a:r>
            <a:r>
              <a:rPr sz="1800" spc="-65" dirty="0">
                <a:latin typeface="Arial MT"/>
                <a:cs typeface="Arial MT"/>
              </a:rPr>
              <a:t> </a:t>
            </a:r>
            <a:r>
              <a:rPr sz="1800" dirty="0">
                <a:latin typeface="Arial MT"/>
                <a:cs typeface="Arial MT"/>
              </a:rPr>
              <a:t>of</a:t>
            </a:r>
            <a:r>
              <a:rPr sz="1800" spc="-50" dirty="0">
                <a:latin typeface="Arial MT"/>
                <a:cs typeface="Arial MT"/>
              </a:rPr>
              <a:t> </a:t>
            </a:r>
            <a:r>
              <a:rPr sz="1800" spc="-35" dirty="0">
                <a:latin typeface="Arial MT"/>
                <a:cs typeface="Arial MT"/>
              </a:rPr>
              <a:t>BAT</a:t>
            </a:r>
            <a:endParaRPr sz="1800" dirty="0">
              <a:latin typeface="Arial MT"/>
              <a:cs typeface="Arial MT"/>
            </a:endParaRPr>
          </a:p>
        </p:txBody>
      </p:sp>
      <p:sp>
        <p:nvSpPr>
          <p:cNvPr id="61" name="object 15">
            <a:extLst>
              <a:ext uri="{FF2B5EF4-FFF2-40B4-BE49-F238E27FC236}">
                <a16:creationId xmlns:a16="http://schemas.microsoft.com/office/drawing/2014/main" id="{C0F33498-2617-467A-997F-D62047639B6C}"/>
              </a:ext>
            </a:extLst>
          </p:cNvPr>
          <p:cNvSpPr txBox="1"/>
          <p:nvPr/>
        </p:nvSpPr>
        <p:spPr>
          <a:xfrm>
            <a:off x="1591869" y="3149314"/>
            <a:ext cx="2304820" cy="290464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800" spc="-5" dirty="0">
                <a:latin typeface="Arial MT"/>
                <a:cs typeface="Arial MT"/>
              </a:rPr>
              <a:t>Maximizing</a:t>
            </a:r>
            <a:r>
              <a:rPr sz="1800" spc="-35" dirty="0">
                <a:latin typeface="Arial MT"/>
                <a:cs typeface="Arial MT"/>
              </a:rPr>
              <a:t> </a:t>
            </a:r>
            <a:r>
              <a:rPr sz="1800" dirty="0">
                <a:latin typeface="Arial MT"/>
                <a:cs typeface="Arial MT"/>
              </a:rPr>
              <a:t>scrap</a:t>
            </a:r>
            <a:r>
              <a:rPr sz="1800" spc="-70" dirty="0">
                <a:latin typeface="Arial MT"/>
                <a:cs typeface="Arial MT"/>
              </a:rPr>
              <a:t> </a:t>
            </a:r>
            <a:r>
              <a:rPr sz="1800" dirty="0">
                <a:latin typeface="Arial MT"/>
                <a:cs typeface="Arial MT"/>
              </a:rPr>
              <a:t>use</a:t>
            </a:r>
          </a:p>
        </p:txBody>
      </p:sp>
      <p:sp>
        <p:nvSpPr>
          <p:cNvPr id="62" name="object 16">
            <a:extLst>
              <a:ext uri="{FF2B5EF4-FFF2-40B4-BE49-F238E27FC236}">
                <a16:creationId xmlns:a16="http://schemas.microsoft.com/office/drawing/2014/main" id="{0218295C-E36D-4983-81C2-08C85A257037}"/>
              </a:ext>
            </a:extLst>
          </p:cNvPr>
          <p:cNvSpPr txBox="1"/>
          <p:nvPr/>
        </p:nvSpPr>
        <p:spPr>
          <a:xfrm>
            <a:off x="1664389" y="4114800"/>
            <a:ext cx="2162829" cy="567463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297815" marR="5080" indent="-285750">
              <a:lnSpc>
                <a:spcPct val="100000"/>
              </a:lnSpc>
              <a:spcBef>
                <a:spcPts val="105"/>
              </a:spcBef>
            </a:pPr>
            <a:r>
              <a:rPr sz="1800" spc="-5" dirty="0">
                <a:latin typeface="Arial MT"/>
                <a:cs typeface="Arial MT"/>
              </a:rPr>
              <a:t>Raw</a:t>
            </a:r>
            <a:r>
              <a:rPr sz="1800" spc="-45" dirty="0">
                <a:latin typeface="Arial MT"/>
                <a:cs typeface="Arial MT"/>
              </a:rPr>
              <a:t> </a:t>
            </a:r>
            <a:r>
              <a:rPr sz="1800" dirty="0">
                <a:latin typeface="Arial MT"/>
                <a:cs typeface="Arial MT"/>
              </a:rPr>
              <a:t>material</a:t>
            </a:r>
            <a:r>
              <a:rPr sz="1800" spc="-75" dirty="0">
                <a:latin typeface="Arial MT"/>
                <a:cs typeface="Arial MT"/>
              </a:rPr>
              <a:t> </a:t>
            </a:r>
            <a:r>
              <a:rPr sz="1800" dirty="0">
                <a:latin typeface="Arial MT"/>
                <a:cs typeface="Arial MT"/>
              </a:rPr>
              <a:t>quality </a:t>
            </a:r>
            <a:r>
              <a:rPr sz="1800" spc="-375" dirty="0">
                <a:latin typeface="Arial MT"/>
                <a:cs typeface="Arial MT"/>
              </a:rPr>
              <a:t> </a:t>
            </a:r>
            <a:r>
              <a:rPr sz="1800" spc="-5" dirty="0">
                <a:latin typeface="Arial MT"/>
                <a:cs typeface="Arial MT"/>
              </a:rPr>
              <a:t>improvement</a:t>
            </a:r>
            <a:endParaRPr sz="1800" dirty="0">
              <a:latin typeface="Arial MT"/>
              <a:cs typeface="Arial MT"/>
            </a:endParaRPr>
          </a:p>
        </p:txBody>
      </p:sp>
      <p:sp>
        <p:nvSpPr>
          <p:cNvPr id="63" name="object 17">
            <a:extLst>
              <a:ext uri="{FF2B5EF4-FFF2-40B4-BE49-F238E27FC236}">
                <a16:creationId xmlns:a16="http://schemas.microsoft.com/office/drawing/2014/main" id="{37F8E6C2-0E0F-4368-AC88-209C969C686D}"/>
              </a:ext>
            </a:extLst>
          </p:cNvPr>
          <p:cNvSpPr txBox="1"/>
          <p:nvPr/>
        </p:nvSpPr>
        <p:spPr>
          <a:xfrm>
            <a:off x="1542474" y="4794758"/>
            <a:ext cx="2407931" cy="290464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800" spc="-5" dirty="0">
                <a:latin typeface="Arial MT"/>
                <a:cs typeface="Arial MT"/>
              </a:rPr>
              <a:t>Greening</a:t>
            </a:r>
            <a:r>
              <a:rPr sz="1800" spc="-65" dirty="0">
                <a:latin typeface="Arial MT"/>
                <a:cs typeface="Arial MT"/>
              </a:rPr>
              <a:t> </a:t>
            </a:r>
            <a:r>
              <a:rPr sz="1800" spc="-5" dirty="0">
                <a:latin typeface="Arial MT"/>
                <a:cs typeface="Arial MT"/>
              </a:rPr>
              <a:t>of</a:t>
            </a:r>
            <a:r>
              <a:rPr sz="1800" spc="-25" dirty="0">
                <a:latin typeface="Arial MT"/>
                <a:cs typeface="Arial MT"/>
              </a:rPr>
              <a:t> </a:t>
            </a:r>
            <a:r>
              <a:rPr sz="1800" spc="-5" dirty="0">
                <a:latin typeface="Arial MT"/>
                <a:cs typeface="Arial MT"/>
              </a:rPr>
              <a:t>power</a:t>
            </a:r>
            <a:r>
              <a:rPr sz="1800" spc="-30" dirty="0">
                <a:latin typeface="Arial MT"/>
                <a:cs typeface="Arial MT"/>
              </a:rPr>
              <a:t> </a:t>
            </a:r>
            <a:r>
              <a:rPr sz="1800" spc="-5" dirty="0">
                <a:latin typeface="Arial MT"/>
                <a:cs typeface="Arial MT"/>
              </a:rPr>
              <a:t>mix</a:t>
            </a:r>
            <a:endParaRPr sz="1800" dirty="0">
              <a:latin typeface="Arial MT"/>
              <a:cs typeface="Arial MT"/>
            </a:endParaRPr>
          </a:p>
        </p:txBody>
      </p:sp>
      <p:sp>
        <p:nvSpPr>
          <p:cNvPr id="64" name="object 18">
            <a:extLst>
              <a:ext uri="{FF2B5EF4-FFF2-40B4-BE49-F238E27FC236}">
                <a16:creationId xmlns:a16="http://schemas.microsoft.com/office/drawing/2014/main" id="{309DEC65-DAE9-4B97-9154-11AA4D4C36CD}"/>
              </a:ext>
            </a:extLst>
          </p:cNvPr>
          <p:cNvSpPr txBox="1"/>
          <p:nvPr/>
        </p:nvSpPr>
        <p:spPr>
          <a:xfrm>
            <a:off x="1736859" y="6336818"/>
            <a:ext cx="2133247" cy="85664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58445" marR="5080" indent="-245745">
              <a:lnSpc>
                <a:spcPct val="100000"/>
              </a:lnSpc>
              <a:spcBef>
                <a:spcPts val="100"/>
              </a:spcBef>
            </a:pPr>
            <a:r>
              <a:rPr sz="1800" dirty="0">
                <a:latin typeface="Arial MT"/>
                <a:cs typeface="Arial MT"/>
              </a:rPr>
              <a:t>Scrap</a:t>
            </a:r>
            <a:r>
              <a:rPr sz="1800" spc="-60" dirty="0">
                <a:latin typeface="Arial MT"/>
                <a:cs typeface="Arial MT"/>
              </a:rPr>
              <a:t> </a:t>
            </a:r>
            <a:r>
              <a:rPr sz="1800" dirty="0">
                <a:latin typeface="Arial MT"/>
                <a:cs typeface="Arial MT"/>
              </a:rPr>
              <a:t>based</a:t>
            </a:r>
            <a:r>
              <a:rPr sz="1800" spc="-60" dirty="0">
                <a:latin typeface="Arial MT"/>
                <a:cs typeface="Arial MT"/>
              </a:rPr>
              <a:t> </a:t>
            </a:r>
            <a:r>
              <a:rPr sz="1800" spc="-5" dirty="0">
                <a:latin typeface="Arial MT"/>
                <a:cs typeface="Arial MT"/>
              </a:rPr>
              <a:t>growth </a:t>
            </a:r>
            <a:r>
              <a:rPr sz="1800" spc="-375" dirty="0">
                <a:latin typeface="Arial MT"/>
                <a:cs typeface="Arial MT"/>
              </a:rPr>
              <a:t> </a:t>
            </a:r>
            <a:r>
              <a:rPr sz="1800" dirty="0">
                <a:latin typeface="Arial MT"/>
                <a:cs typeface="Arial MT"/>
              </a:rPr>
              <a:t>(EAF)</a:t>
            </a:r>
            <a:r>
              <a:rPr sz="1800" spc="-35" dirty="0">
                <a:latin typeface="Arial MT"/>
                <a:cs typeface="Arial MT"/>
              </a:rPr>
              <a:t> </a:t>
            </a:r>
            <a:r>
              <a:rPr sz="1800" dirty="0">
                <a:latin typeface="Arial MT"/>
                <a:cs typeface="Arial MT"/>
              </a:rPr>
              <a:t>in</a:t>
            </a:r>
            <a:r>
              <a:rPr sz="1800" spc="-20" dirty="0">
                <a:latin typeface="Arial MT"/>
                <a:cs typeface="Arial MT"/>
              </a:rPr>
              <a:t> </a:t>
            </a:r>
            <a:r>
              <a:rPr sz="1800" dirty="0">
                <a:latin typeface="Arial MT"/>
                <a:cs typeface="Arial MT"/>
              </a:rPr>
              <a:t>India</a:t>
            </a:r>
            <a:endParaRPr lang="en-US" sz="1800" dirty="0">
              <a:latin typeface="Arial MT"/>
              <a:cs typeface="Arial MT"/>
            </a:endParaRPr>
          </a:p>
          <a:p>
            <a:pPr marL="258445" marR="5080" indent="-245745">
              <a:lnSpc>
                <a:spcPct val="100000"/>
              </a:lnSpc>
              <a:spcBef>
                <a:spcPts val="100"/>
              </a:spcBef>
            </a:pPr>
            <a:endParaRPr sz="1800" dirty="0">
              <a:latin typeface="Arial MT"/>
              <a:cs typeface="Arial MT"/>
            </a:endParaRPr>
          </a:p>
        </p:txBody>
      </p:sp>
      <p:sp>
        <p:nvSpPr>
          <p:cNvPr id="65" name="object 19">
            <a:extLst>
              <a:ext uri="{FF2B5EF4-FFF2-40B4-BE49-F238E27FC236}">
                <a16:creationId xmlns:a16="http://schemas.microsoft.com/office/drawing/2014/main" id="{CE165E6D-6742-4B37-9D89-A679A0EDF16C}"/>
              </a:ext>
            </a:extLst>
          </p:cNvPr>
          <p:cNvSpPr txBox="1"/>
          <p:nvPr/>
        </p:nvSpPr>
        <p:spPr>
          <a:xfrm>
            <a:off x="1534655" y="5257800"/>
            <a:ext cx="2423146" cy="844462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5080" indent="-1270" algn="ctr">
              <a:lnSpc>
                <a:spcPct val="100000"/>
              </a:lnSpc>
              <a:spcBef>
                <a:spcPts val="105"/>
              </a:spcBef>
            </a:pPr>
            <a:r>
              <a:rPr lang="en-US" sz="1800" dirty="0">
                <a:latin typeface="Arial MT"/>
                <a:cs typeface="Arial MT"/>
              </a:rPr>
              <a:t>Reconfiguration of assets – NG/H2 based DRI, </a:t>
            </a:r>
            <a:r>
              <a:rPr lang="en-US" sz="1800" dirty="0" err="1">
                <a:latin typeface="Arial MT"/>
                <a:cs typeface="Arial MT"/>
              </a:rPr>
              <a:t>Hisarna</a:t>
            </a:r>
            <a:r>
              <a:rPr lang="en-US" sz="1800" dirty="0">
                <a:latin typeface="Arial MT"/>
                <a:cs typeface="Arial MT"/>
              </a:rPr>
              <a:t> &amp; CCU/S</a:t>
            </a:r>
            <a:endParaRPr sz="1800" dirty="0">
              <a:latin typeface="Arial MT"/>
              <a:cs typeface="Arial MT"/>
            </a:endParaRPr>
          </a:p>
        </p:txBody>
      </p:sp>
      <p:sp>
        <p:nvSpPr>
          <p:cNvPr id="66" name="object 20">
            <a:extLst>
              <a:ext uri="{FF2B5EF4-FFF2-40B4-BE49-F238E27FC236}">
                <a16:creationId xmlns:a16="http://schemas.microsoft.com/office/drawing/2014/main" id="{34A9CF74-B0A0-4388-967D-5CCD994BFDA1}"/>
              </a:ext>
            </a:extLst>
          </p:cNvPr>
          <p:cNvSpPr/>
          <p:nvPr/>
        </p:nvSpPr>
        <p:spPr>
          <a:xfrm>
            <a:off x="1443247" y="2994629"/>
            <a:ext cx="2558377" cy="0"/>
          </a:xfrm>
          <a:custGeom>
            <a:avLst/>
            <a:gdLst/>
            <a:ahLst/>
            <a:cxnLst/>
            <a:rect l="l" t="t" r="r" b="b"/>
            <a:pathLst>
              <a:path w="1922145">
                <a:moveTo>
                  <a:pt x="0" y="0"/>
                </a:moveTo>
                <a:lnTo>
                  <a:pt x="1921764" y="0"/>
                </a:lnTo>
              </a:path>
            </a:pathLst>
          </a:custGeom>
          <a:ln w="3175">
            <a:solidFill>
              <a:srgbClr val="A6A6A6"/>
            </a:solidFill>
            <a:prstDash val="sysDot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7" name="object 21">
            <a:extLst>
              <a:ext uri="{FF2B5EF4-FFF2-40B4-BE49-F238E27FC236}">
                <a16:creationId xmlns:a16="http://schemas.microsoft.com/office/drawing/2014/main" id="{43BDF6C8-DE47-4F52-AB76-AAAAFC700692}"/>
              </a:ext>
            </a:extLst>
          </p:cNvPr>
          <p:cNvSpPr/>
          <p:nvPr/>
        </p:nvSpPr>
        <p:spPr>
          <a:xfrm>
            <a:off x="1443247" y="3492976"/>
            <a:ext cx="2558377" cy="0"/>
          </a:xfrm>
          <a:custGeom>
            <a:avLst/>
            <a:gdLst/>
            <a:ahLst/>
            <a:cxnLst/>
            <a:rect l="l" t="t" r="r" b="b"/>
            <a:pathLst>
              <a:path w="1922145">
                <a:moveTo>
                  <a:pt x="0" y="0"/>
                </a:moveTo>
                <a:lnTo>
                  <a:pt x="1921764" y="0"/>
                </a:lnTo>
              </a:path>
            </a:pathLst>
          </a:custGeom>
          <a:ln w="3175">
            <a:solidFill>
              <a:srgbClr val="A6A6A6"/>
            </a:solidFill>
            <a:prstDash val="sysDot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8" name="object 22">
            <a:extLst>
              <a:ext uri="{FF2B5EF4-FFF2-40B4-BE49-F238E27FC236}">
                <a16:creationId xmlns:a16="http://schemas.microsoft.com/office/drawing/2014/main" id="{2272415B-FE22-4FC7-B95A-2F83C58AAF6B}"/>
              </a:ext>
            </a:extLst>
          </p:cNvPr>
          <p:cNvSpPr/>
          <p:nvPr/>
        </p:nvSpPr>
        <p:spPr>
          <a:xfrm>
            <a:off x="1443247" y="4146772"/>
            <a:ext cx="2558377" cy="0"/>
          </a:xfrm>
          <a:custGeom>
            <a:avLst/>
            <a:gdLst/>
            <a:ahLst/>
            <a:cxnLst/>
            <a:rect l="l" t="t" r="r" b="b"/>
            <a:pathLst>
              <a:path w="1922145">
                <a:moveTo>
                  <a:pt x="0" y="0"/>
                </a:moveTo>
                <a:lnTo>
                  <a:pt x="1921764" y="0"/>
                </a:lnTo>
              </a:path>
            </a:pathLst>
          </a:custGeom>
          <a:ln w="3175">
            <a:solidFill>
              <a:srgbClr val="A6A6A6"/>
            </a:solidFill>
            <a:prstDash val="sysDot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9" name="object 23">
            <a:extLst>
              <a:ext uri="{FF2B5EF4-FFF2-40B4-BE49-F238E27FC236}">
                <a16:creationId xmlns:a16="http://schemas.microsoft.com/office/drawing/2014/main" id="{C7DA405F-F1C9-463B-9335-D5C46A26E711}"/>
              </a:ext>
            </a:extLst>
          </p:cNvPr>
          <p:cNvSpPr/>
          <p:nvPr/>
        </p:nvSpPr>
        <p:spPr>
          <a:xfrm>
            <a:off x="1443247" y="4724400"/>
            <a:ext cx="2558377" cy="0"/>
          </a:xfrm>
          <a:custGeom>
            <a:avLst/>
            <a:gdLst/>
            <a:ahLst/>
            <a:cxnLst/>
            <a:rect l="l" t="t" r="r" b="b"/>
            <a:pathLst>
              <a:path w="1922145">
                <a:moveTo>
                  <a:pt x="0" y="0"/>
                </a:moveTo>
                <a:lnTo>
                  <a:pt x="1921764" y="0"/>
                </a:lnTo>
              </a:path>
            </a:pathLst>
          </a:custGeom>
          <a:ln w="3175">
            <a:solidFill>
              <a:srgbClr val="A6A6A6"/>
            </a:solidFill>
            <a:prstDash val="sysDot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0" name="object 24">
            <a:extLst>
              <a:ext uri="{FF2B5EF4-FFF2-40B4-BE49-F238E27FC236}">
                <a16:creationId xmlns:a16="http://schemas.microsoft.com/office/drawing/2014/main" id="{90558179-57A5-4007-AA48-0FA0C6BE4E58}"/>
              </a:ext>
            </a:extLst>
          </p:cNvPr>
          <p:cNvSpPr/>
          <p:nvPr/>
        </p:nvSpPr>
        <p:spPr>
          <a:xfrm>
            <a:off x="1443247" y="5181600"/>
            <a:ext cx="2558377" cy="0"/>
          </a:xfrm>
          <a:custGeom>
            <a:avLst/>
            <a:gdLst/>
            <a:ahLst/>
            <a:cxnLst/>
            <a:rect l="l" t="t" r="r" b="b"/>
            <a:pathLst>
              <a:path w="1922145">
                <a:moveTo>
                  <a:pt x="0" y="0"/>
                </a:moveTo>
                <a:lnTo>
                  <a:pt x="1921764" y="0"/>
                </a:lnTo>
              </a:path>
            </a:pathLst>
          </a:custGeom>
          <a:ln w="3175">
            <a:solidFill>
              <a:srgbClr val="A6A6A6"/>
            </a:solidFill>
            <a:prstDash val="sysDot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1" name="object 25">
            <a:extLst>
              <a:ext uri="{FF2B5EF4-FFF2-40B4-BE49-F238E27FC236}">
                <a16:creationId xmlns:a16="http://schemas.microsoft.com/office/drawing/2014/main" id="{1D747DCD-1E89-4395-87A1-4A23FB13C5D0}"/>
              </a:ext>
            </a:extLst>
          </p:cNvPr>
          <p:cNvSpPr/>
          <p:nvPr/>
        </p:nvSpPr>
        <p:spPr>
          <a:xfrm>
            <a:off x="4424117" y="1636998"/>
            <a:ext cx="6378710" cy="520089"/>
          </a:xfrm>
          <a:custGeom>
            <a:avLst/>
            <a:gdLst/>
            <a:ahLst/>
            <a:cxnLst/>
            <a:rect l="l" t="t" r="r" b="b"/>
            <a:pathLst>
              <a:path w="5742940" h="448310">
                <a:moveTo>
                  <a:pt x="5518403" y="0"/>
                </a:moveTo>
                <a:lnTo>
                  <a:pt x="224027" y="0"/>
                </a:lnTo>
                <a:lnTo>
                  <a:pt x="178886" y="4552"/>
                </a:lnTo>
                <a:lnTo>
                  <a:pt x="136838" y="17609"/>
                </a:lnTo>
                <a:lnTo>
                  <a:pt x="98784" y="38268"/>
                </a:lnTo>
                <a:lnTo>
                  <a:pt x="65627" y="65627"/>
                </a:lnTo>
                <a:lnTo>
                  <a:pt x="38268" y="98784"/>
                </a:lnTo>
                <a:lnTo>
                  <a:pt x="17609" y="136838"/>
                </a:lnTo>
                <a:lnTo>
                  <a:pt x="4552" y="178886"/>
                </a:lnTo>
                <a:lnTo>
                  <a:pt x="0" y="224027"/>
                </a:lnTo>
                <a:lnTo>
                  <a:pt x="4552" y="269169"/>
                </a:lnTo>
                <a:lnTo>
                  <a:pt x="17609" y="311217"/>
                </a:lnTo>
                <a:lnTo>
                  <a:pt x="38268" y="349271"/>
                </a:lnTo>
                <a:lnTo>
                  <a:pt x="65627" y="382428"/>
                </a:lnTo>
                <a:lnTo>
                  <a:pt x="98784" y="409787"/>
                </a:lnTo>
                <a:lnTo>
                  <a:pt x="136838" y="430446"/>
                </a:lnTo>
                <a:lnTo>
                  <a:pt x="178886" y="443503"/>
                </a:lnTo>
                <a:lnTo>
                  <a:pt x="224027" y="448056"/>
                </a:lnTo>
                <a:lnTo>
                  <a:pt x="5518403" y="448056"/>
                </a:lnTo>
                <a:lnTo>
                  <a:pt x="5563545" y="443503"/>
                </a:lnTo>
                <a:lnTo>
                  <a:pt x="5605593" y="430446"/>
                </a:lnTo>
                <a:lnTo>
                  <a:pt x="5643647" y="409787"/>
                </a:lnTo>
                <a:lnTo>
                  <a:pt x="5676804" y="382428"/>
                </a:lnTo>
                <a:lnTo>
                  <a:pt x="5704163" y="349271"/>
                </a:lnTo>
                <a:lnTo>
                  <a:pt x="5724822" y="311217"/>
                </a:lnTo>
                <a:lnTo>
                  <a:pt x="5737879" y="269169"/>
                </a:lnTo>
                <a:lnTo>
                  <a:pt x="5742432" y="224027"/>
                </a:lnTo>
                <a:lnTo>
                  <a:pt x="5737879" y="178886"/>
                </a:lnTo>
                <a:lnTo>
                  <a:pt x="5724822" y="136838"/>
                </a:lnTo>
                <a:lnTo>
                  <a:pt x="5704163" y="98784"/>
                </a:lnTo>
                <a:lnTo>
                  <a:pt x="5676804" y="65627"/>
                </a:lnTo>
                <a:lnTo>
                  <a:pt x="5643647" y="38268"/>
                </a:lnTo>
                <a:lnTo>
                  <a:pt x="5605593" y="17609"/>
                </a:lnTo>
                <a:lnTo>
                  <a:pt x="5563545" y="4552"/>
                </a:lnTo>
                <a:lnTo>
                  <a:pt x="5518403" y="0"/>
                </a:lnTo>
                <a:close/>
              </a:path>
            </a:pathLst>
          </a:custGeom>
          <a:solidFill>
            <a:srgbClr val="34B13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2" name="object 26">
            <a:extLst>
              <a:ext uri="{FF2B5EF4-FFF2-40B4-BE49-F238E27FC236}">
                <a16:creationId xmlns:a16="http://schemas.microsoft.com/office/drawing/2014/main" id="{681EDAC5-B627-49FD-A262-3BE09B6BFB62}"/>
              </a:ext>
            </a:extLst>
          </p:cNvPr>
          <p:cNvSpPr txBox="1"/>
          <p:nvPr/>
        </p:nvSpPr>
        <p:spPr>
          <a:xfrm>
            <a:off x="5842855" y="1708675"/>
            <a:ext cx="4103374" cy="3206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000" b="1" spc="-5" dirty="0">
                <a:solidFill>
                  <a:srgbClr val="FFFFFF"/>
                </a:solidFill>
                <a:latin typeface="Arial"/>
                <a:cs typeface="Arial"/>
              </a:rPr>
              <a:t>Performance</a:t>
            </a:r>
            <a:r>
              <a:rPr sz="2000" b="1" spc="-15" dirty="0">
                <a:solidFill>
                  <a:srgbClr val="FFFFFF"/>
                </a:solidFill>
                <a:latin typeface="Arial"/>
                <a:cs typeface="Arial"/>
              </a:rPr>
              <a:t> Over</a:t>
            </a:r>
            <a:r>
              <a:rPr sz="2000" b="1" spc="2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rgbClr val="FFFFFF"/>
                </a:solidFill>
                <a:latin typeface="Arial"/>
                <a:cs typeface="Arial"/>
              </a:rPr>
              <a:t>the</a:t>
            </a:r>
            <a:r>
              <a:rPr sz="2000" b="1" spc="-5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2000" b="1" spc="-25" dirty="0">
                <a:solidFill>
                  <a:srgbClr val="FFFFFF"/>
                </a:solidFill>
                <a:latin typeface="Arial"/>
                <a:cs typeface="Arial"/>
              </a:rPr>
              <a:t>Years</a:t>
            </a:r>
            <a:endParaRPr sz="2000" dirty="0">
              <a:latin typeface="Arial"/>
              <a:cs typeface="Arial"/>
            </a:endParaRPr>
          </a:p>
        </p:txBody>
      </p:sp>
      <p:sp>
        <p:nvSpPr>
          <p:cNvPr id="73" name="object 29">
            <a:extLst>
              <a:ext uri="{FF2B5EF4-FFF2-40B4-BE49-F238E27FC236}">
                <a16:creationId xmlns:a16="http://schemas.microsoft.com/office/drawing/2014/main" id="{3045A4EA-F942-4E6E-AE87-2B35BA5F1DB8}"/>
              </a:ext>
            </a:extLst>
          </p:cNvPr>
          <p:cNvSpPr txBox="1"/>
          <p:nvPr/>
        </p:nvSpPr>
        <p:spPr>
          <a:xfrm>
            <a:off x="5203715" y="2318601"/>
            <a:ext cx="5504551" cy="25904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00"/>
              </a:spcBef>
            </a:pPr>
            <a:r>
              <a:rPr lang="en-US" sz="1600" spc="-5" dirty="0">
                <a:solidFill>
                  <a:srgbClr val="3C7DDB"/>
                </a:solidFill>
                <a:latin typeface="Arial MT"/>
                <a:cs typeface="Arial MT"/>
              </a:rPr>
              <a:t>Carbon</a:t>
            </a:r>
            <a:r>
              <a:rPr sz="1600" spc="-50" dirty="0">
                <a:solidFill>
                  <a:srgbClr val="3C7DDB"/>
                </a:solidFill>
                <a:latin typeface="Arial MT"/>
                <a:cs typeface="Arial MT"/>
              </a:rPr>
              <a:t> </a:t>
            </a:r>
            <a:r>
              <a:rPr sz="1600" dirty="0">
                <a:solidFill>
                  <a:srgbClr val="3C7DDB"/>
                </a:solidFill>
                <a:latin typeface="Arial MT"/>
                <a:cs typeface="Arial MT"/>
              </a:rPr>
              <a:t>Intensity</a:t>
            </a:r>
            <a:r>
              <a:rPr sz="1600" spc="-40" dirty="0">
                <a:solidFill>
                  <a:srgbClr val="3C7DDB"/>
                </a:solidFill>
                <a:latin typeface="Arial MT"/>
                <a:cs typeface="Arial MT"/>
              </a:rPr>
              <a:t> </a:t>
            </a:r>
            <a:r>
              <a:rPr sz="1600" dirty="0">
                <a:solidFill>
                  <a:srgbClr val="3C7DDB"/>
                </a:solidFill>
                <a:latin typeface="Arial MT"/>
                <a:cs typeface="Arial MT"/>
              </a:rPr>
              <a:t>(tCO</a:t>
            </a:r>
            <a:r>
              <a:rPr sz="1600" baseline="-20833" dirty="0">
                <a:solidFill>
                  <a:srgbClr val="3C7DDB"/>
                </a:solidFill>
                <a:latin typeface="Arial MT"/>
                <a:cs typeface="Arial MT"/>
              </a:rPr>
              <a:t>2</a:t>
            </a:r>
            <a:r>
              <a:rPr sz="1600" dirty="0">
                <a:solidFill>
                  <a:srgbClr val="3C7DDB"/>
                </a:solidFill>
                <a:latin typeface="Arial MT"/>
                <a:cs typeface="Arial MT"/>
              </a:rPr>
              <a:t>/tcs)</a:t>
            </a:r>
            <a:r>
              <a:rPr lang="en-US" sz="1600" dirty="0">
                <a:solidFill>
                  <a:srgbClr val="3C7DDB"/>
                </a:solidFill>
                <a:latin typeface="Arial MT"/>
                <a:cs typeface="Arial MT"/>
              </a:rPr>
              <a:t> of Tata Steel India Operations</a:t>
            </a:r>
            <a:endParaRPr sz="1600" dirty="0">
              <a:latin typeface="Arial MT"/>
              <a:cs typeface="Arial MT"/>
            </a:endParaRPr>
          </a:p>
        </p:txBody>
      </p:sp>
      <p:pic>
        <p:nvPicPr>
          <p:cNvPr id="74" name="object 30">
            <a:extLst>
              <a:ext uri="{FF2B5EF4-FFF2-40B4-BE49-F238E27FC236}">
                <a16:creationId xmlns:a16="http://schemas.microsoft.com/office/drawing/2014/main" id="{4FD57D5D-DD62-4F3D-B9A0-8D79A914D520}"/>
              </a:ext>
            </a:extLst>
          </p:cNvPr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10369841" y="2895600"/>
            <a:ext cx="259173" cy="325684"/>
          </a:xfrm>
          <a:prstGeom prst="rect">
            <a:avLst/>
          </a:prstGeom>
        </p:spPr>
      </p:pic>
      <p:sp>
        <p:nvSpPr>
          <p:cNvPr id="75" name="object 31">
            <a:extLst>
              <a:ext uri="{FF2B5EF4-FFF2-40B4-BE49-F238E27FC236}">
                <a16:creationId xmlns:a16="http://schemas.microsoft.com/office/drawing/2014/main" id="{3FD73688-23C8-44C4-ADCF-7609F1EE4BE6}"/>
              </a:ext>
            </a:extLst>
          </p:cNvPr>
          <p:cNvSpPr txBox="1"/>
          <p:nvPr/>
        </p:nvSpPr>
        <p:spPr>
          <a:xfrm>
            <a:off x="4345410" y="5395298"/>
            <a:ext cx="6940032" cy="194412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74650" lvl="0" indent="-285750" defTabSz="914360">
              <a:spcAft>
                <a:spcPts val="400"/>
              </a:spcAft>
              <a:buClr>
                <a:srgbClr val="FF0000"/>
              </a:buClr>
              <a:buFont typeface="Wingdings" panose="05000000000000000000" pitchFamily="2" charset="2"/>
              <a:buChar char="§"/>
              <a:defRPr/>
            </a:pPr>
            <a:r>
              <a:rPr lang="en-US" sz="1800" dirty="0">
                <a:solidFill>
                  <a:prstClr val="black">
                    <a:lumMod val="95000"/>
                    <a:lumOff val="5000"/>
                  </a:prstClr>
                </a:solidFill>
                <a:latin typeface="Arial MT"/>
                <a:cs typeface="Arial" panose="020B0604020202020204" pitchFamily="34" charset="0"/>
              </a:rPr>
              <a:t>Improvement in carbon emission intensity across all locations</a:t>
            </a:r>
          </a:p>
          <a:p>
            <a:pPr marL="533400" lvl="1" indent="-285750" defTabSz="914360">
              <a:spcAft>
                <a:spcPts val="40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/>
            </a:pPr>
            <a:r>
              <a:rPr lang="en-US" sz="1800" dirty="0">
                <a:solidFill>
                  <a:prstClr val="black">
                    <a:lumMod val="95000"/>
                    <a:lumOff val="5000"/>
                  </a:prstClr>
                </a:solidFill>
                <a:latin typeface="Arial MT"/>
                <a:cs typeface="Arial" panose="020B0604020202020204" pitchFamily="34" charset="0"/>
              </a:rPr>
              <a:t>TSJ is a national benchmark</a:t>
            </a:r>
          </a:p>
          <a:p>
            <a:pPr marL="533400" lvl="1" indent="-285750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/>
            </a:pPr>
            <a:r>
              <a:rPr lang="en-US" sz="1800" dirty="0">
                <a:solidFill>
                  <a:prstClr val="black">
                    <a:lumMod val="95000"/>
                    <a:lumOff val="5000"/>
                  </a:prstClr>
                </a:solidFill>
                <a:latin typeface="Arial MT"/>
                <a:cs typeface="Arial" panose="020B0604020202020204" pitchFamily="34" charset="0"/>
              </a:rPr>
              <a:t>9% reduction in carbon emission intensity in the new &amp; acquired assets (TSM and TSLPL) in the last 2-4 years</a:t>
            </a:r>
          </a:p>
          <a:p>
            <a:pPr marL="374650" lvl="0" indent="-285750" defTabSz="914360"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§"/>
              <a:defRPr/>
            </a:pPr>
            <a:r>
              <a:rPr lang="en-US" sz="1800" dirty="0">
                <a:solidFill>
                  <a:prstClr val="black">
                    <a:lumMod val="95000"/>
                    <a:lumOff val="5000"/>
                  </a:prstClr>
                </a:solidFill>
                <a:latin typeface="Arial MT"/>
                <a:cs typeface="Arial" panose="020B0604020202020204" pitchFamily="34" charset="0"/>
              </a:rPr>
              <a:t>Long term </a:t>
            </a:r>
            <a:r>
              <a:rPr lang="en-US" sz="1800" b="1" dirty="0">
                <a:solidFill>
                  <a:prstClr val="black">
                    <a:lumMod val="95000"/>
                    <a:lumOff val="5000"/>
                  </a:prstClr>
                </a:solidFill>
                <a:latin typeface="Arial MT"/>
                <a:cs typeface="Arial" panose="020B0604020202020204" pitchFamily="34" charset="0"/>
              </a:rPr>
              <a:t>decarbonization roadmap </a:t>
            </a:r>
            <a:r>
              <a:rPr lang="en-US" sz="1800" dirty="0">
                <a:solidFill>
                  <a:prstClr val="black">
                    <a:lumMod val="95000"/>
                    <a:lumOff val="5000"/>
                  </a:prstClr>
                </a:solidFill>
                <a:latin typeface="Arial MT"/>
                <a:cs typeface="Arial" panose="020B0604020202020204" pitchFamily="34" charset="0"/>
              </a:rPr>
              <a:t>created</a:t>
            </a:r>
          </a:p>
          <a:p>
            <a:pPr marL="62865">
              <a:lnSpc>
                <a:spcPct val="100000"/>
              </a:lnSpc>
              <a:spcBef>
                <a:spcPts val="100"/>
              </a:spcBef>
              <a:buClr>
                <a:srgbClr val="FF0000"/>
              </a:buClr>
              <a:tabLst>
                <a:tab pos="349885" algn="l"/>
                <a:tab pos="350520" algn="l"/>
              </a:tabLst>
            </a:pPr>
            <a:endParaRPr sz="1800" dirty="0">
              <a:latin typeface="Arial MT"/>
              <a:cs typeface="Arial MT"/>
            </a:endParaRPr>
          </a:p>
        </p:txBody>
      </p:sp>
      <p:sp>
        <p:nvSpPr>
          <p:cNvPr id="76" name="object 32">
            <a:extLst>
              <a:ext uri="{FF2B5EF4-FFF2-40B4-BE49-F238E27FC236}">
                <a16:creationId xmlns:a16="http://schemas.microsoft.com/office/drawing/2014/main" id="{E6A2EAEA-7BFC-460D-84E6-CAE04AC0B96F}"/>
              </a:ext>
            </a:extLst>
          </p:cNvPr>
          <p:cNvSpPr/>
          <p:nvPr/>
        </p:nvSpPr>
        <p:spPr>
          <a:xfrm>
            <a:off x="4341240" y="2232433"/>
            <a:ext cx="0" cy="4899660"/>
          </a:xfrm>
          <a:custGeom>
            <a:avLst/>
            <a:gdLst/>
            <a:ahLst/>
            <a:cxnLst/>
            <a:rect l="l" t="t" r="r" b="b"/>
            <a:pathLst>
              <a:path h="4899660">
                <a:moveTo>
                  <a:pt x="0" y="0"/>
                </a:moveTo>
                <a:lnTo>
                  <a:pt x="0" y="4899050"/>
                </a:lnTo>
              </a:path>
            </a:pathLst>
          </a:custGeom>
          <a:ln w="3175">
            <a:solidFill>
              <a:srgbClr val="A6A6A6"/>
            </a:solidFill>
            <a:prstDash val="sysDot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7" name="object 33">
            <a:extLst>
              <a:ext uri="{FF2B5EF4-FFF2-40B4-BE49-F238E27FC236}">
                <a16:creationId xmlns:a16="http://schemas.microsoft.com/office/drawing/2014/main" id="{9C182C84-B0B0-4D89-8ED3-D0D4C2C68D3A}"/>
              </a:ext>
            </a:extLst>
          </p:cNvPr>
          <p:cNvSpPr/>
          <p:nvPr/>
        </p:nvSpPr>
        <p:spPr>
          <a:xfrm>
            <a:off x="10972800" y="2410124"/>
            <a:ext cx="0" cy="4899660"/>
          </a:xfrm>
          <a:custGeom>
            <a:avLst/>
            <a:gdLst/>
            <a:ahLst/>
            <a:cxnLst/>
            <a:rect l="l" t="t" r="r" b="b"/>
            <a:pathLst>
              <a:path h="4899660">
                <a:moveTo>
                  <a:pt x="0" y="0"/>
                </a:moveTo>
                <a:lnTo>
                  <a:pt x="0" y="4899050"/>
                </a:lnTo>
              </a:path>
            </a:pathLst>
          </a:custGeom>
          <a:ln w="3175">
            <a:solidFill>
              <a:srgbClr val="A6A6A6"/>
            </a:solidFill>
            <a:prstDash val="sysDot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8" name="object 34">
            <a:extLst>
              <a:ext uri="{FF2B5EF4-FFF2-40B4-BE49-F238E27FC236}">
                <a16:creationId xmlns:a16="http://schemas.microsoft.com/office/drawing/2014/main" id="{0AF23BC4-C682-425B-B551-2AC968D5D38F}"/>
              </a:ext>
            </a:extLst>
          </p:cNvPr>
          <p:cNvSpPr txBox="1"/>
          <p:nvPr/>
        </p:nvSpPr>
        <p:spPr>
          <a:xfrm>
            <a:off x="11747608" y="1755993"/>
            <a:ext cx="1938010" cy="3206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000" b="1" spc="-30" dirty="0">
                <a:solidFill>
                  <a:srgbClr val="FFFFFF"/>
                </a:solidFill>
                <a:latin typeface="Arial"/>
                <a:cs typeface="Arial"/>
              </a:rPr>
              <a:t>Way</a:t>
            </a:r>
            <a:r>
              <a:rPr sz="2000" b="1" spc="-5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2000" b="1" dirty="0">
                <a:solidFill>
                  <a:srgbClr val="FFFFFF"/>
                </a:solidFill>
                <a:latin typeface="Arial"/>
                <a:cs typeface="Arial"/>
              </a:rPr>
              <a:t>Forward</a:t>
            </a:r>
            <a:endParaRPr sz="2000" dirty="0">
              <a:latin typeface="Arial"/>
              <a:cs typeface="Arial"/>
            </a:endParaRPr>
          </a:p>
        </p:txBody>
      </p:sp>
      <p:sp>
        <p:nvSpPr>
          <p:cNvPr id="79" name="object 35">
            <a:extLst>
              <a:ext uri="{FF2B5EF4-FFF2-40B4-BE49-F238E27FC236}">
                <a16:creationId xmlns:a16="http://schemas.microsoft.com/office/drawing/2014/main" id="{E0BD1AFC-1848-46BD-8647-931483F1F7B1}"/>
              </a:ext>
            </a:extLst>
          </p:cNvPr>
          <p:cNvSpPr txBox="1"/>
          <p:nvPr/>
        </p:nvSpPr>
        <p:spPr>
          <a:xfrm>
            <a:off x="11193279" y="2646996"/>
            <a:ext cx="2714734" cy="44319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endParaRPr sz="18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  <a:spcBef>
                <a:spcPts val="5"/>
              </a:spcBef>
            </a:pPr>
            <a:endParaRPr sz="1800" dirty="0">
              <a:latin typeface="Times New Roman"/>
              <a:cs typeface="Times New Roman"/>
            </a:endParaRPr>
          </a:p>
          <a:p>
            <a:pPr marL="297815" marR="335915" algn="ctr">
              <a:lnSpc>
                <a:spcPct val="100000"/>
              </a:lnSpc>
            </a:pPr>
            <a:r>
              <a:rPr sz="1800" dirty="0">
                <a:latin typeface="Arial MT"/>
                <a:cs typeface="Arial MT"/>
              </a:rPr>
              <a:t>Achie</a:t>
            </a:r>
            <a:r>
              <a:rPr sz="1800" spc="-20" dirty="0">
                <a:latin typeface="Arial MT"/>
                <a:cs typeface="Arial MT"/>
              </a:rPr>
              <a:t>v</a:t>
            </a:r>
            <a:r>
              <a:rPr sz="1800" dirty="0">
                <a:latin typeface="Arial MT"/>
                <a:cs typeface="Arial MT"/>
              </a:rPr>
              <a:t>e</a:t>
            </a:r>
            <a:r>
              <a:rPr sz="1800" spc="-10" dirty="0">
                <a:latin typeface="Arial MT"/>
                <a:cs typeface="Arial MT"/>
              </a:rPr>
              <a:t> </a:t>
            </a:r>
            <a:r>
              <a:rPr sz="1800" dirty="0">
                <a:latin typeface="Arial MT"/>
                <a:cs typeface="Arial MT"/>
              </a:rPr>
              <a:t>&lt;</a:t>
            </a:r>
            <a:r>
              <a:rPr sz="1800" spc="-5" dirty="0">
                <a:latin typeface="Arial MT"/>
                <a:cs typeface="Arial MT"/>
              </a:rPr>
              <a:t>1</a:t>
            </a:r>
            <a:r>
              <a:rPr sz="1800" dirty="0">
                <a:latin typeface="Arial MT"/>
                <a:cs typeface="Arial MT"/>
              </a:rPr>
              <a:t>.8  tCO</a:t>
            </a:r>
            <a:r>
              <a:rPr sz="1600" baseline="-21604" dirty="0">
                <a:latin typeface="Arial MT"/>
                <a:cs typeface="Arial MT"/>
              </a:rPr>
              <a:t>2</a:t>
            </a:r>
            <a:r>
              <a:rPr sz="1800" dirty="0">
                <a:latin typeface="Arial MT"/>
                <a:cs typeface="Arial MT"/>
              </a:rPr>
              <a:t>/tcs carbon </a:t>
            </a:r>
            <a:r>
              <a:rPr sz="1800" spc="5" dirty="0">
                <a:latin typeface="Arial MT"/>
                <a:cs typeface="Arial MT"/>
              </a:rPr>
              <a:t> </a:t>
            </a:r>
            <a:r>
              <a:rPr sz="1800" dirty="0">
                <a:latin typeface="Arial MT"/>
                <a:cs typeface="Arial MT"/>
              </a:rPr>
              <a:t>emission</a:t>
            </a:r>
            <a:r>
              <a:rPr sz="1800" spc="-75" dirty="0">
                <a:latin typeface="Arial MT"/>
                <a:cs typeface="Arial MT"/>
              </a:rPr>
              <a:t> </a:t>
            </a:r>
            <a:r>
              <a:rPr sz="1800" dirty="0">
                <a:latin typeface="Arial MT"/>
                <a:cs typeface="Arial MT"/>
              </a:rPr>
              <a:t>by</a:t>
            </a:r>
            <a:r>
              <a:rPr sz="1800" spc="-55" dirty="0">
                <a:latin typeface="Arial MT"/>
                <a:cs typeface="Arial MT"/>
              </a:rPr>
              <a:t> </a:t>
            </a:r>
            <a:r>
              <a:rPr sz="1800" dirty="0">
                <a:latin typeface="Arial MT"/>
                <a:cs typeface="Arial MT"/>
              </a:rPr>
              <a:t>2030</a:t>
            </a:r>
          </a:p>
          <a:p>
            <a:pPr>
              <a:lnSpc>
                <a:spcPct val="100000"/>
              </a:lnSpc>
            </a:pPr>
            <a:endParaRPr lang="en-US" sz="1800" dirty="0">
              <a:latin typeface="Arial MT"/>
              <a:cs typeface="Arial MT"/>
            </a:endParaRPr>
          </a:p>
          <a:p>
            <a:pPr algn="ctr">
              <a:lnSpc>
                <a:spcPct val="100000"/>
              </a:lnSpc>
            </a:pPr>
            <a:r>
              <a:rPr lang="en-US" sz="1800" dirty="0">
                <a:solidFill>
                  <a:prstClr val="black"/>
                </a:solidFill>
                <a:latin typeface="Arial MT"/>
                <a:cs typeface="Arial" panose="020B0604020202020204" pitchFamily="34" charset="0"/>
              </a:rPr>
              <a:t> Focus on</a:t>
            </a:r>
          </a:p>
          <a:p>
            <a:pPr algn="ctr">
              <a:lnSpc>
                <a:spcPct val="100000"/>
              </a:lnSpc>
            </a:pPr>
            <a:r>
              <a:rPr lang="en-US" sz="1800" dirty="0">
                <a:solidFill>
                  <a:prstClr val="black"/>
                </a:solidFill>
                <a:latin typeface="Arial MT"/>
                <a:cs typeface="Arial" panose="020B0604020202020204" pitchFamily="34" charset="0"/>
              </a:rPr>
              <a:t> technology enabled transition to net zero</a:t>
            </a:r>
          </a:p>
          <a:p>
            <a:pPr algn="ctr">
              <a:lnSpc>
                <a:spcPct val="100000"/>
              </a:lnSpc>
            </a:pPr>
            <a:endParaRPr lang="en-US" sz="1800" dirty="0">
              <a:latin typeface="Arial MT"/>
              <a:cs typeface="Arial MT"/>
            </a:endParaRPr>
          </a:p>
          <a:p>
            <a:pPr algn="ctr"/>
            <a:r>
              <a:rPr lang="en-US" sz="1800" dirty="0">
                <a:solidFill>
                  <a:prstClr val="black"/>
                </a:solidFill>
                <a:latin typeface="Arial MT"/>
                <a:cs typeface="Arial" panose="020B0604020202020204" pitchFamily="34" charset="0"/>
              </a:rPr>
              <a:t>Consistent focus and investment in green technology</a:t>
            </a:r>
          </a:p>
          <a:p>
            <a:pPr algn="ctr"/>
            <a:endParaRPr lang="en-US" sz="1800" b="1" dirty="0">
              <a:solidFill>
                <a:prstClr val="black"/>
              </a:solidFill>
              <a:latin typeface="Arial MT"/>
              <a:cs typeface="Arial" panose="020B0604020202020204" pitchFamily="34" charset="0"/>
            </a:endParaRPr>
          </a:p>
          <a:p>
            <a:pPr algn="ctr"/>
            <a:r>
              <a:rPr lang="en-US" sz="1800" b="1" dirty="0">
                <a:solidFill>
                  <a:prstClr val="black"/>
                </a:solidFill>
                <a:latin typeface="Arial MT"/>
                <a:cs typeface="Arial" panose="020B0604020202020204" pitchFamily="34" charset="0"/>
              </a:rPr>
              <a:t>Net Zero by 2045</a:t>
            </a:r>
          </a:p>
          <a:p>
            <a:pPr algn="ctr">
              <a:lnSpc>
                <a:spcPct val="100000"/>
              </a:lnSpc>
            </a:pPr>
            <a:endParaRPr sz="1800" dirty="0">
              <a:latin typeface="Arial MT"/>
              <a:cs typeface="Arial MT"/>
            </a:endParaRPr>
          </a:p>
        </p:txBody>
      </p:sp>
      <p:sp>
        <p:nvSpPr>
          <p:cNvPr id="80" name="object 36">
            <a:extLst>
              <a:ext uri="{FF2B5EF4-FFF2-40B4-BE49-F238E27FC236}">
                <a16:creationId xmlns:a16="http://schemas.microsoft.com/office/drawing/2014/main" id="{728311B2-F431-43A2-928B-A81987A63D5F}"/>
              </a:ext>
            </a:extLst>
          </p:cNvPr>
          <p:cNvSpPr/>
          <p:nvPr/>
        </p:nvSpPr>
        <p:spPr>
          <a:xfrm>
            <a:off x="11401974" y="4146772"/>
            <a:ext cx="2157758" cy="0"/>
          </a:xfrm>
          <a:custGeom>
            <a:avLst/>
            <a:gdLst/>
            <a:ahLst/>
            <a:cxnLst/>
            <a:rect l="l" t="t" r="r" b="b"/>
            <a:pathLst>
              <a:path w="1621154">
                <a:moveTo>
                  <a:pt x="0" y="0"/>
                </a:moveTo>
                <a:lnTo>
                  <a:pt x="1620901" y="0"/>
                </a:lnTo>
              </a:path>
            </a:pathLst>
          </a:custGeom>
          <a:ln w="3175">
            <a:solidFill>
              <a:srgbClr val="A6A6A6"/>
            </a:solidFill>
            <a:prstDash val="sysDot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1" name="object 67">
            <a:extLst>
              <a:ext uri="{FF2B5EF4-FFF2-40B4-BE49-F238E27FC236}">
                <a16:creationId xmlns:a16="http://schemas.microsoft.com/office/drawing/2014/main" id="{6374C6E8-BD7D-4C7D-9096-93EA6F754E56}"/>
              </a:ext>
            </a:extLst>
          </p:cNvPr>
          <p:cNvSpPr/>
          <p:nvPr/>
        </p:nvSpPr>
        <p:spPr>
          <a:xfrm>
            <a:off x="282133" y="1749140"/>
            <a:ext cx="848088" cy="5282387"/>
          </a:xfrm>
          <a:custGeom>
            <a:avLst/>
            <a:gdLst/>
            <a:ahLst/>
            <a:cxnLst/>
            <a:rect l="l" t="t" r="r" b="b"/>
            <a:pathLst>
              <a:path w="646430" h="5250180">
                <a:moveTo>
                  <a:pt x="0" y="323088"/>
                </a:moveTo>
                <a:lnTo>
                  <a:pt x="3503" y="275344"/>
                </a:lnTo>
                <a:lnTo>
                  <a:pt x="13679" y="229776"/>
                </a:lnTo>
                <a:lnTo>
                  <a:pt x="30028" y="186882"/>
                </a:lnTo>
                <a:lnTo>
                  <a:pt x="52051" y="147163"/>
                </a:lnTo>
                <a:lnTo>
                  <a:pt x="79248" y="111119"/>
                </a:lnTo>
                <a:lnTo>
                  <a:pt x="111119" y="79248"/>
                </a:lnTo>
                <a:lnTo>
                  <a:pt x="147163" y="52051"/>
                </a:lnTo>
                <a:lnTo>
                  <a:pt x="186882" y="30028"/>
                </a:lnTo>
                <a:lnTo>
                  <a:pt x="229776" y="13679"/>
                </a:lnTo>
                <a:lnTo>
                  <a:pt x="275344" y="3503"/>
                </a:lnTo>
                <a:lnTo>
                  <a:pt x="323088" y="0"/>
                </a:lnTo>
                <a:lnTo>
                  <a:pt x="370831" y="3503"/>
                </a:lnTo>
                <a:lnTo>
                  <a:pt x="416399" y="13679"/>
                </a:lnTo>
                <a:lnTo>
                  <a:pt x="459293" y="30028"/>
                </a:lnTo>
                <a:lnTo>
                  <a:pt x="499012" y="52051"/>
                </a:lnTo>
                <a:lnTo>
                  <a:pt x="535056" y="79248"/>
                </a:lnTo>
                <a:lnTo>
                  <a:pt x="566927" y="111119"/>
                </a:lnTo>
                <a:lnTo>
                  <a:pt x="594124" y="147163"/>
                </a:lnTo>
                <a:lnTo>
                  <a:pt x="616147" y="186882"/>
                </a:lnTo>
                <a:lnTo>
                  <a:pt x="632496" y="229776"/>
                </a:lnTo>
                <a:lnTo>
                  <a:pt x="642672" y="275344"/>
                </a:lnTo>
                <a:lnTo>
                  <a:pt x="646176" y="323088"/>
                </a:lnTo>
                <a:lnTo>
                  <a:pt x="646176" y="4927092"/>
                </a:lnTo>
                <a:lnTo>
                  <a:pt x="642672" y="4974835"/>
                </a:lnTo>
                <a:lnTo>
                  <a:pt x="632496" y="5020403"/>
                </a:lnTo>
                <a:lnTo>
                  <a:pt x="616147" y="5063297"/>
                </a:lnTo>
                <a:lnTo>
                  <a:pt x="594124" y="5103016"/>
                </a:lnTo>
                <a:lnTo>
                  <a:pt x="566927" y="5139060"/>
                </a:lnTo>
                <a:lnTo>
                  <a:pt x="535056" y="5170931"/>
                </a:lnTo>
                <a:lnTo>
                  <a:pt x="499012" y="5198128"/>
                </a:lnTo>
                <a:lnTo>
                  <a:pt x="459293" y="5220151"/>
                </a:lnTo>
                <a:lnTo>
                  <a:pt x="416399" y="5236500"/>
                </a:lnTo>
                <a:lnTo>
                  <a:pt x="370831" y="5246676"/>
                </a:lnTo>
                <a:lnTo>
                  <a:pt x="323088" y="5250180"/>
                </a:lnTo>
                <a:lnTo>
                  <a:pt x="275344" y="5246676"/>
                </a:lnTo>
                <a:lnTo>
                  <a:pt x="229776" y="5236500"/>
                </a:lnTo>
                <a:lnTo>
                  <a:pt x="186882" y="5220151"/>
                </a:lnTo>
                <a:lnTo>
                  <a:pt x="147163" y="5198128"/>
                </a:lnTo>
                <a:lnTo>
                  <a:pt x="111119" y="5170931"/>
                </a:lnTo>
                <a:lnTo>
                  <a:pt x="79248" y="5139060"/>
                </a:lnTo>
                <a:lnTo>
                  <a:pt x="52051" y="5103016"/>
                </a:lnTo>
                <a:lnTo>
                  <a:pt x="30028" y="5063297"/>
                </a:lnTo>
                <a:lnTo>
                  <a:pt x="13679" y="5020403"/>
                </a:lnTo>
                <a:lnTo>
                  <a:pt x="3503" y="4974835"/>
                </a:lnTo>
                <a:lnTo>
                  <a:pt x="0" y="4927092"/>
                </a:lnTo>
                <a:lnTo>
                  <a:pt x="0" y="323088"/>
                </a:lnTo>
                <a:close/>
              </a:path>
            </a:pathLst>
          </a:custGeom>
          <a:ln w="3175">
            <a:solidFill>
              <a:srgbClr val="3C7DD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2" name="object 68">
            <a:extLst>
              <a:ext uri="{FF2B5EF4-FFF2-40B4-BE49-F238E27FC236}">
                <a16:creationId xmlns:a16="http://schemas.microsoft.com/office/drawing/2014/main" id="{E3C73092-189B-4FF8-ADDE-89EC379322D1}"/>
              </a:ext>
            </a:extLst>
          </p:cNvPr>
          <p:cNvSpPr txBox="1"/>
          <p:nvPr/>
        </p:nvSpPr>
        <p:spPr>
          <a:xfrm>
            <a:off x="530537" y="2914220"/>
            <a:ext cx="294953" cy="2474089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2700">
              <a:lnSpc>
                <a:spcPts val="2315"/>
              </a:lnSpc>
            </a:pPr>
            <a:r>
              <a:rPr sz="2400" b="1" dirty="0">
                <a:solidFill>
                  <a:srgbClr val="3C7DDB"/>
                </a:solidFill>
                <a:latin typeface="Arial MT"/>
                <a:cs typeface="Arial"/>
              </a:rPr>
              <a:t>Climate</a:t>
            </a:r>
            <a:r>
              <a:rPr sz="2400" b="1" spc="-55" dirty="0">
                <a:solidFill>
                  <a:srgbClr val="3C7DDB"/>
                </a:solidFill>
                <a:latin typeface="Arial MT"/>
                <a:cs typeface="Arial"/>
              </a:rPr>
              <a:t> </a:t>
            </a:r>
            <a:r>
              <a:rPr sz="2400" b="1" dirty="0">
                <a:solidFill>
                  <a:srgbClr val="3C7DDB"/>
                </a:solidFill>
                <a:latin typeface="Arial MT"/>
                <a:cs typeface="Arial"/>
              </a:rPr>
              <a:t>Change</a:t>
            </a:r>
            <a:endParaRPr sz="2400" dirty="0">
              <a:latin typeface="Arial MT"/>
              <a:cs typeface="Arial"/>
            </a:endParaRPr>
          </a:p>
        </p:txBody>
      </p:sp>
      <p:grpSp>
        <p:nvGrpSpPr>
          <p:cNvPr id="83" name="object 69">
            <a:extLst>
              <a:ext uri="{FF2B5EF4-FFF2-40B4-BE49-F238E27FC236}">
                <a16:creationId xmlns:a16="http://schemas.microsoft.com/office/drawing/2014/main" id="{07329E5A-7AD8-429A-9460-3A3BC539BE9B}"/>
              </a:ext>
            </a:extLst>
          </p:cNvPr>
          <p:cNvGrpSpPr/>
          <p:nvPr/>
        </p:nvGrpSpPr>
        <p:grpSpPr>
          <a:xfrm>
            <a:off x="414256" y="1850676"/>
            <a:ext cx="645721" cy="5030470"/>
            <a:chOff x="534741" y="1134709"/>
            <a:chExt cx="485140" cy="5030470"/>
          </a:xfrm>
        </p:grpSpPr>
        <p:sp>
          <p:nvSpPr>
            <p:cNvPr id="84" name="object 70">
              <a:extLst>
                <a:ext uri="{FF2B5EF4-FFF2-40B4-BE49-F238E27FC236}">
                  <a16:creationId xmlns:a16="http://schemas.microsoft.com/office/drawing/2014/main" id="{FC8DBA2A-616D-47E3-8200-CF3E20DE250F}"/>
                </a:ext>
              </a:extLst>
            </p:cNvPr>
            <p:cNvSpPr/>
            <p:nvPr/>
          </p:nvSpPr>
          <p:spPr>
            <a:xfrm>
              <a:off x="542543" y="5146547"/>
              <a:ext cx="457200" cy="457200"/>
            </a:xfrm>
            <a:custGeom>
              <a:avLst/>
              <a:gdLst/>
              <a:ahLst/>
              <a:cxnLst/>
              <a:rect l="l" t="t" r="r" b="b"/>
              <a:pathLst>
                <a:path w="457200" h="457200">
                  <a:moveTo>
                    <a:pt x="228600" y="0"/>
                  </a:moveTo>
                  <a:lnTo>
                    <a:pt x="182529" y="4644"/>
                  </a:lnTo>
                  <a:lnTo>
                    <a:pt x="139619" y="17966"/>
                  </a:lnTo>
                  <a:lnTo>
                    <a:pt x="100788" y="39045"/>
                  </a:lnTo>
                  <a:lnTo>
                    <a:pt x="66955" y="66960"/>
                  </a:lnTo>
                  <a:lnTo>
                    <a:pt x="39041" y="100793"/>
                  </a:lnTo>
                  <a:lnTo>
                    <a:pt x="17964" y="139624"/>
                  </a:lnTo>
                  <a:lnTo>
                    <a:pt x="4644" y="182533"/>
                  </a:lnTo>
                  <a:lnTo>
                    <a:pt x="0" y="228599"/>
                  </a:lnTo>
                  <a:lnTo>
                    <a:pt x="4644" y="274666"/>
                  </a:lnTo>
                  <a:lnTo>
                    <a:pt x="17964" y="317575"/>
                  </a:lnTo>
                  <a:lnTo>
                    <a:pt x="39041" y="356406"/>
                  </a:lnTo>
                  <a:lnTo>
                    <a:pt x="66955" y="390239"/>
                  </a:lnTo>
                  <a:lnTo>
                    <a:pt x="100788" y="418154"/>
                  </a:lnTo>
                  <a:lnTo>
                    <a:pt x="139619" y="439233"/>
                  </a:lnTo>
                  <a:lnTo>
                    <a:pt x="182529" y="452555"/>
                  </a:lnTo>
                  <a:lnTo>
                    <a:pt x="228600" y="457199"/>
                  </a:lnTo>
                  <a:lnTo>
                    <a:pt x="274670" y="452555"/>
                  </a:lnTo>
                  <a:lnTo>
                    <a:pt x="317580" y="439233"/>
                  </a:lnTo>
                  <a:lnTo>
                    <a:pt x="356411" y="418154"/>
                  </a:lnTo>
                  <a:lnTo>
                    <a:pt x="390244" y="390239"/>
                  </a:lnTo>
                  <a:lnTo>
                    <a:pt x="418158" y="356406"/>
                  </a:lnTo>
                  <a:lnTo>
                    <a:pt x="439235" y="317575"/>
                  </a:lnTo>
                  <a:lnTo>
                    <a:pt x="452555" y="274666"/>
                  </a:lnTo>
                  <a:lnTo>
                    <a:pt x="457200" y="228599"/>
                  </a:lnTo>
                  <a:lnTo>
                    <a:pt x="452555" y="182533"/>
                  </a:lnTo>
                  <a:lnTo>
                    <a:pt x="439235" y="139624"/>
                  </a:lnTo>
                  <a:lnTo>
                    <a:pt x="418158" y="100793"/>
                  </a:lnTo>
                  <a:lnTo>
                    <a:pt x="390244" y="66960"/>
                  </a:lnTo>
                  <a:lnTo>
                    <a:pt x="356411" y="39045"/>
                  </a:lnTo>
                  <a:lnTo>
                    <a:pt x="317580" y="17966"/>
                  </a:lnTo>
                  <a:lnTo>
                    <a:pt x="274670" y="4644"/>
                  </a:lnTo>
                  <a:lnTo>
                    <a:pt x="228600" y="0"/>
                  </a:lnTo>
                  <a:close/>
                </a:path>
              </a:pathLst>
            </a:custGeom>
            <a:solidFill>
              <a:srgbClr val="FBC30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85" name="object 71">
              <a:extLst>
                <a:ext uri="{FF2B5EF4-FFF2-40B4-BE49-F238E27FC236}">
                  <a16:creationId xmlns:a16="http://schemas.microsoft.com/office/drawing/2014/main" id="{9CBFB6D1-F3ED-4180-A581-57FB56748666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06399" y="5218963"/>
              <a:ext cx="333082" cy="334365"/>
            </a:xfrm>
            <a:prstGeom prst="rect">
              <a:avLst/>
            </a:prstGeom>
          </p:spPr>
        </p:pic>
        <p:sp>
          <p:nvSpPr>
            <p:cNvPr id="86" name="object 72">
              <a:extLst>
                <a:ext uri="{FF2B5EF4-FFF2-40B4-BE49-F238E27FC236}">
                  <a16:creationId xmlns:a16="http://schemas.microsoft.com/office/drawing/2014/main" id="{9F05E48D-AFAA-41F3-868B-78BD05798813}"/>
                </a:ext>
              </a:extLst>
            </p:cNvPr>
            <p:cNvSpPr/>
            <p:nvPr/>
          </p:nvSpPr>
          <p:spPr>
            <a:xfrm>
              <a:off x="551687" y="5707379"/>
              <a:ext cx="457200" cy="457200"/>
            </a:xfrm>
            <a:custGeom>
              <a:avLst/>
              <a:gdLst/>
              <a:ahLst/>
              <a:cxnLst/>
              <a:rect l="l" t="t" r="r" b="b"/>
              <a:pathLst>
                <a:path w="457200" h="457200">
                  <a:moveTo>
                    <a:pt x="228600" y="0"/>
                  </a:moveTo>
                  <a:lnTo>
                    <a:pt x="182529" y="4644"/>
                  </a:lnTo>
                  <a:lnTo>
                    <a:pt x="139619" y="17964"/>
                  </a:lnTo>
                  <a:lnTo>
                    <a:pt x="100788" y="39041"/>
                  </a:lnTo>
                  <a:lnTo>
                    <a:pt x="66955" y="66955"/>
                  </a:lnTo>
                  <a:lnTo>
                    <a:pt x="39041" y="100788"/>
                  </a:lnTo>
                  <a:lnTo>
                    <a:pt x="17964" y="139619"/>
                  </a:lnTo>
                  <a:lnTo>
                    <a:pt x="4644" y="182529"/>
                  </a:lnTo>
                  <a:lnTo>
                    <a:pt x="0" y="228600"/>
                  </a:lnTo>
                  <a:lnTo>
                    <a:pt x="4644" y="274670"/>
                  </a:lnTo>
                  <a:lnTo>
                    <a:pt x="17964" y="317580"/>
                  </a:lnTo>
                  <a:lnTo>
                    <a:pt x="39041" y="356411"/>
                  </a:lnTo>
                  <a:lnTo>
                    <a:pt x="66955" y="390244"/>
                  </a:lnTo>
                  <a:lnTo>
                    <a:pt x="100788" y="418158"/>
                  </a:lnTo>
                  <a:lnTo>
                    <a:pt x="139619" y="439235"/>
                  </a:lnTo>
                  <a:lnTo>
                    <a:pt x="182529" y="452555"/>
                  </a:lnTo>
                  <a:lnTo>
                    <a:pt x="228600" y="457200"/>
                  </a:lnTo>
                  <a:lnTo>
                    <a:pt x="274670" y="452555"/>
                  </a:lnTo>
                  <a:lnTo>
                    <a:pt x="317580" y="439235"/>
                  </a:lnTo>
                  <a:lnTo>
                    <a:pt x="356411" y="418158"/>
                  </a:lnTo>
                  <a:lnTo>
                    <a:pt x="390244" y="390244"/>
                  </a:lnTo>
                  <a:lnTo>
                    <a:pt x="418158" y="356411"/>
                  </a:lnTo>
                  <a:lnTo>
                    <a:pt x="439235" y="317580"/>
                  </a:lnTo>
                  <a:lnTo>
                    <a:pt x="452555" y="274670"/>
                  </a:lnTo>
                  <a:lnTo>
                    <a:pt x="457200" y="228600"/>
                  </a:lnTo>
                  <a:lnTo>
                    <a:pt x="452555" y="182529"/>
                  </a:lnTo>
                  <a:lnTo>
                    <a:pt x="439235" y="139619"/>
                  </a:lnTo>
                  <a:lnTo>
                    <a:pt x="418158" y="100788"/>
                  </a:lnTo>
                  <a:lnTo>
                    <a:pt x="390244" y="66955"/>
                  </a:lnTo>
                  <a:lnTo>
                    <a:pt x="356411" y="39041"/>
                  </a:lnTo>
                  <a:lnTo>
                    <a:pt x="317580" y="17964"/>
                  </a:lnTo>
                  <a:lnTo>
                    <a:pt x="274670" y="4644"/>
                  </a:lnTo>
                  <a:lnTo>
                    <a:pt x="228600" y="0"/>
                  </a:lnTo>
                  <a:close/>
                </a:path>
              </a:pathLst>
            </a:custGeom>
            <a:solidFill>
              <a:srgbClr val="3E7D4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87" name="object 73">
              <a:extLst>
                <a:ext uri="{FF2B5EF4-FFF2-40B4-BE49-F238E27FC236}">
                  <a16:creationId xmlns:a16="http://schemas.microsoft.com/office/drawing/2014/main" id="{1858BAB2-3FC0-440B-8C5A-1F326944C5D8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595248" y="5783567"/>
              <a:ext cx="382308" cy="352056"/>
            </a:xfrm>
            <a:prstGeom prst="rect">
              <a:avLst/>
            </a:prstGeom>
          </p:spPr>
        </p:pic>
        <p:pic>
          <p:nvPicPr>
            <p:cNvPr id="88" name="object 74">
              <a:extLst>
                <a:ext uri="{FF2B5EF4-FFF2-40B4-BE49-F238E27FC236}">
                  <a16:creationId xmlns:a16="http://schemas.microsoft.com/office/drawing/2014/main" id="{96C08F7D-7E5C-4E48-8F03-80C15B04CC3E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534741" y="1134709"/>
              <a:ext cx="484997" cy="475305"/>
            </a:xfrm>
            <a:prstGeom prst="rect">
              <a:avLst/>
            </a:prstGeom>
          </p:spPr>
        </p:pic>
      </p:grpSp>
      <p:graphicFrame>
        <p:nvGraphicFramePr>
          <p:cNvPr id="89" name="Chart 88">
            <a:extLst>
              <a:ext uri="{FF2B5EF4-FFF2-40B4-BE49-F238E27FC236}">
                <a16:creationId xmlns:a16="http://schemas.microsoft.com/office/drawing/2014/main" id="{2246A42C-3AD3-495E-A264-2E93D19B171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97759222"/>
              </p:ext>
            </p:extLst>
          </p:nvPr>
        </p:nvGraphicFramePr>
        <p:xfrm>
          <a:off x="4414961" y="2609808"/>
          <a:ext cx="6553221" cy="24543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90" name="Oval 89">
            <a:extLst>
              <a:ext uri="{FF2B5EF4-FFF2-40B4-BE49-F238E27FC236}">
                <a16:creationId xmlns:a16="http://schemas.microsoft.com/office/drawing/2014/main" id="{19FF8045-30E6-4F13-A243-064296C8A47B}"/>
              </a:ext>
            </a:extLst>
          </p:cNvPr>
          <p:cNvSpPr/>
          <p:nvPr/>
        </p:nvSpPr>
        <p:spPr>
          <a:xfrm>
            <a:off x="5981102" y="5206682"/>
            <a:ext cx="332534" cy="189490"/>
          </a:xfrm>
          <a:prstGeom prst="ellipse">
            <a:avLst/>
          </a:prstGeom>
          <a:solidFill>
            <a:srgbClr val="9999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CCA2141B-4025-4595-8066-78F604F37FAD}"/>
              </a:ext>
            </a:extLst>
          </p:cNvPr>
          <p:cNvSpPr txBox="1"/>
          <p:nvPr/>
        </p:nvSpPr>
        <p:spPr>
          <a:xfrm>
            <a:off x="6341582" y="5153255"/>
            <a:ext cx="39698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rude steel production (Million Tons)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E48060DC-435F-4147-9870-608D9FAEBB16}"/>
              </a:ext>
            </a:extLst>
          </p:cNvPr>
          <p:cNvSpPr txBox="1"/>
          <p:nvPr/>
        </p:nvSpPr>
        <p:spPr>
          <a:xfrm>
            <a:off x="8617550" y="4124332"/>
            <a:ext cx="150838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3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corporates acquired assets</a:t>
            </a:r>
          </a:p>
        </p:txBody>
      </p:sp>
      <p:sp>
        <p:nvSpPr>
          <p:cNvPr id="93" name="object 36">
            <a:extLst>
              <a:ext uri="{FF2B5EF4-FFF2-40B4-BE49-F238E27FC236}">
                <a16:creationId xmlns:a16="http://schemas.microsoft.com/office/drawing/2014/main" id="{CE93410C-FA5D-4AB3-B9FF-9517BC173B30}"/>
              </a:ext>
            </a:extLst>
          </p:cNvPr>
          <p:cNvSpPr/>
          <p:nvPr/>
        </p:nvSpPr>
        <p:spPr>
          <a:xfrm>
            <a:off x="11401974" y="5261207"/>
            <a:ext cx="2157758" cy="0"/>
          </a:xfrm>
          <a:custGeom>
            <a:avLst/>
            <a:gdLst/>
            <a:ahLst/>
            <a:cxnLst/>
            <a:rect l="l" t="t" r="r" b="b"/>
            <a:pathLst>
              <a:path w="1621154">
                <a:moveTo>
                  <a:pt x="0" y="0"/>
                </a:moveTo>
                <a:lnTo>
                  <a:pt x="1620901" y="0"/>
                </a:lnTo>
              </a:path>
            </a:pathLst>
          </a:custGeom>
          <a:ln w="3175">
            <a:solidFill>
              <a:srgbClr val="A6A6A6"/>
            </a:solidFill>
            <a:prstDash val="sysDot"/>
          </a:ln>
        </p:spPr>
        <p:txBody>
          <a:bodyPr wrap="square" lIns="0" tIns="0" rIns="0" bIns="0" rtlCol="0"/>
          <a:lstStyle/>
          <a:p>
            <a:endParaRPr/>
          </a:p>
        </p:txBody>
      </p:sp>
      <p:cxnSp>
        <p:nvCxnSpPr>
          <p:cNvPr id="94" name="Connector: Elbow 93">
            <a:extLst>
              <a:ext uri="{FF2B5EF4-FFF2-40B4-BE49-F238E27FC236}">
                <a16:creationId xmlns:a16="http://schemas.microsoft.com/office/drawing/2014/main" id="{0E903F8A-CC5C-4663-89F7-3CBA6AFF573C}"/>
              </a:ext>
            </a:extLst>
          </p:cNvPr>
          <p:cNvCxnSpPr>
            <a:cxnSpLocks/>
            <a:stCxn id="96" idx="6"/>
          </p:cNvCxnSpPr>
          <p:nvPr/>
        </p:nvCxnSpPr>
        <p:spPr>
          <a:xfrm>
            <a:off x="5310534" y="2818864"/>
            <a:ext cx="4382225" cy="670645"/>
          </a:xfrm>
          <a:prstGeom prst="bentConnector3">
            <a:avLst>
              <a:gd name="adj1" fmla="val 9987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Oval 94">
            <a:extLst>
              <a:ext uri="{FF2B5EF4-FFF2-40B4-BE49-F238E27FC236}">
                <a16:creationId xmlns:a16="http://schemas.microsoft.com/office/drawing/2014/main" id="{A939D5E5-859F-4924-B258-8A0207F796B5}"/>
              </a:ext>
            </a:extLst>
          </p:cNvPr>
          <p:cNvSpPr/>
          <p:nvPr/>
        </p:nvSpPr>
        <p:spPr>
          <a:xfrm>
            <a:off x="9218078" y="2712244"/>
            <a:ext cx="949362" cy="337785"/>
          </a:xfrm>
          <a:prstGeom prst="ellipse">
            <a:avLst/>
          </a:prstGeom>
          <a:solidFill>
            <a:srgbClr val="9999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9.01</a:t>
            </a:r>
          </a:p>
        </p:txBody>
      </p:sp>
      <p:sp>
        <p:nvSpPr>
          <p:cNvPr id="96" name="Oval 95">
            <a:extLst>
              <a:ext uri="{FF2B5EF4-FFF2-40B4-BE49-F238E27FC236}">
                <a16:creationId xmlns:a16="http://schemas.microsoft.com/office/drawing/2014/main" id="{9451D71D-ECD8-4715-B56E-0F83E91FD747}"/>
              </a:ext>
            </a:extLst>
          </p:cNvPr>
          <p:cNvSpPr/>
          <p:nvPr/>
        </p:nvSpPr>
        <p:spPr>
          <a:xfrm>
            <a:off x="4525938" y="2671954"/>
            <a:ext cx="784596" cy="293819"/>
          </a:xfrm>
          <a:prstGeom prst="ellipse">
            <a:avLst/>
          </a:prstGeom>
          <a:solidFill>
            <a:srgbClr val="9999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.7</a:t>
            </a:r>
          </a:p>
        </p:txBody>
      </p:sp>
      <p:sp>
        <p:nvSpPr>
          <p:cNvPr id="97" name="Rectangle: Rounded Corners 96">
            <a:extLst>
              <a:ext uri="{FF2B5EF4-FFF2-40B4-BE49-F238E27FC236}">
                <a16:creationId xmlns:a16="http://schemas.microsoft.com/office/drawing/2014/main" id="{DCDB5CC3-83D8-4244-A22D-F59C2E6787E0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5580562" y="2724345"/>
            <a:ext cx="3336748" cy="325684"/>
          </a:xfrm>
          <a:prstGeom prst="roundRect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36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83A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+mn-lt"/>
              </a:rPr>
              <a:t>20% reduction in carbon emission intensity</a:t>
            </a:r>
          </a:p>
        </p:txBody>
      </p:sp>
      <p:sp>
        <p:nvSpPr>
          <p:cNvPr id="98" name="object 36">
            <a:extLst>
              <a:ext uri="{FF2B5EF4-FFF2-40B4-BE49-F238E27FC236}">
                <a16:creationId xmlns:a16="http://schemas.microsoft.com/office/drawing/2014/main" id="{63276727-F8EB-4AFB-8533-D260F1EB6466}"/>
              </a:ext>
            </a:extLst>
          </p:cNvPr>
          <p:cNvSpPr/>
          <p:nvPr/>
        </p:nvSpPr>
        <p:spPr>
          <a:xfrm>
            <a:off x="11401974" y="6349470"/>
            <a:ext cx="2157758" cy="0"/>
          </a:xfrm>
          <a:custGeom>
            <a:avLst/>
            <a:gdLst/>
            <a:ahLst/>
            <a:cxnLst/>
            <a:rect l="l" t="t" r="r" b="b"/>
            <a:pathLst>
              <a:path w="1621154">
                <a:moveTo>
                  <a:pt x="0" y="0"/>
                </a:moveTo>
                <a:lnTo>
                  <a:pt x="1620901" y="0"/>
                </a:lnTo>
              </a:path>
            </a:pathLst>
          </a:custGeom>
          <a:ln w="3175">
            <a:solidFill>
              <a:srgbClr val="A6A6A6"/>
            </a:solidFill>
            <a:prstDash val="sysDot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9" name="object 16">
            <a:extLst>
              <a:ext uri="{FF2B5EF4-FFF2-40B4-BE49-F238E27FC236}">
                <a16:creationId xmlns:a16="http://schemas.microsoft.com/office/drawing/2014/main" id="{3BA174D7-2529-48E5-9290-1E4CD68B81AE}"/>
              </a:ext>
            </a:extLst>
          </p:cNvPr>
          <p:cNvSpPr txBox="1"/>
          <p:nvPr/>
        </p:nvSpPr>
        <p:spPr>
          <a:xfrm>
            <a:off x="1291038" y="3547337"/>
            <a:ext cx="3054371" cy="567463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297815" marR="5080" indent="-285750">
              <a:lnSpc>
                <a:spcPct val="100000"/>
              </a:lnSpc>
              <a:spcBef>
                <a:spcPts val="105"/>
              </a:spcBef>
            </a:pPr>
            <a:r>
              <a:rPr lang="en-US" sz="1800" spc="-5" dirty="0">
                <a:latin typeface="Arial MT"/>
                <a:cs typeface="Arial MT"/>
              </a:rPr>
              <a:t>Use of alternate reductants in BF e.g., NG, H2, Biochar</a:t>
            </a:r>
            <a:endParaRPr sz="1800" dirty="0">
              <a:latin typeface="Arial MT"/>
              <a:cs typeface="Arial MT"/>
            </a:endParaRPr>
          </a:p>
        </p:txBody>
      </p:sp>
      <p:sp>
        <p:nvSpPr>
          <p:cNvPr id="100" name="object 75">
            <a:extLst>
              <a:ext uri="{FF2B5EF4-FFF2-40B4-BE49-F238E27FC236}">
                <a16:creationId xmlns:a16="http://schemas.microsoft.com/office/drawing/2014/main" id="{D981CE89-02D2-4258-B2BA-8D66C7DDFE4B}"/>
              </a:ext>
            </a:extLst>
          </p:cNvPr>
          <p:cNvSpPr/>
          <p:nvPr/>
        </p:nvSpPr>
        <p:spPr>
          <a:xfrm>
            <a:off x="1443247" y="6275801"/>
            <a:ext cx="2558377" cy="0"/>
          </a:xfrm>
          <a:custGeom>
            <a:avLst/>
            <a:gdLst/>
            <a:ahLst/>
            <a:cxnLst/>
            <a:rect l="l" t="t" r="r" b="b"/>
            <a:pathLst>
              <a:path w="1922145">
                <a:moveTo>
                  <a:pt x="0" y="0"/>
                </a:moveTo>
                <a:lnTo>
                  <a:pt x="1921764" y="0"/>
                </a:lnTo>
              </a:path>
            </a:pathLst>
          </a:custGeom>
          <a:ln w="3175">
            <a:solidFill>
              <a:srgbClr val="A6A6A6"/>
            </a:solidFill>
            <a:prstDash val="sysDot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1" name="Title 100">
            <a:extLst>
              <a:ext uri="{FF2B5EF4-FFF2-40B4-BE49-F238E27FC236}">
                <a16:creationId xmlns:a16="http://schemas.microsoft.com/office/drawing/2014/main" id="{10F309E7-29E0-4162-8E0E-11523AB0A622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75421" y="710898"/>
            <a:ext cx="14234339" cy="737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397" dirty="0">
                <a:solidFill>
                  <a:srgbClr val="0000CC"/>
                </a:solidFill>
              </a:rPr>
              <a:t>Our carbon footprint is best in class in the geographies we operate in, and our long term  decarbonization roadmap is aligned with national commitments</a:t>
            </a:r>
            <a:endParaRPr lang="en-IN" sz="2397" dirty="0">
              <a:solidFill>
                <a:srgbClr val="0000C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7514636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470BB6E-4787-499F-950D-3DBEA6C6420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03" y="2618"/>
          <a:ext cx="1903" cy="190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3" name="think-cell Slide" r:id="rId8" imgW="442" imgH="442" progId="TCLayout.ActiveDocument.1">
                  <p:embed/>
                </p:oleObj>
              </mc:Choice>
              <mc:Fallback>
                <p:oleObj name="think-cell Slide" r:id="rId8" imgW="442" imgH="44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470BB6E-4787-499F-950D-3DBEA6C642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903" y="2618"/>
                        <a:ext cx="1903" cy="190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>
            <a:extLst>
              <a:ext uri="{FF2B5EF4-FFF2-40B4-BE49-F238E27FC236}">
                <a16:creationId xmlns:a16="http://schemas.microsoft.com/office/drawing/2014/main" id="{99C84EFE-2D71-441A-8584-53A69181C83E}"/>
              </a:ext>
            </a:extLst>
          </p:cNvPr>
          <p:cNvSpPr/>
          <p:nvPr/>
        </p:nvSpPr>
        <p:spPr bwMode="auto">
          <a:xfrm>
            <a:off x="-1" y="1332473"/>
            <a:ext cx="14652626" cy="777242"/>
          </a:xfrm>
          <a:prstGeom prst="rect">
            <a:avLst/>
          </a:prstGeom>
          <a:ln w="3175">
            <a:headEnd type="none" w="med" len="med"/>
            <a:tailEnd type="none" w="med" len="me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none" lIns="109595" tIns="54798" rIns="109595" bIns="54798" numCol="1" rtlCol="0" anchor="ctr" anchorCtr="0" compatLnSpc="1">
            <a:prstTxWarp prst="textNoShape">
              <a:avLst/>
            </a:prstTxWarp>
          </a:bodyPr>
          <a:lstStyle/>
          <a:p>
            <a:pPr algn="ctr" defTabSz="1095908"/>
            <a:endParaRPr lang="en-IN" sz="2157">
              <a:solidFill>
                <a:schemeClr val="tx1"/>
              </a:solidFill>
              <a:latin typeface="Arial" charset="0"/>
              <a:cs typeface="Arial" charset="0"/>
            </a:endParaRPr>
          </a:p>
        </p:txBody>
      </p:sp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2EA6187-98FE-4676-8D74-DC189621B839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-1" y="715"/>
            <a:ext cx="190269" cy="190269"/>
          </a:xfrm>
          <a:prstGeom prst="rect">
            <a:avLst/>
          </a:prstGeom>
          <a:solidFill>
            <a:schemeClr val="accent1"/>
          </a:solidFill>
          <a:ln w="19050" cap="flat" cmpd="sng" algn="ctr">
            <a:solidFill>
              <a:srgbClr val="808080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637" b="1" dirty="0">
              <a:ea typeface="+mj-ea"/>
              <a:sym typeface="Arial" panose="020B0604020202020204" pitchFamily="34" charset="0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3D94B2F0-8AED-46C5-B3E1-F84E015E45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843" y="473538"/>
            <a:ext cx="14028816" cy="73776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2397" dirty="0">
                <a:solidFill>
                  <a:srgbClr val="0000CC"/>
                </a:solidFill>
              </a:rPr>
              <a:t>TSL has developed a low carbon transition strategy, spread over three horizons which progressively reduces reliance on fossil fuel, yet allows for growth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E8125B-5C14-48B8-81EC-5B0CC7AFE76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468254" y="2205722"/>
            <a:ext cx="4079032" cy="1479764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3440" tIns="93440" rIns="93440" bIns="9344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678" b="1" u="sng" dirty="0">
                <a:solidFill>
                  <a:srgbClr val="FFFFFF"/>
                </a:solidFill>
              </a:rPr>
              <a:t>Horizon 1</a:t>
            </a:r>
            <a:r>
              <a:rPr lang="en-US" sz="1678" b="1" dirty="0">
                <a:solidFill>
                  <a:srgbClr val="FFFFFF"/>
                </a:solidFill>
              </a:rPr>
              <a:t>: By 2025</a:t>
            </a:r>
            <a:r>
              <a:rPr lang="en-US" sz="1678" dirty="0">
                <a:solidFill>
                  <a:srgbClr val="FFFFFF"/>
                </a:solidFill>
              </a:rPr>
              <a:t>, </a:t>
            </a:r>
            <a:r>
              <a:rPr lang="en-US" altLang="en-US" sz="1678" dirty="0">
                <a:solidFill>
                  <a:schemeClr val="bg1"/>
                </a:solidFill>
                <a:sym typeface="+mn-lt"/>
              </a:rPr>
              <a:t>Achieve specific carbon emission of around 2 tCO</a:t>
            </a:r>
            <a:r>
              <a:rPr lang="en-US" altLang="en-US" sz="1678" baseline="-25000" dirty="0">
                <a:solidFill>
                  <a:schemeClr val="bg1"/>
                </a:solidFill>
                <a:sym typeface="+mn-lt"/>
              </a:rPr>
              <a:t>2 </a:t>
            </a:r>
            <a:r>
              <a:rPr lang="en-US" altLang="en-US" sz="1678" dirty="0">
                <a:solidFill>
                  <a:schemeClr val="bg1"/>
                </a:solidFill>
                <a:sym typeface="+mn-lt"/>
              </a:rPr>
              <a:t>per tcs </a:t>
            </a:r>
            <a:r>
              <a:rPr lang="en-US" altLang="en-US" sz="1678" dirty="0">
                <a:solidFill>
                  <a:schemeClr val="bg1"/>
                </a:solidFill>
              </a:rPr>
              <a:t>- implement BAT to achieve benchmark levels in energy efficiency and Carbon emissions through BF-BOF route</a:t>
            </a:r>
            <a:endParaRPr lang="en-US" sz="1678" dirty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03C1BF9-FD50-4017-8173-AB07C8A74163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60930" y="4256844"/>
            <a:ext cx="3893680" cy="1221552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3440" tIns="93440" rIns="93440" bIns="9344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678" b="1" u="sng" dirty="0">
                <a:solidFill>
                  <a:srgbClr val="FFFFFF"/>
                </a:solidFill>
              </a:rPr>
              <a:t>Horizon 2:</a:t>
            </a:r>
            <a:r>
              <a:rPr lang="en-US" sz="1678" b="1" dirty="0">
                <a:solidFill>
                  <a:srgbClr val="FFFFFF"/>
                </a:solidFill>
              </a:rPr>
              <a:t> By 2030</a:t>
            </a:r>
            <a:r>
              <a:rPr lang="en-US" sz="1678" dirty="0">
                <a:solidFill>
                  <a:srgbClr val="FFFFFF"/>
                </a:solidFill>
              </a:rPr>
              <a:t>, grow through Scrap-EAF route, improve efficiency of existing assets by augmenting with low emission H</a:t>
            </a:r>
            <a:r>
              <a:rPr lang="en-US" sz="1678" baseline="-25000" dirty="0">
                <a:solidFill>
                  <a:srgbClr val="FFFFFF"/>
                </a:solidFill>
              </a:rPr>
              <a:t>2</a:t>
            </a:r>
            <a:r>
              <a:rPr lang="en-US" sz="1678" dirty="0">
                <a:solidFill>
                  <a:srgbClr val="FFFFFF"/>
                </a:solidFill>
              </a:rPr>
              <a:t> rich fuels like NG in BFs</a:t>
            </a:r>
            <a:endParaRPr lang="en-US" sz="1678" dirty="0">
              <a:solidFill>
                <a:schemeClr val="bg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35DDC12-7093-4869-BDE5-6076A5E72FD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60930" y="5931823"/>
            <a:ext cx="3893680" cy="1737975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3440" tIns="93440" rIns="93440" bIns="9344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678" b="1" u="sng" dirty="0">
                <a:solidFill>
                  <a:srgbClr val="FFFFFF"/>
                </a:solidFill>
              </a:rPr>
              <a:t>Horizon 3:</a:t>
            </a:r>
            <a:r>
              <a:rPr lang="en-US" sz="1678" b="1" dirty="0">
                <a:solidFill>
                  <a:srgbClr val="FFFFFF"/>
                </a:solidFill>
              </a:rPr>
              <a:t> Between 2030 - 2045</a:t>
            </a:r>
            <a:r>
              <a:rPr lang="en-US" sz="1678" dirty="0">
                <a:solidFill>
                  <a:srgbClr val="FFFFFF"/>
                </a:solidFill>
              </a:rPr>
              <a:t>, d</a:t>
            </a:r>
            <a:r>
              <a:rPr lang="en-US" altLang="en-US" sz="1678" dirty="0">
                <a:solidFill>
                  <a:schemeClr val="bg1"/>
                </a:solidFill>
              </a:rPr>
              <a:t>ecouple absolute CO</a:t>
            </a:r>
            <a:r>
              <a:rPr lang="en-US" altLang="en-US" sz="1678" baseline="-25000" dirty="0">
                <a:solidFill>
                  <a:schemeClr val="bg1"/>
                </a:solidFill>
              </a:rPr>
              <a:t>2</a:t>
            </a:r>
            <a:r>
              <a:rPr lang="en-US" altLang="en-US" sz="1678" dirty="0">
                <a:solidFill>
                  <a:schemeClr val="bg1"/>
                </a:solidFill>
              </a:rPr>
              <a:t> emission from growth by introducing hydrogen and CCUS at ironmaking stage and </a:t>
            </a:r>
            <a:r>
              <a:rPr lang="en-IN" altLang="en-US" sz="1678" dirty="0">
                <a:solidFill>
                  <a:schemeClr val="bg1"/>
                </a:solidFill>
              </a:rPr>
              <a:t>adding capacity through</a:t>
            </a:r>
            <a:r>
              <a:rPr lang="en-IN" sz="1678" dirty="0">
                <a:solidFill>
                  <a:schemeClr val="bg1"/>
                </a:solidFill>
              </a:rPr>
              <a:t> cleaner technology configurations</a:t>
            </a:r>
            <a:endParaRPr lang="en-US" sz="1678" dirty="0">
              <a:solidFill>
                <a:srgbClr val="FFFFFF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86B0884-9017-4CC1-9341-796DDFB0CB4A}"/>
              </a:ext>
            </a:extLst>
          </p:cNvPr>
          <p:cNvSpPr txBox="1">
            <a:spLocks/>
          </p:cNvSpPr>
          <p:nvPr/>
        </p:nvSpPr>
        <p:spPr>
          <a:xfrm>
            <a:off x="4895802" y="2176673"/>
            <a:ext cx="4204018" cy="1553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buClr>
                <a:srgbClr val="00002A"/>
              </a:buClr>
              <a:buFont typeface="Wingdings" panose="05000000000000000000" pitchFamily="2" charset="2"/>
              <a:buChar char="§"/>
            </a:pPr>
            <a:r>
              <a:rPr lang="en-US" sz="1683" dirty="0"/>
              <a:t>Energy and Process Efficiency measures</a:t>
            </a:r>
          </a:p>
          <a:p>
            <a:pPr lvl="1">
              <a:buClr>
                <a:srgbClr val="00002A"/>
              </a:buClr>
              <a:buFont typeface="Wingdings" panose="05000000000000000000" pitchFamily="2" charset="2"/>
              <a:buChar char="§"/>
            </a:pPr>
            <a:r>
              <a:rPr lang="en-US" sz="1683" dirty="0"/>
              <a:t>Upgradation of existing facilities with efficient ones </a:t>
            </a:r>
          </a:p>
          <a:p>
            <a:pPr lvl="1">
              <a:buClr>
                <a:srgbClr val="00002A"/>
              </a:buClr>
              <a:buFont typeface="Wingdings" panose="05000000000000000000" pitchFamily="2" charset="2"/>
              <a:buChar char="§"/>
            </a:pPr>
            <a:r>
              <a:rPr lang="en-US" sz="1683" dirty="0"/>
              <a:t>Expansion with best available technologies </a:t>
            </a:r>
          </a:p>
          <a:p>
            <a:pPr lvl="1">
              <a:buClr>
                <a:srgbClr val="00002A"/>
              </a:buClr>
              <a:buFont typeface="Wingdings" panose="05000000000000000000" pitchFamily="2" charset="2"/>
              <a:buChar char="§"/>
            </a:pPr>
            <a:r>
              <a:rPr lang="en-US" sz="1683" dirty="0"/>
              <a:t>Invest in renewable energy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EE52881-6B48-4C9B-BB3E-70D2D961423E}"/>
              </a:ext>
            </a:extLst>
          </p:cNvPr>
          <p:cNvSpPr txBox="1">
            <a:spLocks/>
          </p:cNvSpPr>
          <p:nvPr/>
        </p:nvSpPr>
        <p:spPr>
          <a:xfrm>
            <a:off x="4863082" y="4057667"/>
            <a:ext cx="4120280" cy="1631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lnSpc>
                <a:spcPct val="90000"/>
              </a:lnSpc>
              <a:buClr>
                <a:srgbClr val="00002A"/>
              </a:buClr>
            </a:pPr>
            <a:r>
              <a:rPr lang="en-US" sz="1683" dirty="0"/>
              <a:t>Use of good quality feedstocks </a:t>
            </a:r>
          </a:p>
          <a:p>
            <a:pPr lvl="1">
              <a:lnSpc>
                <a:spcPct val="90000"/>
              </a:lnSpc>
              <a:buClr>
                <a:srgbClr val="00002A"/>
              </a:buClr>
            </a:pPr>
            <a:r>
              <a:rPr lang="en-US" sz="1683" dirty="0"/>
              <a:t>Growth via scrap based EAF route</a:t>
            </a:r>
          </a:p>
          <a:p>
            <a:pPr lvl="1">
              <a:lnSpc>
                <a:spcPct val="90000"/>
              </a:lnSpc>
              <a:buClr>
                <a:srgbClr val="00002A"/>
              </a:buClr>
            </a:pPr>
            <a:r>
              <a:rPr lang="en-US" sz="1683" dirty="0"/>
              <a:t>Use of H</a:t>
            </a:r>
            <a:r>
              <a:rPr lang="en-US" sz="1683" baseline="-25000" dirty="0"/>
              <a:t>2</a:t>
            </a:r>
            <a:r>
              <a:rPr lang="en-US" sz="1683" dirty="0"/>
              <a:t> rich gas (e.g., Natural Gas) for tuyere injection</a:t>
            </a:r>
            <a:endParaRPr lang="en-IN" sz="1683" dirty="0"/>
          </a:p>
          <a:p>
            <a:pPr lvl="1">
              <a:lnSpc>
                <a:spcPct val="90000"/>
              </a:lnSpc>
              <a:buClr>
                <a:srgbClr val="00002A"/>
              </a:buClr>
            </a:pPr>
            <a:r>
              <a:rPr lang="en-IN" sz="1683" dirty="0"/>
              <a:t>Carbon Capture &amp; Utilization (CCU) to Methanol and Carbon Capture &amp; Storage (CCS)</a:t>
            </a:r>
            <a:endParaRPr lang="en-US" sz="1683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264C5FC-63AA-44D5-9964-1A4E13DDA70F}"/>
              </a:ext>
            </a:extLst>
          </p:cNvPr>
          <p:cNvSpPr txBox="1">
            <a:spLocks/>
          </p:cNvSpPr>
          <p:nvPr/>
        </p:nvSpPr>
        <p:spPr>
          <a:xfrm>
            <a:off x="4863080" y="5931533"/>
            <a:ext cx="4236740" cy="1864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lnSpc>
                <a:spcPct val="90000"/>
              </a:lnSpc>
              <a:buClr>
                <a:srgbClr val="00002A"/>
              </a:buClr>
            </a:pPr>
            <a:r>
              <a:rPr lang="en-US" sz="1683" dirty="0"/>
              <a:t>Modifying existing BF assets with CCU/S at next investment cycle</a:t>
            </a:r>
          </a:p>
          <a:p>
            <a:pPr lvl="1">
              <a:lnSpc>
                <a:spcPct val="90000"/>
              </a:lnSpc>
              <a:buClr>
                <a:srgbClr val="00002A"/>
              </a:buClr>
            </a:pPr>
            <a:r>
              <a:rPr lang="en-US" sz="1683" dirty="0"/>
              <a:t>Offset ‘unavoidable emission’ through Carbon Capture Utilization and Storage(CCUS)</a:t>
            </a:r>
          </a:p>
          <a:p>
            <a:pPr lvl="1">
              <a:lnSpc>
                <a:spcPct val="90000"/>
              </a:lnSpc>
              <a:buClr>
                <a:srgbClr val="00002A"/>
              </a:buClr>
            </a:pPr>
            <a:r>
              <a:rPr lang="en-US" sz="1683" dirty="0"/>
              <a:t>Green Hydrogen based Direct Reduced Iron + Electric Arc Furnace (DRI-EAF)</a:t>
            </a:r>
          </a:p>
          <a:p>
            <a:pPr lvl="1">
              <a:lnSpc>
                <a:spcPct val="90000"/>
              </a:lnSpc>
              <a:buClr>
                <a:srgbClr val="00002A"/>
              </a:buClr>
            </a:pPr>
            <a:r>
              <a:rPr lang="en-US" sz="1683" dirty="0"/>
              <a:t>De-</a:t>
            </a:r>
            <a:r>
              <a:rPr lang="en-US" sz="1683" dirty="0" err="1"/>
              <a:t>carbonise</a:t>
            </a:r>
            <a:r>
              <a:rPr lang="en-US" sz="1683" dirty="0"/>
              <a:t> incoming utilities completely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7EE73AA-2EC1-4088-BA02-AE1357A13DD5}"/>
              </a:ext>
            </a:extLst>
          </p:cNvPr>
          <p:cNvSpPr/>
          <p:nvPr/>
        </p:nvSpPr>
        <p:spPr>
          <a:xfrm>
            <a:off x="9730112" y="2617393"/>
            <a:ext cx="3834188" cy="6087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3397" indent="-343397">
              <a:buFont typeface="Wingdings" panose="05000000000000000000" pitchFamily="2" charset="2"/>
              <a:buChar char="§"/>
            </a:pPr>
            <a:r>
              <a:rPr lang="en-IN" sz="1678" dirty="0"/>
              <a:t>Availability of clean scrap</a:t>
            </a:r>
          </a:p>
          <a:p>
            <a:endParaRPr lang="en-IN" sz="1678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C5F37F1-BCB8-4ED6-8EC2-E49B8F9CB20E}"/>
              </a:ext>
            </a:extLst>
          </p:cNvPr>
          <p:cNvSpPr/>
          <p:nvPr/>
        </p:nvSpPr>
        <p:spPr>
          <a:xfrm>
            <a:off x="9730112" y="3782335"/>
            <a:ext cx="4737887" cy="21822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3397" indent="-343397">
              <a:buFont typeface="Wingdings" panose="05000000000000000000" pitchFamily="2" charset="2"/>
              <a:buChar char="§"/>
            </a:pPr>
            <a:r>
              <a:rPr lang="en-IN" sz="1683" dirty="0"/>
              <a:t>Access to low-cost green capital</a:t>
            </a:r>
            <a:endParaRPr lang="en-US" sz="1683" b="1" dirty="0">
              <a:solidFill>
                <a:schemeClr val="tx2"/>
              </a:solidFill>
            </a:endParaRPr>
          </a:p>
          <a:p>
            <a:pPr marL="343397" indent="-343397">
              <a:buFont typeface="Wingdings" panose="05000000000000000000" pitchFamily="2" charset="2"/>
              <a:buChar char="§"/>
            </a:pPr>
            <a:r>
              <a:rPr lang="en-IN" sz="1683" dirty="0"/>
              <a:t>Carbon pricing  between </a:t>
            </a:r>
            <a:r>
              <a:rPr lang="en-IN" sz="1680" b="1" dirty="0">
                <a:solidFill>
                  <a:srgbClr val="0000CC"/>
                </a:solidFill>
              </a:rPr>
              <a:t>10 – 30 $/</a:t>
            </a:r>
            <a:r>
              <a:rPr lang="en-US" sz="1680" b="1" dirty="0">
                <a:solidFill>
                  <a:srgbClr val="0000CC"/>
                </a:solidFill>
              </a:rPr>
              <a:t>ton</a:t>
            </a:r>
            <a:endParaRPr lang="en-IN" sz="1680" b="1" dirty="0">
              <a:solidFill>
                <a:srgbClr val="0000CC"/>
              </a:solidFill>
            </a:endParaRPr>
          </a:p>
          <a:p>
            <a:pPr marL="343397" indent="-343397">
              <a:buFont typeface="Wingdings" panose="05000000000000000000" pitchFamily="2" charset="2"/>
              <a:buChar char="§"/>
            </a:pPr>
            <a:r>
              <a:rPr lang="en-US" sz="1683" dirty="0"/>
              <a:t>Establishing supply chain for scrap availability for EAF</a:t>
            </a:r>
          </a:p>
          <a:p>
            <a:pPr marL="343397" indent="-343397">
              <a:buFont typeface="Wingdings" panose="05000000000000000000" pitchFamily="2" charset="2"/>
              <a:buChar char="§"/>
            </a:pPr>
            <a:r>
              <a:rPr lang="en-IN" sz="1683" dirty="0"/>
              <a:t>Support of public procurement of low carbon embedded steel.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IN" sz="1683" dirty="0"/>
              <a:t> Retrofitting feasibility of new assets</a:t>
            </a:r>
          </a:p>
          <a:p>
            <a:endParaRPr lang="en-IN" sz="1683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453BE3F-7619-49B7-BEAC-6AA4487718A9}"/>
              </a:ext>
            </a:extLst>
          </p:cNvPr>
          <p:cNvSpPr/>
          <p:nvPr/>
        </p:nvSpPr>
        <p:spPr>
          <a:xfrm>
            <a:off x="9730112" y="5846578"/>
            <a:ext cx="4737885" cy="21822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3397" indent="-343397">
              <a:buFont typeface="Wingdings" panose="05000000000000000000" pitchFamily="2" charset="2"/>
              <a:buChar char="§"/>
            </a:pPr>
            <a:r>
              <a:rPr lang="en-IN" sz="1683" dirty="0"/>
              <a:t>Access to low-cost green capital</a:t>
            </a:r>
          </a:p>
          <a:p>
            <a:pPr marL="343397" indent="-343397">
              <a:buFont typeface="Wingdings" panose="05000000000000000000" pitchFamily="2" charset="2"/>
              <a:buChar char="§"/>
            </a:pPr>
            <a:r>
              <a:rPr lang="en-IN" sz="1683" dirty="0"/>
              <a:t>Carbon pricing between </a:t>
            </a:r>
            <a:r>
              <a:rPr lang="en-IN" sz="1683" b="1" dirty="0">
                <a:solidFill>
                  <a:srgbClr val="0000CC"/>
                </a:solidFill>
              </a:rPr>
              <a:t>40-100 </a:t>
            </a:r>
            <a:r>
              <a:rPr lang="en-IN" sz="1800" b="1" dirty="0">
                <a:solidFill>
                  <a:srgbClr val="0000CC"/>
                </a:solidFill>
              </a:rPr>
              <a:t>$/</a:t>
            </a:r>
            <a:r>
              <a:rPr lang="en-US" sz="1800" b="1" dirty="0">
                <a:solidFill>
                  <a:srgbClr val="0000CC"/>
                </a:solidFill>
              </a:rPr>
              <a:t>ton</a:t>
            </a:r>
            <a:endParaRPr lang="en-IN" sz="1683" b="1" dirty="0">
              <a:solidFill>
                <a:srgbClr val="0000CC"/>
              </a:solidFill>
            </a:endParaRPr>
          </a:p>
          <a:p>
            <a:pPr marL="343397" indent="-343397">
              <a:buFont typeface="Wingdings" panose="05000000000000000000" pitchFamily="2" charset="2"/>
              <a:buChar char="§"/>
            </a:pPr>
            <a:r>
              <a:rPr lang="en-IN" sz="1683" dirty="0"/>
              <a:t>Commercialization of net zero technologies –CCU/S and H</a:t>
            </a:r>
            <a:r>
              <a:rPr lang="en-IN" sz="1683" baseline="-25000" dirty="0"/>
              <a:t>2</a:t>
            </a:r>
            <a:endParaRPr lang="en-IN" sz="1683" dirty="0"/>
          </a:p>
          <a:p>
            <a:pPr marL="343397" indent="-343397">
              <a:buFont typeface="Wingdings" panose="05000000000000000000" pitchFamily="2" charset="2"/>
              <a:buChar char="§"/>
            </a:pPr>
            <a:r>
              <a:rPr lang="en-IN" sz="1683" dirty="0"/>
              <a:t>Market for products utilizing CO</a:t>
            </a:r>
            <a:r>
              <a:rPr lang="en-IN" sz="1683" baseline="-25000" dirty="0"/>
              <a:t>2</a:t>
            </a:r>
          </a:p>
          <a:p>
            <a:pPr marL="343397" indent="-343397">
              <a:buFont typeface="Wingdings" panose="05000000000000000000" pitchFamily="2" charset="2"/>
              <a:buChar char="§"/>
            </a:pPr>
            <a:r>
              <a:rPr lang="en-IN" sz="1683" dirty="0"/>
              <a:t>Support of public procurement of low carbon embedded steel</a:t>
            </a:r>
            <a:endParaRPr lang="en-IN" sz="1683" baseline="-25000" dirty="0"/>
          </a:p>
          <a:p>
            <a:pPr marL="343397" indent="-343397">
              <a:buFont typeface="Wingdings" panose="05000000000000000000" pitchFamily="2" charset="2"/>
              <a:buChar char="§"/>
            </a:pPr>
            <a:r>
              <a:rPr lang="en-IN" sz="1683" dirty="0"/>
              <a:t>Low-cost renewable electricity 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283EFF24-8CE2-4094-A136-FE72E3DA969A}"/>
              </a:ext>
            </a:extLst>
          </p:cNvPr>
          <p:cNvSpPr txBox="1"/>
          <p:nvPr/>
        </p:nvSpPr>
        <p:spPr>
          <a:xfrm>
            <a:off x="9912171" y="1378560"/>
            <a:ext cx="3541850" cy="646331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Abatement </a:t>
            </a:r>
          </a:p>
          <a:p>
            <a:pPr algn="ctr"/>
            <a:r>
              <a:rPr lang="en-US" b="1" dirty="0"/>
              <a:t>contingent to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A05ABCEC-1711-4426-B9D2-ECF8FFF81098}"/>
              </a:ext>
            </a:extLst>
          </p:cNvPr>
          <p:cNvSpPr txBox="1"/>
          <p:nvPr/>
        </p:nvSpPr>
        <p:spPr>
          <a:xfrm>
            <a:off x="5132328" y="1332473"/>
            <a:ext cx="335840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b="1" dirty="0"/>
              <a:t>Key emission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b="1" dirty="0"/>
              <a:t>reduction measures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66BCC774-252A-49BA-B866-C7A512410DB8}"/>
              </a:ext>
            </a:extLst>
          </p:cNvPr>
          <p:cNvSpPr txBox="1"/>
          <p:nvPr/>
        </p:nvSpPr>
        <p:spPr>
          <a:xfrm>
            <a:off x="468254" y="1462144"/>
            <a:ext cx="36195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Transition strategy 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6150DFBC-FABB-44C9-A393-E9DF5D4A414D}"/>
              </a:ext>
            </a:extLst>
          </p:cNvPr>
          <p:cNvCxnSpPr>
            <a:cxnSpLocks/>
          </p:cNvCxnSpPr>
          <p:nvPr/>
        </p:nvCxnSpPr>
        <p:spPr bwMode="auto">
          <a:xfrm flipV="1">
            <a:off x="468254" y="3733827"/>
            <a:ext cx="13758405" cy="78448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808080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00FDF47C-BB29-4464-A2B0-89ED8AC5D816}"/>
              </a:ext>
            </a:extLst>
          </p:cNvPr>
          <p:cNvCxnSpPr>
            <a:cxnSpLocks/>
          </p:cNvCxnSpPr>
          <p:nvPr/>
        </p:nvCxnSpPr>
        <p:spPr bwMode="auto">
          <a:xfrm flipV="1">
            <a:off x="442179" y="5756635"/>
            <a:ext cx="13768266" cy="78505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808080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723459986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5"/>
          </p:nvPr>
        </p:nvSpPr>
        <p:spPr>
          <a:xfrm>
            <a:off x="205226" y="539556"/>
            <a:ext cx="13957772" cy="799579"/>
          </a:xfrm>
        </p:spPr>
        <p:txBody>
          <a:bodyPr/>
          <a:lstStyle/>
          <a:p>
            <a:pPr marL="0" indent="0">
              <a:buNone/>
            </a:pPr>
            <a:r>
              <a:rPr lang="en-IN" sz="2397" b="1" dirty="0">
                <a:solidFill>
                  <a:srgbClr val="0000CC"/>
                </a:solidFill>
                <a:ea typeface="+mj-ea"/>
              </a:rPr>
              <a:t>Realised Impacts: PAT </a:t>
            </a:r>
            <a:r>
              <a:rPr lang="en-IN" sz="2397" b="1" dirty="0" smtClean="0">
                <a:solidFill>
                  <a:srgbClr val="0000CC"/>
                </a:solidFill>
                <a:ea typeface="+mj-ea"/>
              </a:rPr>
              <a:t>Cycle </a:t>
            </a:r>
            <a:r>
              <a:rPr lang="en-IN" sz="2397" b="1" dirty="0">
                <a:solidFill>
                  <a:srgbClr val="0000CC"/>
                </a:solidFill>
                <a:ea typeface="+mj-ea"/>
              </a:rPr>
              <a:t>in Tata Steel</a:t>
            </a: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6506000"/>
              </p:ext>
            </p:extLst>
          </p:nvPr>
        </p:nvGraphicFramePr>
        <p:xfrm>
          <a:off x="205226" y="1096075"/>
          <a:ext cx="14116974" cy="3564828"/>
        </p:xfrm>
        <a:graphic>
          <a:graphicData uri="http://schemas.openxmlformats.org/drawingml/2006/table">
            <a:tbl>
              <a:tblPr firstRow="1" firstCol="1">
                <a:tableStyleId>{7DF18680-E054-41AD-8BC1-D1AEF772440D}</a:tableStyleId>
              </a:tblPr>
              <a:tblGrid>
                <a:gridCol w="2127494">
                  <a:extLst>
                    <a:ext uri="{9D8B030D-6E8A-4147-A177-3AD203B41FA5}">
                      <a16:colId xmlns:a16="http://schemas.microsoft.com/office/drawing/2014/main" val="185885086"/>
                    </a:ext>
                  </a:extLst>
                </a:gridCol>
                <a:gridCol w="2362792">
                  <a:extLst>
                    <a:ext uri="{9D8B030D-6E8A-4147-A177-3AD203B41FA5}">
                      <a16:colId xmlns:a16="http://schemas.microsoft.com/office/drawing/2014/main" val="2024230156"/>
                    </a:ext>
                  </a:extLst>
                </a:gridCol>
                <a:gridCol w="2821848">
                  <a:extLst>
                    <a:ext uri="{9D8B030D-6E8A-4147-A177-3AD203B41FA5}">
                      <a16:colId xmlns:a16="http://schemas.microsoft.com/office/drawing/2014/main" val="933135801"/>
                    </a:ext>
                  </a:extLst>
                </a:gridCol>
                <a:gridCol w="2659828">
                  <a:extLst>
                    <a:ext uri="{9D8B030D-6E8A-4147-A177-3AD203B41FA5}">
                      <a16:colId xmlns:a16="http://schemas.microsoft.com/office/drawing/2014/main" val="1517901892"/>
                    </a:ext>
                  </a:extLst>
                </a:gridCol>
                <a:gridCol w="1957742">
                  <a:extLst>
                    <a:ext uri="{9D8B030D-6E8A-4147-A177-3AD203B41FA5}">
                      <a16:colId xmlns:a16="http://schemas.microsoft.com/office/drawing/2014/main" val="1587572533"/>
                    </a:ext>
                  </a:extLst>
                </a:gridCol>
                <a:gridCol w="2187270">
                  <a:extLst>
                    <a:ext uri="{9D8B030D-6E8A-4147-A177-3AD203B41FA5}">
                      <a16:colId xmlns:a16="http://schemas.microsoft.com/office/drawing/2014/main" val="2773692444"/>
                    </a:ext>
                  </a:extLst>
                </a:gridCol>
              </a:tblGrid>
              <a:tr h="53038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IN" sz="1600" dirty="0">
                          <a:effectLst/>
                        </a:rPr>
                        <a:t>Unit</a:t>
                      </a:r>
                      <a:endParaRPr lang="en-IN" sz="1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IN" sz="1600" dirty="0">
                          <a:effectLst/>
                        </a:rPr>
                        <a:t>PAT Cycle</a:t>
                      </a:r>
                      <a:endParaRPr lang="en-IN" sz="1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IN" sz="1600" dirty="0">
                          <a:effectLst/>
                        </a:rPr>
                        <a:t>Target</a:t>
                      </a:r>
                      <a:endParaRPr lang="en-IN" sz="1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IN" sz="1600" dirty="0">
                          <a:effectLst/>
                        </a:rPr>
                        <a:t>Achievement Levels </a:t>
                      </a:r>
                      <a:endParaRPr lang="en-IN" sz="1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IN" sz="1800" dirty="0" err="1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</a:rPr>
                        <a:t>Escerts</a:t>
                      </a:r>
                      <a:r>
                        <a:rPr lang="en-IN" sz="18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</a:rPr>
                        <a:t> Issued </a:t>
                      </a:r>
                      <a:endParaRPr lang="en-IN" sz="1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IN" sz="1800" b="1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</a:rPr>
                        <a:t>Energy</a:t>
                      </a:r>
                      <a:r>
                        <a:rPr lang="en-IN" sz="1800" b="1" baseline="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</a:rPr>
                        <a:t> Saving </a:t>
                      </a:r>
                      <a:endParaRPr lang="en-IN" sz="18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4163933"/>
                  </a:ext>
                </a:extLst>
              </a:tr>
              <a:tr h="37930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IN" sz="1600">
                          <a:effectLst/>
                        </a:rPr>
                        <a:t>TSJ</a:t>
                      </a:r>
                      <a:endParaRPr lang="en-IN" sz="18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IN" sz="1600">
                          <a:effectLst/>
                        </a:rPr>
                        <a:t>PAT 1/PAT 2/PAT 7</a:t>
                      </a:r>
                      <a:endParaRPr lang="en-IN" sz="18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IN" sz="1600" dirty="0">
                          <a:effectLst/>
                        </a:rPr>
                        <a:t>0.607/0.5802/0.5620</a:t>
                      </a:r>
                      <a:endParaRPr lang="en-IN" sz="1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IN" sz="1600" dirty="0">
                          <a:effectLst/>
                        </a:rPr>
                        <a:t>0.581/0.5668</a:t>
                      </a:r>
                      <a:endParaRPr lang="en-IN" sz="1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IN" sz="18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</a:rPr>
                        <a:t>40188/125053</a:t>
                      </a:r>
                      <a:endParaRPr lang="en-IN" sz="1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IN" sz="1800" b="1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</a:rPr>
                        <a:t>6.62%</a:t>
                      </a:r>
                      <a:endParaRPr lang="en-IN" sz="18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6113606"/>
                  </a:ext>
                </a:extLst>
              </a:tr>
              <a:tr h="37930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IN" sz="1600">
                          <a:effectLst/>
                        </a:rPr>
                        <a:t>TSLPL Joda</a:t>
                      </a:r>
                      <a:endParaRPr lang="en-IN" sz="18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IN" sz="1600">
                          <a:effectLst/>
                        </a:rPr>
                        <a:t>PAT 1/PAT 2/PAT 7</a:t>
                      </a:r>
                      <a:endParaRPr lang="en-IN" sz="18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IN" sz="1600" dirty="0">
                          <a:effectLst/>
                        </a:rPr>
                        <a:t>0.551/0.5202/0.3881</a:t>
                      </a:r>
                      <a:endParaRPr lang="en-IN" sz="1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IN" sz="1600" dirty="0">
                          <a:effectLst/>
                        </a:rPr>
                        <a:t>0.5201/0.394</a:t>
                      </a:r>
                      <a:endParaRPr lang="en-IN" sz="1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IN" sz="18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</a:rPr>
                        <a:t>20153/36783</a:t>
                      </a:r>
                      <a:endParaRPr lang="en-IN" sz="1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IN" sz="1800" b="1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</a:rPr>
                        <a:t>28.07%</a:t>
                      </a:r>
                      <a:endParaRPr lang="en-IN" sz="18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8714361"/>
                  </a:ext>
                </a:extLst>
              </a:tr>
              <a:tr h="37930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IN" sz="1600">
                          <a:effectLst/>
                        </a:rPr>
                        <a:t>TSLPL Gamharia</a:t>
                      </a:r>
                      <a:endParaRPr lang="en-IN" sz="18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IN" sz="1600">
                          <a:effectLst/>
                        </a:rPr>
                        <a:t>PAT 1/PAT 2/PAT 7</a:t>
                      </a:r>
                      <a:endParaRPr lang="en-IN" sz="18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IN" sz="1600" dirty="0">
                          <a:effectLst/>
                        </a:rPr>
                        <a:t>0.229/1.6324/0.6984</a:t>
                      </a:r>
                      <a:endParaRPr lang="en-IN" sz="1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IN" sz="1600" dirty="0">
                          <a:effectLst/>
                        </a:rPr>
                        <a:t>PAT 2 Cycle: 0.792</a:t>
                      </a:r>
                      <a:endParaRPr lang="en-IN" sz="1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IN" sz="18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</a:rPr>
                        <a:t>26543</a:t>
                      </a:r>
                      <a:endParaRPr lang="en-IN" sz="1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IN" sz="1800" b="1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</a:rPr>
                        <a:t>51.48%</a:t>
                      </a:r>
                      <a:endParaRPr lang="en-IN" sz="18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1919368"/>
                  </a:ext>
                </a:extLst>
              </a:tr>
              <a:tr h="37930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IN" sz="1600">
                          <a:effectLst/>
                        </a:rPr>
                        <a:t>TSL Sahibabad</a:t>
                      </a:r>
                      <a:endParaRPr lang="en-IN" sz="18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IN" sz="1600">
                          <a:effectLst/>
                        </a:rPr>
                        <a:t>PAT 1/PAT 2/PAT 7</a:t>
                      </a:r>
                      <a:endParaRPr lang="en-IN" sz="18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IN" sz="1600">
                          <a:effectLst/>
                        </a:rPr>
                        <a:t>0.054/0.0215/0.0170</a:t>
                      </a:r>
                      <a:endParaRPr lang="en-IN" sz="18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IN" sz="1600" dirty="0">
                          <a:effectLst/>
                        </a:rPr>
                        <a:t>0.306/0.0180</a:t>
                      </a:r>
                      <a:endParaRPr lang="en-IN" sz="1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IN" sz="18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</a:rPr>
                        <a:t>15673/25673</a:t>
                      </a:r>
                      <a:endParaRPr lang="en-IN" sz="1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IN" sz="1800" b="1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</a:rPr>
                        <a:t>40.07%</a:t>
                      </a:r>
                      <a:endParaRPr lang="en-IN" sz="18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2176629"/>
                  </a:ext>
                </a:extLst>
              </a:tr>
              <a:tr h="37930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IN" sz="1600">
                          <a:effectLst/>
                        </a:rPr>
                        <a:t>TSL Khopoli</a:t>
                      </a:r>
                      <a:endParaRPr lang="en-IN" sz="18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IN" sz="1600">
                          <a:effectLst/>
                        </a:rPr>
                        <a:t>PAT 1/PAT 2/PAT 7</a:t>
                      </a:r>
                      <a:endParaRPr lang="en-IN" sz="18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IN" sz="1600">
                          <a:effectLst/>
                        </a:rPr>
                        <a:t>0.056/0.0345/0.324</a:t>
                      </a:r>
                      <a:endParaRPr lang="en-IN" sz="18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IN" sz="1600" dirty="0" smtClean="0">
                          <a:effectLst/>
                        </a:rPr>
                        <a:t>0.0340/0.0320</a:t>
                      </a:r>
                      <a:endParaRPr lang="en-IN" sz="1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IN" sz="18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</a:rPr>
                        <a:t>24786/18743</a:t>
                      </a:r>
                      <a:endParaRPr lang="en-IN" sz="1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IN" sz="1800" b="1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</a:rPr>
                        <a:t>42.85%</a:t>
                      </a:r>
                      <a:endParaRPr lang="en-IN" sz="18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8894350"/>
                  </a:ext>
                </a:extLst>
              </a:tr>
              <a:tr h="37930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IN" sz="1600">
                          <a:effectLst/>
                        </a:rPr>
                        <a:t>TSM</a:t>
                      </a:r>
                      <a:endParaRPr lang="en-IN" sz="18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IN" sz="1600">
                          <a:effectLst/>
                        </a:rPr>
                        <a:t>PAT 3/ PAT 7 </a:t>
                      </a:r>
                      <a:endParaRPr lang="en-IN" sz="18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IN" sz="1600">
                          <a:effectLst/>
                        </a:rPr>
                        <a:t>0.6558/ 0.4921</a:t>
                      </a:r>
                      <a:endParaRPr lang="en-IN" sz="18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IN" sz="1600" dirty="0">
                          <a:effectLst/>
                        </a:rPr>
                        <a:t>0.524</a:t>
                      </a:r>
                      <a:endParaRPr lang="en-IN" sz="1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en-IN" sz="1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IN" sz="1800" b="1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</a:rPr>
                        <a:t>20%</a:t>
                      </a:r>
                      <a:endParaRPr lang="en-IN" sz="18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9770746"/>
                  </a:ext>
                </a:extLst>
              </a:tr>
              <a:tr h="37930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IN" sz="1600">
                          <a:effectLst/>
                        </a:rPr>
                        <a:t>FAP Bamnipal</a:t>
                      </a:r>
                      <a:endParaRPr lang="en-IN" sz="18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IN" sz="1600">
                          <a:effectLst/>
                        </a:rPr>
                        <a:t>PAT 3/PAT 7</a:t>
                      </a:r>
                      <a:endParaRPr lang="en-IN" sz="18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IN" sz="1600">
                          <a:effectLst/>
                        </a:rPr>
                        <a:t>0.7696/0.7608</a:t>
                      </a:r>
                      <a:endParaRPr lang="en-IN" sz="18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IN" sz="1600" dirty="0">
                          <a:effectLst/>
                        </a:rPr>
                        <a:t>0.778</a:t>
                      </a:r>
                      <a:endParaRPr lang="en-IN" sz="1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en-IN" sz="1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IN" sz="1800" b="1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</a:rPr>
                        <a:t>1%</a:t>
                      </a:r>
                      <a:endParaRPr lang="en-IN" sz="18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371255"/>
                  </a:ext>
                </a:extLst>
              </a:tr>
              <a:tr h="37930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IN" sz="1600">
                          <a:effectLst/>
                        </a:rPr>
                        <a:t>TSK</a:t>
                      </a:r>
                      <a:endParaRPr lang="en-IN" sz="18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IN" sz="1600">
                          <a:effectLst/>
                        </a:rPr>
                        <a:t>PAT 5</a:t>
                      </a:r>
                      <a:endParaRPr lang="en-IN" sz="18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IN" sz="1600">
                          <a:effectLst/>
                        </a:rPr>
                        <a:t>0.6596</a:t>
                      </a:r>
                      <a:endParaRPr lang="en-IN" sz="18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IN" sz="1600" dirty="0">
                          <a:effectLst/>
                        </a:rPr>
                        <a:t> </a:t>
                      </a:r>
                      <a:endParaRPr lang="en-IN" sz="1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en-IN" sz="1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en-IN" sz="18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83917236"/>
                  </a:ext>
                </a:extLst>
              </a:tr>
            </a:tbl>
          </a:graphicData>
        </a:graphic>
      </p:graphicFrame>
      <p:sp>
        <p:nvSpPr>
          <p:cNvPr id="7" name="Right Brace 6"/>
          <p:cNvSpPr/>
          <p:nvPr/>
        </p:nvSpPr>
        <p:spPr>
          <a:xfrm>
            <a:off x="5335866" y="7221330"/>
            <a:ext cx="77002" cy="385011"/>
          </a:xfrm>
          <a:prstGeom prst="rightBrac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grpSp>
        <p:nvGrpSpPr>
          <p:cNvPr id="2" name="Group 1"/>
          <p:cNvGrpSpPr/>
          <p:nvPr/>
        </p:nvGrpSpPr>
        <p:grpSpPr>
          <a:xfrm>
            <a:off x="-167915" y="4753216"/>
            <a:ext cx="13642615" cy="3490672"/>
            <a:chOff x="-66315" y="5200273"/>
            <a:chExt cx="7321468" cy="3490672"/>
          </a:xfrm>
        </p:grpSpPr>
        <p:graphicFrame>
          <p:nvGraphicFramePr>
            <p:cNvPr id="6" name="Chart 5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4030986212"/>
                </p:ext>
              </p:extLst>
            </p:nvPr>
          </p:nvGraphicFramePr>
          <p:xfrm>
            <a:off x="-66315" y="5502577"/>
            <a:ext cx="5871009" cy="318836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8" name="Rounded Rectangle 7"/>
            <p:cNvSpPr/>
            <p:nvPr/>
          </p:nvSpPr>
          <p:spPr>
            <a:xfrm>
              <a:off x="5614047" y="7071265"/>
              <a:ext cx="1641106" cy="952901"/>
            </a:xfrm>
            <a:prstGeom prst="round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sz="1200" b="1" dirty="0" err="1" smtClean="0">
                  <a:solidFill>
                    <a:schemeClr val="tx1"/>
                  </a:solidFill>
                </a:rPr>
                <a:t>Escerts</a:t>
              </a:r>
              <a:r>
                <a:rPr lang="en-IN" sz="1200" b="1" dirty="0" smtClean="0">
                  <a:solidFill>
                    <a:schemeClr val="tx1"/>
                  </a:solidFill>
                </a:rPr>
                <a:t> issued: 40188 and </a:t>
              </a:r>
              <a:r>
                <a:rPr lang="en-IN" sz="1200" b="1" dirty="0" err="1" smtClean="0">
                  <a:solidFill>
                    <a:schemeClr val="tx1"/>
                  </a:solidFill>
                </a:rPr>
                <a:t>Escerts</a:t>
              </a:r>
              <a:r>
                <a:rPr lang="en-IN" sz="1200" b="1" dirty="0" smtClean="0">
                  <a:solidFill>
                    <a:schemeClr val="tx1"/>
                  </a:solidFill>
                </a:rPr>
                <a:t> traded: 22673</a:t>
              </a:r>
              <a:r>
                <a:rPr lang="en-IN" sz="1200" dirty="0" smtClean="0">
                  <a:solidFill>
                    <a:schemeClr val="tx1"/>
                  </a:solidFill>
                </a:rPr>
                <a:t>  </a:t>
              </a:r>
              <a:endParaRPr lang="en-IN" sz="1200" dirty="0">
                <a:solidFill>
                  <a:schemeClr val="tx1"/>
                </a:solidFill>
              </a:endParaRP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2101018" y="5200273"/>
              <a:ext cx="227156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dirty="0" smtClean="0"/>
                <a:t>PAT I Cycle for TSJ</a:t>
              </a:r>
              <a:endParaRPr lang="en-IN" dirty="0"/>
            </a:p>
          </p:txBody>
        </p:sp>
        <p:sp>
          <p:nvSpPr>
            <p:cNvPr id="11" name="Cloud 10"/>
            <p:cNvSpPr/>
            <p:nvPr/>
          </p:nvSpPr>
          <p:spPr>
            <a:xfrm>
              <a:off x="3752835" y="5524161"/>
              <a:ext cx="2423739" cy="1390375"/>
            </a:xfrm>
            <a:prstGeom prst="cloud">
              <a:avLst/>
            </a:prstGeom>
            <a:noFill/>
            <a:ln w="2222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sz="2000" dirty="0" smtClean="0">
                  <a:solidFill>
                    <a:schemeClr val="tx1"/>
                  </a:solidFill>
                </a:rPr>
                <a:t>Total saving : </a:t>
              </a:r>
            </a:p>
            <a:p>
              <a:pPr algn="ctr"/>
              <a:r>
                <a:rPr lang="en-IN" sz="2000" dirty="0" smtClean="0">
                  <a:solidFill>
                    <a:schemeClr val="tx1"/>
                  </a:solidFill>
                </a:rPr>
                <a:t>Rs1,11,694/</a:t>
              </a:r>
              <a:r>
                <a:rPr lang="en-IN" sz="2000" dirty="0" err="1" smtClean="0">
                  <a:solidFill>
                    <a:schemeClr val="tx1"/>
                  </a:solidFill>
                </a:rPr>
                <a:t>tcs</a:t>
              </a:r>
              <a:endParaRPr lang="en-IN" sz="20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56285123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5"/>
          </p:nvPr>
        </p:nvSpPr>
        <p:spPr>
          <a:xfrm>
            <a:off x="284827" y="604168"/>
            <a:ext cx="13957772" cy="6256431"/>
          </a:xfrm>
        </p:spPr>
        <p:txBody>
          <a:bodyPr/>
          <a:lstStyle/>
          <a:p>
            <a:pPr marL="0" indent="0">
              <a:buNone/>
            </a:pPr>
            <a:r>
              <a:rPr lang="en-IN" sz="2397" b="1" dirty="0" smtClean="0">
                <a:solidFill>
                  <a:srgbClr val="0000CC"/>
                </a:solidFill>
                <a:ea typeface="+mj-ea"/>
              </a:rPr>
              <a:t>Benchmark Study on Specific Energy Consumption </a:t>
            </a:r>
            <a:endParaRPr lang="en-IN" sz="2397" b="1" dirty="0">
              <a:solidFill>
                <a:srgbClr val="0000CC"/>
              </a:solidFill>
              <a:ea typeface="+mj-ea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894426" y="1487479"/>
            <a:ext cx="6344573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/>
              <a:t>A benchmark study on Specific Energy Consumption with World Steel Association (WSA, erstwhile known as IISI – International Iron &amp; Steel Industries) reveals the followings.</a:t>
            </a:r>
          </a:p>
          <a:p>
            <a:r>
              <a:rPr lang="en-US" dirty="0" smtClean="0"/>
              <a:t>The comparison between Tata Steel and WSA is shown below:</a:t>
            </a:r>
            <a:endParaRPr lang="en-US" dirty="0"/>
          </a:p>
        </p:txBody>
      </p:sp>
      <p:graphicFrame>
        <p:nvGraphicFramePr>
          <p:cNvPr id="6" name="Chart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8319093"/>
              </p:ext>
            </p:extLst>
          </p:nvPr>
        </p:nvGraphicFramePr>
        <p:xfrm>
          <a:off x="7372351" y="1259791"/>
          <a:ext cx="5743068" cy="20422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72277383"/>
              </p:ext>
            </p:extLst>
          </p:nvPr>
        </p:nvGraphicFramePr>
        <p:xfrm>
          <a:off x="609602" y="3301997"/>
          <a:ext cx="13525498" cy="4555534"/>
        </p:xfrm>
        <a:graphic>
          <a:graphicData uri="http://schemas.openxmlformats.org/drawingml/2006/table">
            <a:tbl>
              <a:tblPr firstRow="1" firstCol="1" bandRow="1">
                <a:tableStyleId>{7DF18680-E054-41AD-8BC1-D1AEF772440D}</a:tableStyleId>
              </a:tblPr>
              <a:tblGrid>
                <a:gridCol w="663014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2602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56932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82241">
                <a:tc gridSpan="3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Differentiating factors for </a:t>
                      </a:r>
                      <a:r>
                        <a:rPr lang="en-US" sz="1200" dirty="0" smtClean="0">
                          <a:effectLst/>
                        </a:rPr>
                        <a:t>calculation </a:t>
                      </a:r>
                      <a:r>
                        <a:rPr lang="en-US" sz="1200" dirty="0">
                          <a:effectLst/>
                        </a:rPr>
                        <a:t>between WSA and Tata Steel – Gcal/tcs</a:t>
                      </a:r>
                      <a:endParaRPr lang="en-US" sz="1200" b="1" dirty="0">
                        <a:effectLst/>
                        <a:latin typeface="Courier New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2241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Actual Gap between  WSA  and  Tata Steel </a:t>
                      </a:r>
                      <a:endParaRPr lang="en-US" sz="1100" b="1" dirty="0">
                        <a:effectLst/>
                        <a:latin typeface="Courier New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 smtClean="0">
                          <a:effectLst/>
                        </a:rPr>
                        <a:t>1.37</a:t>
                      </a:r>
                      <a:endParaRPr lang="en-US" sz="1000" b="1" dirty="0">
                        <a:effectLst/>
                        <a:latin typeface="Courier New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 rowSpan="11">
                  <a:txBody>
                    <a:bodyPr/>
                    <a:lstStyle/>
                    <a:p>
                      <a:pPr marL="0" marR="0" indent="33655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dirty="0">
                        <a:effectLst/>
                      </a:endParaRPr>
                    </a:p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IN" sz="1000" dirty="0">
                          <a:effectLst/>
                        </a:rPr>
                        <a:t> </a:t>
                      </a:r>
                      <a:endParaRPr lang="en-US" sz="1200" dirty="0">
                        <a:effectLst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5415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Hot-metal/ Crude-steel Ratio ( less use of scrap)</a:t>
                      </a:r>
                      <a:endParaRPr lang="en-US" sz="1100" b="1" dirty="0">
                        <a:effectLst/>
                        <a:latin typeface="Courier New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0.900</a:t>
                      </a:r>
                      <a:endParaRPr lang="en-US" sz="1000" b="1">
                        <a:effectLst/>
                        <a:latin typeface="Courier New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82241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Refractories production (own plant)</a:t>
                      </a:r>
                      <a:endParaRPr lang="en-US" sz="1100" b="1" dirty="0">
                        <a:effectLst/>
                        <a:latin typeface="Courier New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0.122</a:t>
                      </a:r>
                      <a:endParaRPr lang="en-US" sz="1000" b="1" dirty="0">
                        <a:effectLst/>
                        <a:latin typeface="Courier New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82241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Benzol Recovery ( not  available)</a:t>
                      </a:r>
                      <a:endParaRPr lang="en-US" sz="1100" b="1" dirty="0">
                        <a:effectLst/>
                        <a:latin typeface="Courier New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0.079</a:t>
                      </a:r>
                      <a:endParaRPr lang="en-US" sz="1000" b="1" dirty="0">
                        <a:effectLst/>
                        <a:latin typeface="Courier New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82241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Purchased Power ( Higher grid efficiency)</a:t>
                      </a:r>
                      <a:endParaRPr lang="en-US" sz="1100" b="1" dirty="0">
                        <a:effectLst/>
                        <a:latin typeface="Courier New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0.080</a:t>
                      </a:r>
                      <a:endParaRPr lang="en-US" sz="1000" b="1">
                        <a:effectLst/>
                        <a:latin typeface="Courier New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82241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Coke Ash ( Higher coke ash)</a:t>
                      </a:r>
                      <a:endParaRPr lang="en-US" sz="1100" b="1" dirty="0">
                        <a:effectLst/>
                        <a:latin typeface="Courier New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0.038</a:t>
                      </a:r>
                      <a:endParaRPr lang="en-US" sz="1000" b="1">
                        <a:effectLst/>
                        <a:latin typeface="Courier New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82241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Hot-metal Silicon ( Higher silicon in HM)</a:t>
                      </a:r>
                      <a:endParaRPr lang="en-US" sz="1100" b="1" dirty="0">
                        <a:effectLst/>
                        <a:latin typeface="Courier New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0.035</a:t>
                      </a:r>
                      <a:endParaRPr lang="en-US" sz="1000" b="1">
                        <a:effectLst/>
                        <a:latin typeface="Courier New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82241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Coal Ash ( Higher ash in coal)</a:t>
                      </a:r>
                      <a:endParaRPr lang="en-US" sz="1100" b="1" dirty="0">
                        <a:effectLst/>
                        <a:latin typeface="Courier New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0.117</a:t>
                      </a:r>
                      <a:endParaRPr lang="en-US" sz="1000" b="1">
                        <a:effectLst/>
                        <a:latin typeface="Courier New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82241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Coal Volatile Matter ( Higher VM in coal)</a:t>
                      </a:r>
                      <a:endParaRPr lang="en-US" sz="1100" b="1" dirty="0">
                        <a:effectLst/>
                        <a:latin typeface="Courier New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-0.045</a:t>
                      </a:r>
                      <a:endParaRPr lang="en-US" sz="1000" b="1">
                        <a:effectLst/>
                        <a:latin typeface="Courier New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67709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Blooming Mills, Sectional Mills and Plate Mills ( N.A)</a:t>
                      </a:r>
                      <a:endParaRPr lang="en-US" sz="1100" b="1" dirty="0">
                        <a:effectLst/>
                        <a:latin typeface="Courier New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-0.248</a:t>
                      </a:r>
                      <a:endParaRPr lang="en-US" sz="1000" b="1">
                        <a:effectLst/>
                        <a:latin typeface="Courier New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82241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Achievable Gap between TSL &amp; WSA </a:t>
                      </a:r>
                      <a:endParaRPr lang="en-US" sz="1100" b="1" dirty="0">
                        <a:effectLst/>
                        <a:latin typeface="Courier New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 smtClean="0">
                          <a:effectLst/>
                        </a:rPr>
                        <a:t>0.292</a:t>
                      </a:r>
                      <a:endParaRPr lang="en-US" sz="1000" b="1" dirty="0">
                        <a:effectLst/>
                        <a:latin typeface="Courier New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  <p:sp>
        <p:nvSpPr>
          <p:cNvPr id="8" name="Oval 2514"/>
          <p:cNvSpPr>
            <a:spLocks noChangeArrowheads="1"/>
          </p:cNvSpPr>
          <p:nvPr/>
        </p:nvSpPr>
        <p:spPr bwMode="auto">
          <a:xfrm>
            <a:off x="9359822" y="4850804"/>
            <a:ext cx="2514600" cy="2362200"/>
          </a:xfrm>
          <a:prstGeom prst="ellipse">
            <a:avLst/>
          </a:prstGeom>
          <a:solidFill>
            <a:srgbClr val="FFFF99"/>
          </a:solidFill>
          <a:ln w="9525">
            <a:solidFill>
              <a:srgbClr val="4A7EBB"/>
            </a:solidFill>
            <a:round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IN" dirty="0" smtClean="0">
                <a:effectLst/>
              </a:rPr>
              <a:t>Gap cannot be achieved due to operating conditions and infrastructure</a:t>
            </a:r>
            <a:endParaRPr lang="en-US" sz="2800" dirty="0" smtClean="0">
              <a:effectLst/>
              <a:latin typeface="Times New Roman"/>
              <a:ea typeface="Times New Roman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AutoShape 1"/>
          <p:cNvSpPr>
            <a:spLocks/>
          </p:cNvSpPr>
          <p:nvPr/>
        </p:nvSpPr>
        <p:spPr bwMode="auto">
          <a:xfrm>
            <a:off x="8594010" y="4102100"/>
            <a:ext cx="473789" cy="3124502"/>
          </a:xfrm>
          <a:prstGeom prst="rightBrace">
            <a:avLst>
              <a:gd name="adj1" fmla="val 100000"/>
              <a:gd name="adj2" fmla="val 50000"/>
            </a:avLst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1993152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5"/>
          </p:nvPr>
        </p:nvSpPr>
        <p:spPr>
          <a:xfrm>
            <a:off x="284827" y="604168"/>
            <a:ext cx="13957772" cy="6256431"/>
          </a:xfrm>
        </p:spPr>
        <p:txBody>
          <a:bodyPr/>
          <a:lstStyle/>
          <a:p>
            <a:pPr marL="0" indent="0">
              <a:buNone/>
            </a:pPr>
            <a:r>
              <a:rPr lang="en-IN" sz="2397" b="1" dirty="0" smtClean="0">
                <a:solidFill>
                  <a:srgbClr val="0000CC"/>
                </a:solidFill>
                <a:ea typeface="+mj-ea"/>
              </a:rPr>
              <a:t>Best Available Technique in Iron and Steel Sector</a:t>
            </a:r>
            <a:endParaRPr lang="en-IN" sz="2397" b="1" dirty="0">
              <a:solidFill>
                <a:srgbClr val="0000CC"/>
              </a:solidFill>
              <a:ea typeface="+mj-ea"/>
            </a:endParaRP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6379514"/>
              </p:ext>
            </p:extLst>
          </p:nvPr>
        </p:nvGraphicFramePr>
        <p:xfrm>
          <a:off x="284827" y="1157487"/>
          <a:ext cx="14330917" cy="6500612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3014493">
                  <a:extLst>
                    <a:ext uri="{9D8B030D-6E8A-4147-A177-3AD203B41FA5}">
                      <a16:colId xmlns:a16="http://schemas.microsoft.com/office/drawing/2014/main" val="4236411174"/>
                    </a:ext>
                  </a:extLst>
                </a:gridCol>
                <a:gridCol w="2146495">
                  <a:extLst>
                    <a:ext uri="{9D8B030D-6E8A-4147-A177-3AD203B41FA5}">
                      <a16:colId xmlns:a16="http://schemas.microsoft.com/office/drawing/2014/main" val="4111964503"/>
                    </a:ext>
                  </a:extLst>
                </a:gridCol>
                <a:gridCol w="2548726">
                  <a:extLst>
                    <a:ext uri="{9D8B030D-6E8A-4147-A177-3AD203B41FA5}">
                      <a16:colId xmlns:a16="http://schemas.microsoft.com/office/drawing/2014/main" val="1397355072"/>
                    </a:ext>
                  </a:extLst>
                </a:gridCol>
                <a:gridCol w="1620486">
                  <a:extLst>
                    <a:ext uri="{9D8B030D-6E8A-4147-A177-3AD203B41FA5}">
                      <a16:colId xmlns:a16="http://schemas.microsoft.com/office/drawing/2014/main" val="3270581145"/>
                    </a:ext>
                  </a:extLst>
                </a:gridCol>
                <a:gridCol w="2013806">
                  <a:extLst>
                    <a:ext uri="{9D8B030D-6E8A-4147-A177-3AD203B41FA5}">
                      <a16:colId xmlns:a16="http://schemas.microsoft.com/office/drawing/2014/main" val="864226450"/>
                    </a:ext>
                  </a:extLst>
                </a:gridCol>
                <a:gridCol w="1431691">
                  <a:extLst>
                    <a:ext uri="{9D8B030D-6E8A-4147-A177-3AD203B41FA5}">
                      <a16:colId xmlns:a16="http://schemas.microsoft.com/office/drawing/2014/main" val="3095860425"/>
                    </a:ext>
                  </a:extLst>
                </a:gridCol>
                <a:gridCol w="1555220">
                  <a:extLst>
                    <a:ext uri="{9D8B030D-6E8A-4147-A177-3AD203B41FA5}">
                      <a16:colId xmlns:a16="http://schemas.microsoft.com/office/drawing/2014/main" val="947362107"/>
                    </a:ext>
                  </a:extLst>
                </a:gridCol>
              </a:tblGrid>
              <a:tr h="733476">
                <a:tc>
                  <a:txBody>
                    <a:bodyPr/>
                    <a:lstStyle/>
                    <a:p>
                      <a:r>
                        <a:rPr lang="en-IN" sz="1400" dirty="0" smtClean="0"/>
                        <a:t>Technique</a:t>
                      </a:r>
                      <a:endParaRPr lang="en-IN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 smtClean="0"/>
                        <a:t>Energy Saving Potential (</a:t>
                      </a:r>
                      <a:r>
                        <a:rPr lang="en-IN" sz="1400" dirty="0" err="1" smtClean="0"/>
                        <a:t>Gcal</a:t>
                      </a:r>
                      <a:r>
                        <a:rPr lang="en-IN" sz="1400" dirty="0" smtClean="0"/>
                        <a:t>/</a:t>
                      </a:r>
                      <a:r>
                        <a:rPr lang="en-IN" sz="1400" dirty="0" err="1" smtClean="0"/>
                        <a:t>tcs</a:t>
                      </a:r>
                      <a:r>
                        <a:rPr lang="en-IN" sz="1400" dirty="0" smtClean="0"/>
                        <a:t>)</a:t>
                      </a:r>
                      <a:endParaRPr lang="en-IN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 smtClean="0"/>
                        <a:t>Investment</a:t>
                      </a:r>
                      <a:r>
                        <a:rPr lang="en-IN" sz="1400" baseline="0" dirty="0" smtClean="0"/>
                        <a:t> (</a:t>
                      </a:r>
                      <a:r>
                        <a:rPr lang="en-IN" sz="1400" baseline="0" dirty="0" err="1" smtClean="0"/>
                        <a:t>Rs</a:t>
                      </a:r>
                      <a:r>
                        <a:rPr lang="en-IN" sz="1400" baseline="0" dirty="0" smtClean="0"/>
                        <a:t>)</a:t>
                      </a:r>
                      <a:endParaRPr lang="en-IN" sz="1400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en-IN" sz="1400" dirty="0" smtClean="0"/>
                        <a:t>Payback Period **</a:t>
                      </a:r>
                      <a:endParaRPr lang="en-IN" sz="14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 smtClean="0"/>
                        <a:t>Implemented</a:t>
                      </a:r>
                      <a:r>
                        <a:rPr lang="en-IN" sz="1400" baseline="0" dirty="0" smtClean="0"/>
                        <a:t> in TSJ</a:t>
                      </a:r>
                      <a:endParaRPr lang="en-IN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 smtClean="0"/>
                        <a:t>Implemented in TSK</a:t>
                      </a:r>
                      <a:endParaRPr lang="en-IN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28997566"/>
                  </a:ext>
                </a:extLst>
              </a:tr>
              <a:tr h="733476">
                <a:tc>
                  <a:txBody>
                    <a:bodyPr/>
                    <a:lstStyle/>
                    <a:p>
                      <a:endParaRPr lang="en-IN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 smtClean="0"/>
                        <a:t>Without</a:t>
                      </a:r>
                      <a:r>
                        <a:rPr lang="en-IN" sz="1400" baseline="0" dirty="0" smtClean="0"/>
                        <a:t> </a:t>
                      </a:r>
                      <a:r>
                        <a:rPr lang="en-IN" sz="1400" dirty="0" smtClean="0"/>
                        <a:t>PAT scheme</a:t>
                      </a:r>
                      <a:endParaRPr lang="en-IN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 smtClean="0"/>
                        <a:t>With PAT scheme</a:t>
                      </a:r>
                      <a:endParaRPr lang="en-IN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39131430"/>
                  </a:ext>
                </a:extLst>
              </a:tr>
              <a:tr h="73347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dirty="0" smtClean="0"/>
                        <a:t>Waste heat recovery</a:t>
                      </a:r>
                      <a:r>
                        <a:rPr lang="en-IN" sz="1400" baseline="0" dirty="0" smtClean="0"/>
                        <a:t> from Sinter bed</a:t>
                      </a:r>
                      <a:endParaRPr lang="en-IN" sz="14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 smtClean="0"/>
                        <a:t>0.028</a:t>
                      </a:r>
                      <a:endParaRPr lang="en-IN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 smtClean="0"/>
                        <a:t>134.4 million</a:t>
                      </a:r>
                      <a:endParaRPr lang="en-IN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 smtClean="0"/>
                        <a:t>48 months</a:t>
                      </a:r>
                      <a:endParaRPr lang="en-IN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 smtClean="0"/>
                        <a:t>26 months</a:t>
                      </a:r>
                      <a:endParaRPr lang="en-IN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400" dirty="0" smtClean="0"/>
                        <a:t>ꭓ</a:t>
                      </a:r>
                      <a:endParaRPr lang="en-IN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400" dirty="0" smtClean="0"/>
                        <a:t>ꭓ</a:t>
                      </a:r>
                      <a:endParaRPr lang="en-IN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43402224"/>
                  </a:ext>
                </a:extLst>
              </a:tr>
              <a:tr h="73347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dirty="0" smtClean="0"/>
                        <a:t>Improvement</a:t>
                      </a:r>
                      <a:r>
                        <a:rPr lang="en-IN" sz="1400" baseline="0" dirty="0" smtClean="0"/>
                        <a:t> in segregated charging of sintering material</a:t>
                      </a:r>
                      <a:endParaRPr lang="en-IN" sz="14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 smtClean="0"/>
                        <a:t>0.029</a:t>
                      </a:r>
                      <a:endParaRPr lang="en-IN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 smtClean="0"/>
                        <a:t>69.60 million</a:t>
                      </a:r>
                      <a:endParaRPr lang="en-IN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 smtClean="0"/>
                        <a:t>24 months</a:t>
                      </a:r>
                      <a:endParaRPr lang="en-IN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 smtClean="0"/>
                        <a:t>13 months</a:t>
                      </a:r>
                      <a:endParaRPr lang="en-IN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400" dirty="0" smtClean="0"/>
                        <a:t>√</a:t>
                      </a:r>
                      <a:endParaRPr lang="en-IN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400" dirty="0" smtClean="0"/>
                        <a:t>√</a:t>
                      </a:r>
                      <a:endParaRPr lang="en-IN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55509426"/>
                  </a:ext>
                </a:extLst>
              </a:tr>
              <a:tr h="73347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dirty="0" smtClean="0"/>
                        <a:t>Sensible heat from main exhaust gas of sintering machi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 smtClean="0"/>
                        <a:t>0.045</a:t>
                      </a:r>
                      <a:endParaRPr lang="en-IN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 smtClean="0"/>
                        <a:t>135 million </a:t>
                      </a:r>
                      <a:endParaRPr lang="en-IN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 smtClean="0"/>
                        <a:t>36 months</a:t>
                      </a:r>
                      <a:endParaRPr lang="en-IN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 smtClean="0"/>
                        <a:t>18 months </a:t>
                      </a:r>
                      <a:endParaRPr lang="en-IN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400" dirty="0" smtClean="0"/>
                        <a:t>ꭓ</a:t>
                      </a:r>
                      <a:endParaRPr lang="en-IN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400" dirty="0" smtClean="0"/>
                        <a:t>ꭓ</a:t>
                      </a:r>
                      <a:endParaRPr lang="en-IN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58223545"/>
                  </a:ext>
                </a:extLst>
              </a:tr>
              <a:tr h="52493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dirty="0" smtClean="0"/>
                        <a:t>Coal Moistur</a:t>
                      </a:r>
                      <a:r>
                        <a:rPr lang="en-IN" sz="1400" baseline="0" dirty="0" smtClean="0"/>
                        <a:t>e Control</a:t>
                      </a:r>
                      <a:endParaRPr lang="en-IN" sz="14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 smtClean="0"/>
                        <a:t>0.065</a:t>
                      </a:r>
                      <a:endParaRPr lang="en-IN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 smtClean="0"/>
                        <a:t>193.80 million</a:t>
                      </a:r>
                      <a:endParaRPr lang="en-IN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 smtClean="0"/>
                        <a:t>36 months</a:t>
                      </a:r>
                      <a:endParaRPr lang="en-IN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 smtClean="0"/>
                        <a:t>18 months</a:t>
                      </a:r>
                      <a:endParaRPr lang="en-IN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400" dirty="0" smtClean="0"/>
                        <a:t>ꭓ</a:t>
                      </a:r>
                      <a:endParaRPr lang="en-IN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400" dirty="0" smtClean="0"/>
                        <a:t>ꭓ</a:t>
                      </a:r>
                      <a:endParaRPr lang="en-IN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37343293"/>
                  </a:ext>
                </a:extLst>
              </a:tr>
              <a:tr h="73347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dirty="0" smtClean="0"/>
                        <a:t>Automated combustion control of coke ove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 smtClean="0"/>
                        <a:t>0.054</a:t>
                      </a:r>
                      <a:endParaRPr lang="en-IN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 smtClean="0"/>
                        <a:t>129.60 million</a:t>
                      </a:r>
                      <a:endParaRPr lang="en-IN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 smtClean="0"/>
                        <a:t>36 months </a:t>
                      </a:r>
                      <a:endParaRPr lang="en-IN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 smtClean="0"/>
                        <a:t>16 months</a:t>
                      </a:r>
                      <a:endParaRPr lang="en-IN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400" dirty="0" smtClean="0"/>
                        <a:t>√</a:t>
                      </a:r>
                      <a:endParaRPr lang="en-IN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400" dirty="0" smtClean="0"/>
                        <a:t>√</a:t>
                      </a:r>
                      <a:endParaRPr lang="en-IN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89293543"/>
                  </a:ext>
                </a:extLst>
              </a:tr>
              <a:tr h="52493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dirty="0" smtClean="0"/>
                        <a:t>Coke Dry Quench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 smtClean="0"/>
                        <a:t>0.28</a:t>
                      </a:r>
                      <a:endParaRPr lang="en-IN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 smtClean="0"/>
                        <a:t>1000 million</a:t>
                      </a:r>
                      <a:endParaRPr lang="en-IN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 smtClean="0"/>
                        <a:t>36 months</a:t>
                      </a:r>
                      <a:endParaRPr lang="en-IN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 smtClean="0"/>
                        <a:t>8 months</a:t>
                      </a:r>
                      <a:endParaRPr lang="en-IN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400" dirty="0" smtClean="0"/>
                        <a:t>√</a:t>
                      </a:r>
                      <a:endParaRPr lang="en-IN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400" dirty="0" smtClean="0"/>
                        <a:t>√</a:t>
                      </a:r>
                      <a:endParaRPr lang="en-IN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9878095"/>
                  </a:ext>
                </a:extLst>
              </a:tr>
              <a:tr h="52493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dirty="0" smtClean="0"/>
                        <a:t>Top pressure recovery</a:t>
                      </a:r>
                      <a:r>
                        <a:rPr lang="en-IN" sz="1400" baseline="0" dirty="0" smtClean="0"/>
                        <a:t> turbine</a:t>
                      </a:r>
                      <a:endParaRPr lang="en-IN" sz="14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 smtClean="0"/>
                        <a:t>0.07</a:t>
                      </a:r>
                      <a:endParaRPr lang="en-IN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 smtClean="0"/>
                        <a:t>252 million</a:t>
                      </a:r>
                      <a:endParaRPr lang="en-IN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 smtClean="0"/>
                        <a:t>48 months</a:t>
                      </a:r>
                      <a:endParaRPr lang="en-IN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 smtClean="0"/>
                        <a:t>24 months</a:t>
                      </a:r>
                      <a:endParaRPr lang="en-IN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400" dirty="0" smtClean="0"/>
                        <a:t>√</a:t>
                      </a:r>
                      <a:endParaRPr lang="en-IN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400" dirty="0" smtClean="0"/>
                        <a:t>√</a:t>
                      </a:r>
                      <a:endParaRPr lang="en-IN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19653359"/>
                  </a:ext>
                </a:extLst>
              </a:tr>
              <a:tr h="52493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dirty="0" smtClean="0"/>
                        <a:t>Pulverised</a:t>
                      </a:r>
                      <a:r>
                        <a:rPr lang="en-IN" sz="1400" baseline="0" dirty="0" smtClean="0"/>
                        <a:t> coal Injection </a:t>
                      </a:r>
                      <a:endParaRPr lang="en-IN" sz="14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 smtClean="0"/>
                        <a:t>0.035</a:t>
                      </a:r>
                      <a:endParaRPr lang="en-IN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 smtClean="0"/>
                        <a:t>115 million</a:t>
                      </a:r>
                      <a:endParaRPr lang="en-IN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 smtClean="0"/>
                        <a:t>40 months </a:t>
                      </a:r>
                      <a:endParaRPr lang="en-IN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 smtClean="0"/>
                        <a:t>20 months</a:t>
                      </a:r>
                      <a:endParaRPr lang="en-IN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400" dirty="0" smtClean="0"/>
                        <a:t>√</a:t>
                      </a:r>
                      <a:endParaRPr lang="en-IN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400" dirty="0" smtClean="0"/>
                        <a:t>√</a:t>
                      </a:r>
                      <a:endParaRPr lang="en-IN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56504314"/>
                  </a:ext>
                </a:extLst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10401300" y="7747000"/>
            <a:ext cx="5334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 b="1" dirty="0" smtClean="0"/>
              <a:t>**Assumption: </a:t>
            </a:r>
            <a:r>
              <a:rPr lang="en-IN" sz="1400" b="1" dirty="0" err="1" smtClean="0"/>
              <a:t>Escerts</a:t>
            </a:r>
            <a:r>
              <a:rPr lang="en-IN" sz="1400" b="1" dirty="0" smtClean="0"/>
              <a:t> traded @</a:t>
            </a:r>
            <a:r>
              <a:rPr lang="en-IN" sz="1400" b="1" dirty="0" err="1" smtClean="0"/>
              <a:t>Rs</a:t>
            </a:r>
            <a:r>
              <a:rPr lang="en-IN" sz="1400" b="1" dirty="0" smtClean="0"/>
              <a:t> 1700/unit</a:t>
            </a:r>
            <a:endParaRPr lang="en-IN" sz="1400" b="1" dirty="0"/>
          </a:p>
        </p:txBody>
      </p:sp>
    </p:spTree>
    <p:extLst>
      <p:ext uri="{BB962C8B-B14F-4D97-AF65-F5344CB8AC3E}">
        <p14:creationId xmlns:p14="http://schemas.microsoft.com/office/powerpoint/2010/main" val="2329473892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5"/>
          </p:nvPr>
        </p:nvSpPr>
        <p:spPr>
          <a:xfrm>
            <a:off x="284827" y="604168"/>
            <a:ext cx="13957772" cy="6256431"/>
          </a:xfrm>
        </p:spPr>
        <p:txBody>
          <a:bodyPr/>
          <a:lstStyle/>
          <a:p>
            <a:pPr marL="0" indent="0">
              <a:buNone/>
            </a:pPr>
            <a:r>
              <a:rPr lang="en-IN" sz="2397" b="1" dirty="0" smtClean="0">
                <a:solidFill>
                  <a:srgbClr val="0000CC"/>
                </a:solidFill>
                <a:ea typeface="+mj-ea"/>
              </a:rPr>
              <a:t>Best Available Technique in Iron and Steel Sector (</a:t>
            </a:r>
            <a:r>
              <a:rPr lang="en-IN" sz="2397" b="1" dirty="0" err="1" smtClean="0">
                <a:solidFill>
                  <a:srgbClr val="0000CC"/>
                </a:solidFill>
                <a:ea typeface="+mj-ea"/>
              </a:rPr>
              <a:t>cont</a:t>
            </a:r>
            <a:r>
              <a:rPr lang="en-IN" sz="2397" b="1" dirty="0" smtClean="0">
                <a:solidFill>
                  <a:srgbClr val="0000CC"/>
                </a:solidFill>
                <a:ea typeface="+mj-ea"/>
              </a:rPr>
              <a:t>…)</a:t>
            </a:r>
            <a:endParaRPr lang="en-IN" sz="2397" b="1" dirty="0">
              <a:solidFill>
                <a:srgbClr val="0000CC"/>
              </a:solidFill>
              <a:ea typeface="+mj-ea"/>
            </a:endParaRP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21087335"/>
              </p:ext>
            </p:extLst>
          </p:nvPr>
        </p:nvGraphicFramePr>
        <p:xfrm>
          <a:off x="284827" y="1636223"/>
          <a:ext cx="14330917" cy="4192319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3014493">
                  <a:extLst>
                    <a:ext uri="{9D8B030D-6E8A-4147-A177-3AD203B41FA5}">
                      <a16:colId xmlns:a16="http://schemas.microsoft.com/office/drawing/2014/main" val="4236411174"/>
                    </a:ext>
                  </a:extLst>
                </a:gridCol>
                <a:gridCol w="2146495">
                  <a:extLst>
                    <a:ext uri="{9D8B030D-6E8A-4147-A177-3AD203B41FA5}">
                      <a16:colId xmlns:a16="http://schemas.microsoft.com/office/drawing/2014/main" val="4111964503"/>
                    </a:ext>
                  </a:extLst>
                </a:gridCol>
                <a:gridCol w="2548726">
                  <a:extLst>
                    <a:ext uri="{9D8B030D-6E8A-4147-A177-3AD203B41FA5}">
                      <a16:colId xmlns:a16="http://schemas.microsoft.com/office/drawing/2014/main" val="1397355072"/>
                    </a:ext>
                  </a:extLst>
                </a:gridCol>
                <a:gridCol w="1620486">
                  <a:extLst>
                    <a:ext uri="{9D8B030D-6E8A-4147-A177-3AD203B41FA5}">
                      <a16:colId xmlns:a16="http://schemas.microsoft.com/office/drawing/2014/main" val="3270581145"/>
                    </a:ext>
                  </a:extLst>
                </a:gridCol>
                <a:gridCol w="2013806">
                  <a:extLst>
                    <a:ext uri="{9D8B030D-6E8A-4147-A177-3AD203B41FA5}">
                      <a16:colId xmlns:a16="http://schemas.microsoft.com/office/drawing/2014/main" val="864226450"/>
                    </a:ext>
                  </a:extLst>
                </a:gridCol>
                <a:gridCol w="1431691">
                  <a:extLst>
                    <a:ext uri="{9D8B030D-6E8A-4147-A177-3AD203B41FA5}">
                      <a16:colId xmlns:a16="http://schemas.microsoft.com/office/drawing/2014/main" val="3095860425"/>
                    </a:ext>
                  </a:extLst>
                </a:gridCol>
                <a:gridCol w="1555220">
                  <a:extLst>
                    <a:ext uri="{9D8B030D-6E8A-4147-A177-3AD203B41FA5}">
                      <a16:colId xmlns:a16="http://schemas.microsoft.com/office/drawing/2014/main" val="947362107"/>
                    </a:ext>
                  </a:extLst>
                </a:gridCol>
              </a:tblGrid>
              <a:tr h="733476">
                <a:tc>
                  <a:txBody>
                    <a:bodyPr/>
                    <a:lstStyle/>
                    <a:p>
                      <a:r>
                        <a:rPr lang="en-IN" sz="1400" dirty="0" smtClean="0"/>
                        <a:t>Technique</a:t>
                      </a:r>
                      <a:endParaRPr lang="en-IN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 smtClean="0"/>
                        <a:t>Energy Saving Potential (</a:t>
                      </a:r>
                      <a:r>
                        <a:rPr lang="en-IN" sz="1400" dirty="0" err="1" smtClean="0"/>
                        <a:t>Gcal</a:t>
                      </a:r>
                      <a:r>
                        <a:rPr lang="en-IN" sz="1400" dirty="0" smtClean="0"/>
                        <a:t>/</a:t>
                      </a:r>
                      <a:r>
                        <a:rPr lang="en-IN" sz="1400" dirty="0" err="1" smtClean="0"/>
                        <a:t>tcs</a:t>
                      </a:r>
                      <a:r>
                        <a:rPr lang="en-IN" sz="1400" dirty="0" smtClean="0"/>
                        <a:t>)</a:t>
                      </a:r>
                      <a:endParaRPr lang="en-IN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 smtClean="0"/>
                        <a:t>Investment</a:t>
                      </a:r>
                      <a:r>
                        <a:rPr lang="en-IN" sz="1400" baseline="0" dirty="0" smtClean="0"/>
                        <a:t> (</a:t>
                      </a:r>
                      <a:r>
                        <a:rPr lang="en-IN" sz="1400" baseline="0" dirty="0" err="1" smtClean="0"/>
                        <a:t>Rs</a:t>
                      </a:r>
                      <a:r>
                        <a:rPr lang="en-IN" sz="1400" baseline="0" dirty="0" smtClean="0"/>
                        <a:t>)</a:t>
                      </a:r>
                      <a:endParaRPr lang="en-IN" sz="1400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en-IN" sz="1400" dirty="0" smtClean="0"/>
                        <a:t>Payback Period</a:t>
                      </a:r>
                      <a:endParaRPr lang="en-IN" sz="14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 smtClean="0"/>
                        <a:t>Implemented</a:t>
                      </a:r>
                      <a:r>
                        <a:rPr lang="en-IN" sz="1400" baseline="0" dirty="0" smtClean="0"/>
                        <a:t> in TSJ</a:t>
                      </a:r>
                      <a:endParaRPr lang="en-IN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 smtClean="0"/>
                        <a:t>Implemented in TSK</a:t>
                      </a:r>
                      <a:endParaRPr lang="en-IN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28997566"/>
                  </a:ext>
                </a:extLst>
              </a:tr>
              <a:tr h="733476">
                <a:tc>
                  <a:txBody>
                    <a:bodyPr/>
                    <a:lstStyle/>
                    <a:p>
                      <a:endParaRPr lang="en-IN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 smtClean="0"/>
                        <a:t>Without</a:t>
                      </a:r>
                      <a:r>
                        <a:rPr lang="en-IN" sz="1400" baseline="0" dirty="0" smtClean="0"/>
                        <a:t> </a:t>
                      </a:r>
                      <a:r>
                        <a:rPr lang="en-IN" sz="1400" dirty="0" smtClean="0"/>
                        <a:t>PAT scheme</a:t>
                      </a:r>
                      <a:endParaRPr lang="en-IN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 smtClean="0"/>
                        <a:t>With PAT scheme</a:t>
                      </a:r>
                      <a:endParaRPr lang="en-IN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IN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39131430"/>
                  </a:ext>
                </a:extLst>
              </a:tr>
              <a:tr h="73347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dirty="0" smtClean="0"/>
                        <a:t>Plastic Waste Injection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 smtClean="0"/>
                        <a:t>0.0407</a:t>
                      </a:r>
                      <a:endParaRPr lang="en-IN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 smtClean="0"/>
                        <a:t>778</a:t>
                      </a:r>
                      <a:r>
                        <a:rPr lang="en-IN" sz="1400" baseline="0" dirty="0" smtClean="0"/>
                        <a:t> </a:t>
                      </a:r>
                      <a:r>
                        <a:rPr lang="en-IN" sz="1400" dirty="0" smtClean="0"/>
                        <a:t>million</a:t>
                      </a:r>
                      <a:endParaRPr lang="en-IN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 smtClean="0"/>
                        <a:t>36 months </a:t>
                      </a:r>
                      <a:endParaRPr lang="en-IN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 smtClean="0"/>
                        <a:t>24 months</a:t>
                      </a:r>
                      <a:endParaRPr lang="en-IN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400" dirty="0" smtClean="0"/>
                        <a:t>ꭓ</a:t>
                      </a:r>
                      <a:endParaRPr lang="en-IN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400" dirty="0" smtClean="0"/>
                        <a:t>ꭓ</a:t>
                      </a:r>
                      <a:endParaRPr lang="en-IN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43402224"/>
                  </a:ext>
                </a:extLst>
              </a:tr>
              <a:tr h="73347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dirty="0" smtClean="0"/>
                        <a:t>Natural</a:t>
                      </a:r>
                      <a:r>
                        <a:rPr lang="en-IN" sz="1400" baseline="0" dirty="0" smtClean="0"/>
                        <a:t> Gas Injection </a:t>
                      </a:r>
                      <a:endParaRPr lang="en-IN" sz="14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1388678" rtl="0" eaLnBrk="1" latinLnBrk="0" hangingPunct="1"/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uel savings are estimated to be 0.9 GJ/t-HM.</a:t>
                      </a:r>
                      <a:endParaRPr lang="en-IN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 smtClean="0"/>
                        <a:t>540</a:t>
                      </a:r>
                      <a:r>
                        <a:rPr lang="en-IN" sz="1400" baseline="0" dirty="0" smtClean="0"/>
                        <a:t> million</a:t>
                      </a:r>
                      <a:endParaRPr lang="en-IN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 smtClean="0"/>
                        <a:t>24 months</a:t>
                      </a:r>
                      <a:endParaRPr lang="en-IN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 smtClean="0"/>
                        <a:t>18 months</a:t>
                      </a:r>
                      <a:endParaRPr lang="en-IN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400" dirty="0" smtClean="0"/>
                        <a:t>ꭓ</a:t>
                      </a:r>
                      <a:endParaRPr lang="en-IN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400" dirty="0" smtClean="0"/>
                        <a:t>ꭓ</a:t>
                      </a:r>
                      <a:endParaRPr lang="en-IN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55509426"/>
                  </a:ext>
                </a:extLst>
              </a:tr>
              <a:tr h="73347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Heat Recuperation from Hot Blast Stoves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0.3 GJ/t-pig iron</a:t>
                      </a:r>
                      <a:endParaRPr lang="en-IN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 smtClean="0"/>
                        <a:t>90 million</a:t>
                      </a:r>
                      <a:endParaRPr lang="en-IN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 smtClean="0"/>
                        <a:t>36 months</a:t>
                      </a:r>
                      <a:endParaRPr lang="en-IN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 smtClean="0"/>
                        <a:t>18 months </a:t>
                      </a:r>
                      <a:endParaRPr lang="en-IN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400" dirty="0" smtClean="0"/>
                        <a:t>√</a:t>
                      </a:r>
                      <a:endParaRPr lang="en-IN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400" dirty="0" smtClean="0"/>
                        <a:t>√</a:t>
                      </a:r>
                      <a:endParaRPr lang="en-IN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58223545"/>
                  </a:ext>
                </a:extLst>
              </a:tr>
              <a:tr h="52493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400" dirty="0" smtClean="0"/>
                        <a:t>Scrap Preheating</a:t>
                      </a:r>
                      <a:r>
                        <a:rPr lang="en-IN" sz="1400" baseline="0" dirty="0" smtClean="0"/>
                        <a:t> </a:t>
                      </a:r>
                      <a:endParaRPr lang="en-IN" sz="14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0.016 to 0.2 GJ/t-steel. </a:t>
                      </a:r>
                      <a:endParaRPr lang="en-IN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 smtClean="0"/>
                        <a:t>70</a:t>
                      </a:r>
                      <a:r>
                        <a:rPr lang="en-IN" sz="1400" baseline="0" dirty="0" smtClean="0"/>
                        <a:t> million </a:t>
                      </a:r>
                      <a:endParaRPr lang="en-IN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 smtClean="0"/>
                        <a:t>12 months</a:t>
                      </a:r>
                      <a:endParaRPr lang="en-IN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 smtClean="0"/>
                        <a:t>8 months</a:t>
                      </a:r>
                      <a:endParaRPr lang="en-IN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400" dirty="0" smtClean="0"/>
                        <a:t>ꭓ</a:t>
                      </a:r>
                      <a:endParaRPr lang="en-IN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400" dirty="0" smtClean="0"/>
                        <a:t>ꭓ</a:t>
                      </a:r>
                      <a:endParaRPr lang="en-IN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37343293"/>
                  </a:ext>
                </a:extLst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0401300" y="7747000"/>
            <a:ext cx="5334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 b="1" dirty="0" smtClean="0"/>
              <a:t>**Assumption: </a:t>
            </a:r>
            <a:r>
              <a:rPr lang="en-IN" sz="1400" b="1" dirty="0" err="1" smtClean="0"/>
              <a:t>Escerts</a:t>
            </a:r>
            <a:r>
              <a:rPr lang="en-IN" sz="1400" b="1" dirty="0" smtClean="0"/>
              <a:t> traded @</a:t>
            </a:r>
            <a:r>
              <a:rPr lang="en-IN" sz="1400" b="1" dirty="0" err="1" smtClean="0"/>
              <a:t>Rs</a:t>
            </a:r>
            <a:r>
              <a:rPr lang="en-IN" sz="1400" b="1" dirty="0" smtClean="0"/>
              <a:t> 1700/unit</a:t>
            </a:r>
            <a:endParaRPr lang="en-IN" sz="1400" b="1" dirty="0"/>
          </a:p>
        </p:txBody>
      </p:sp>
    </p:spTree>
    <p:extLst>
      <p:ext uri="{BB962C8B-B14F-4D97-AF65-F5344CB8AC3E}">
        <p14:creationId xmlns:p14="http://schemas.microsoft.com/office/powerpoint/2010/main" val="208901576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5"/>
          </p:nvPr>
        </p:nvSpPr>
        <p:spPr>
          <a:xfrm>
            <a:off x="284827" y="604168"/>
            <a:ext cx="13957772" cy="6256431"/>
          </a:xfrm>
        </p:spPr>
        <p:txBody>
          <a:bodyPr/>
          <a:lstStyle/>
          <a:p>
            <a:pPr marL="0" indent="0">
              <a:buNone/>
            </a:pPr>
            <a:r>
              <a:rPr lang="en-IN" sz="2397" b="1" dirty="0" smtClean="0">
                <a:solidFill>
                  <a:srgbClr val="0000CC"/>
                </a:solidFill>
                <a:ea typeface="+mj-ea"/>
              </a:rPr>
              <a:t>Major Barriers in </a:t>
            </a:r>
            <a:r>
              <a:rPr lang="en-IN" sz="2397" b="1" dirty="0" err="1" smtClean="0">
                <a:solidFill>
                  <a:srgbClr val="0000CC"/>
                </a:solidFill>
                <a:ea typeface="+mj-ea"/>
              </a:rPr>
              <a:t>Escerts</a:t>
            </a:r>
            <a:r>
              <a:rPr lang="en-IN" sz="2397" b="1" dirty="0" smtClean="0">
                <a:solidFill>
                  <a:srgbClr val="0000CC"/>
                </a:solidFill>
                <a:ea typeface="+mj-ea"/>
              </a:rPr>
              <a:t> Trading </a:t>
            </a:r>
            <a:endParaRPr lang="en-IN" sz="2397" b="1" dirty="0">
              <a:solidFill>
                <a:srgbClr val="0000CC"/>
              </a:solidFill>
              <a:ea typeface="+mj-ea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234488" y="1243390"/>
            <a:ext cx="14058449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/>
              <a:t>I</a:t>
            </a:r>
            <a:r>
              <a:rPr lang="en-US" b="1" dirty="0" smtClean="0"/>
              <a:t>nferenc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With </a:t>
            </a:r>
            <a:r>
              <a:rPr lang="en-US" dirty="0"/>
              <a:t>present rules, </a:t>
            </a:r>
            <a:r>
              <a:rPr lang="en-US" dirty="0" err="1"/>
              <a:t>ESCerts</a:t>
            </a:r>
            <a:r>
              <a:rPr lang="en-US" dirty="0"/>
              <a:t> of PAT cycle 1, if not traded during upcoming PAT cycle 2 trading will expire after PAT cycle 2 compliance period. The expected desperation to sell a commodity, which is set to expire may result in lower MCP for </a:t>
            </a:r>
            <a:r>
              <a:rPr lang="en-US" dirty="0" err="1"/>
              <a:t>ESCerts</a:t>
            </a:r>
            <a:r>
              <a:rPr lang="en-US" dirty="0"/>
              <a:t> in terminal trading session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At </a:t>
            </a:r>
            <a:r>
              <a:rPr lang="en-US" dirty="0"/>
              <a:t>the end of compliance period of PAT Cycle 2, surplus </a:t>
            </a:r>
            <a:r>
              <a:rPr lang="en-US" dirty="0" err="1"/>
              <a:t>ESCerts</a:t>
            </a:r>
            <a:r>
              <a:rPr lang="en-US" dirty="0"/>
              <a:t> is expected to be 4.57 million </a:t>
            </a:r>
            <a:r>
              <a:rPr lang="en-US" dirty="0" err="1"/>
              <a:t>ESCerts</a:t>
            </a:r>
            <a:r>
              <a:rPr lang="en-US" dirty="0"/>
              <a:t>, which is 80% of the total </a:t>
            </a:r>
            <a:r>
              <a:rPr lang="en-US" dirty="0" err="1"/>
              <a:t>ESCerts</a:t>
            </a:r>
            <a:r>
              <a:rPr lang="en-US" dirty="0"/>
              <a:t> issued during PAT cycle 2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With </a:t>
            </a:r>
            <a:r>
              <a:rPr lang="en-US" dirty="0"/>
              <a:t>present rules, at end of PAT cycle 3 compliance period, approx. 4 million </a:t>
            </a:r>
            <a:r>
              <a:rPr lang="en-US" dirty="0" err="1"/>
              <a:t>ESCerts</a:t>
            </a:r>
            <a:r>
              <a:rPr lang="en-US" dirty="0"/>
              <a:t> may retire without being traded. This volume may go up if compliance is low in DISCOM sector, similar to the case observed in REC market for RPO compliance </a:t>
            </a: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4488" y="4105712"/>
            <a:ext cx="13887450" cy="29562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1805669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50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7&quot;&gt;&lt;elem m_fUsage=&quot;3.92994881114815974854E+00&quot;&gt;&lt;m_msothmcolidx val=&quot;0&quot;/&gt;&lt;m_rgb r=&quot;34&quot; g=&quot;B2&quot; b=&quot;33&quot;/&gt;&lt;/elem&gt;&lt;elem m_fUsage=&quot;9.00000000000000022204E-01&quot;&gt;&lt;m_msothmcolidx val=&quot;0&quot;/&gt;&lt;m_rgb r=&quot;00&quot; g=&quot;2B&quot; b=&quot;45&quot;/&gt;&lt;/elem&gt;&lt;elem m_fUsage=&quot;8.10000000000000053291E-01&quot;&gt;&lt;m_msothmcolidx val=&quot;0&quot;/&gt;&lt;m_rgb r=&quot;E1&quot; g=&quot;D9&quot; b=&quot;99&quot;/&gt;&lt;/elem&gt;&lt;elem m_fUsage=&quot;7.29000000000000092371E-01&quot;&gt;&lt;m_msothmcolidx val=&quot;0&quot;/&gt;&lt;m_rgb r=&quot;E1&quot; g=&quot;BD&quot; b=&quot;4D&quot;/&gt;&lt;/elem&gt;&lt;elem m_fUsage=&quot;6.56100000000000127542E-01&quot;&gt;&lt;m_msothmcolidx val=&quot;0&quot;/&gt;&lt;m_rgb r=&quot;FF&quot; g=&quot;A1&quot; b=&quot;00&quot;/&gt;&lt;/elem&gt;&lt;elem m_fUsage=&quot;5.90490000000000181402E-01&quot;&gt;&lt;m_msothmcolidx val=&quot;0&quot;/&gt;&lt;m_rgb r=&quot;00&quot; g=&quot;83&quot; b=&quot;A9&quot;/&gt;&lt;/elem&gt;&lt;elem m_fUsage=&quot;5.31441000000000163261E-01&quot;&gt;&lt;m_msothmcolidx val=&quot;0&quot;/&gt;&lt;m_rgb r=&quot;5A&quot; g=&quot;24&quot; b=&quot;5A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N6ausSkNO.iPpCn0nyQ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0rTl4wEsi2CiVhQJuQR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vQMDgwmV8ovOraOUKz3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5VEWflrDkvF0eWN53H_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03.875"/>
  <p:tag name="ORIGTOP" val="139.125"/>
  <p:tag name="ORIGHEIGHT" val="22.25"/>
  <p:tag name="ORIGWIDTH" val="22.5"/>
  <p:tag name="THINKCELLSHAPEDONOTDELETE" val="pT4X4m9KDt0ykv35NKgND6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31.875"/>
  <p:tag name="ORIGTOP" val="139.125"/>
  <p:tag name="ORIGHEIGHT" val="22.25"/>
  <p:tag name="ORIGWIDTH" val="22.5"/>
  <p:tag name="THINKCELLSHAPEDONOTDELETE" val="pqyoXwDW.2kqRy4HzPlmzG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60"/>
  <p:tag name="ORIGTOP" val="139.125"/>
  <p:tag name="ORIGHEIGHT" val="22.25"/>
  <p:tag name="ORIGWIDTH" val="22.5"/>
  <p:tag name="THINKCELLSHAPEDONOTDELETE" val="pW7UPELdOmUqDJEFTSyTRe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88.125"/>
  <p:tag name="ORIGTOP" val="139.125"/>
  <p:tag name="ORIGHEIGHT" val="22.25"/>
  <p:tag name="ORIGWIDTH" val="22.5"/>
  <p:tag name="THINKCELLSHAPEDONOTDELETE" val="pK.feDo1h3U2Y1jodpeGTO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416.25"/>
  <p:tag name="ORIGTOP" val="139.125"/>
  <p:tag name="ORIGHEIGHT" val="22.25"/>
  <p:tag name="ORIGWIDTH" val="22.5"/>
  <p:tag name="THINKCELLSHAPEDONOTDELETE" val="pDgQjdHRpHEidRg1tBWNSY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416.25"/>
  <p:tag name="ORIGTOP" val="139.125"/>
  <p:tag name="ORIGHEIGHT" val="22.25"/>
  <p:tag name="ORIGWIDTH" val="22.5"/>
  <p:tag name="THINKCELLSHAPEDONOTDELETE" val="pDgQjdHRpHEidRg1tBWNSY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03.875"/>
  <p:tag name="ORIGTOP" val="139.125"/>
  <p:tag name="ORIGHEIGHT" val="22.25"/>
  <p:tag name="ORIGWIDTH" val="22.5"/>
  <p:tag name="THINKCELLSHAPEDONOTDELETE" val="pT4X4m9KDt0ykv35NKgND6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31.875"/>
  <p:tag name="ORIGTOP" val="139.125"/>
  <p:tag name="ORIGHEIGHT" val="22.25"/>
  <p:tag name="ORIGWIDTH" val="22.5"/>
  <p:tag name="THINKCELLSHAPEDONOTDELETE" val="pqyoXwDW.2kqRy4HzPlmzG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60"/>
  <p:tag name="ORIGTOP" val="139.125"/>
  <p:tag name="ORIGHEIGHT" val="22.25"/>
  <p:tag name="ORIGWIDTH" val="22.5"/>
  <p:tag name="THINKCELLSHAPEDONOTDELETE" val="pW7UPELdOmUqDJEFTSyTRe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88.125"/>
  <p:tag name="ORIGTOP" val="139.125"/>
  <p:tag name="ORIGHEIGHT" val="22.25"/>
  <p:tag name="ORIGWIDTH" val="22.5"/>
  <p:tag name="THINKCELLSHAPEDONOTDELETE" val="pK.feDo1h3U2Y1jodpeGTO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416.25"/>
  <p:tag name="ORIGTOP" val="139.125"/>
  <p:tag name="ORIGHEIGHT" val="22.25"/>
  <p:tag name="ORIGWIDTH" val="22.5"/>
  <p:tag name="THINKCELLSHAPEDONOTDELETE" val="pDgQjdHRpHEidRg1tBWNS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03.875"/>
  <p:tag name="ORIGTOP" val="139.125"/>
  <p:tag name="ORIGHEIGHT" val="22.25"/>
  <p:tag name="ORIGWIDTH" val="22.5"/>
  <p:tag name="THINKCELLSHAPEDONOTDELETE" val="pT4X4m9KDt0ykv35NKgND6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31.875"/>
  <p:tag name="ORIGTOP" val="139.125"/>
  <p:tag name="ORIGHEIGHT" val="22.25"/>
  <p:tag name="ORIGWIDTH" val="22.5"/>
  <p:tag name="THINKCELLSHAPEDONOTDELETE" val="pqyoXwDW.2kqRy4HzPlmzG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60"/>
  <p:tag name="ORIGTOP" val="139.125"/>
  <p:tag name="ORIGHEIGHT" val="22.25"/>
  <p:tag name="ORIGWIDTH" val="22.5"/>
  <p:tag name="THINKCELLSHAPEDONOTDELETE" val="pW7UPELdOmUqDJEFTSyTRe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88.125"/>
  <p:tag name="ORIGTOP" val="139.125"/>
  <p:tag name="ORIGHEIGHT" val="22.25"/>
  <p:tag name="ORIGWIDTH" val="22.5"/>
  <p:tag name="THINKCELLSHAPEDONOTDELETE" val="pK.feDo1h3U2Y1jodpeGTO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416.25"/>
  <p:tag name="ORIGTOP" val="139.125"/>
  <p:tag name="ORIGHEIGHT" val="22.25"/>
  <p:tag name="ORIGWIDTH" val="22.5"/>
  <p:tag name="THINKCELLSHAPEDONOTDELETE" val="pDgQjdHRpHEidRg1tBWNSY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416.25"/>
  <p:tag name="ORIGTOP" val="139.125"/>
  <p:tag name="ORIGHEIGHT" val="22.25"/>
  <p:tag name="ORIGWIDTH" val="22.5"/>
  <p:tag name="THINKCELLSHAPEDONOTDELETE" val="pDgQjdHRpHEidRg1tBWNSY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03.875"/>
  <p:tag name="ORIGTOP" val="139.125"/>
  <p:tag name="ORIGHEIGHT" val="22.25"/>
  <p:tag name="ORIGWIDTH" val="22.5"/>
  <p:tag name="THINKCELLSHAPEDONOTDELETE" val="pT4X4m9KDt0ykv35NKgND6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31.875"/>
  <p:tag name="ORIGTOP" val="139.125"/>
  <p:tag name="ORIGHEIGHT" val="22.25"/>
  <p:tag name="ORIGWIDTH" val="22.5"/>
  <p:tag name="THINKCELLSHAPEDONOTDELETE" val="pqyoXwDW.2kqRy4HzPlmzG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60"/>
  <p:tag name="ORIGTOP" val="139.125"/>
  <p:tag name="ORIGHEIGHT" val="22.25"/>
  <p:tag name="ORIGWIDTH" val="22.5"/>
  <p:tag name="THINKCELLSHAPEDONOTDELETE" val="pW7UPELdOmUqDJEFTSyTRe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8KS1dDzQOGOMMaDq7elF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88.125"/>
  <p:tag name="ORIGTOP" val="139.125"/>
  <p:tag name="ORIGHEIGHT" val="22.25"/>
  <p:tag name="ORIGWIDTH" val="22.5"/>
  <p:tag name="THINKCELLSHAPEDONOTDELETE" val="pK.feDo1h3U2Y1jodpeGTO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416.25"/>
  <p:tag name="ORIGTOP" val="139.125"/>
  <p:tag name="ORIGHEIGHT" val="22.25"/>
  <p:tag name="ORIGWIDTH" val="22.5"/>
  <p:tag name="THINKCELLSHAPEDONOTDELETE" val="pDgQjdHRpHEidRg1tBWNSY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rQNI0VrK17pgL_c1L2b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03.875"/>
  <p:tag name="ORIGTOP" val="139.125"/>
  <p:tag name="ORIGHEIGHT" val="22.25"/>
  <p:tag name="ORIGWIDTH" val="22.5"/>
  <p:tag name="THINKCELLSHAPEDONOTDELETE" val="pT4X4m9KDt0ykv35NKgND6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31.875"/>
  <p:tag name="ORIGTOP" val="139.125"/>
  <p:tag name="ORIGHEIGHT" val="22.25"/>
  <p:tag name="ORIGWIDTH" val="22.5"/>
  <p:tag name="THINKCELLSHAPEDONOTDELETE" val="pqyoXwDW.2kqRy4HzPlmzG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60"/>
  <p:tag name="ORIGTOP" val="139.125"/>
  <p:tag name="ORIGHEIGHT" val="22.25"/>
  <p:tag name="ORIGWIDTH" val="22.5"/>
  <p:tag name="THINKCELLSHAPEDONOTDELETE" val="pW7UPELdOmUqDJEFTSyTRe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88.125"/>
  <p:tag name="ORIGTOP" val="139.125"/>
  <p:tag name="ORIGHEIGHT" val="22.25"/>
  <p:tag name="ORIGWIDTH" val="22.5"/>
  <p:tag name="THINKCELLSHAPEDONOTDELETE" val="pK.feDo1h3U2Y1jodpeGTO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416.25"/>
  <p:tag name="ORIGTOP" val="139.125"/>
  <p:tag name="ORIGHEIGHT" val="22.25"/>
  <p:tag name="ORIGWIDTH" val="22.5"/>
  <p:tag name="THINKCELLSHAPEDONOTDELETE" val="pDgQjdHRpHEidRg1tBWNSY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03.875"/>
  <p:tag name="ORIGTOP" val="139.125"/>
  <p:tag name="ORIGHEIGHT" val="22.25"/>
  <p:tag name="ORIGWIDTH" val="22.5"/>
  <p:tag name="THINKCELLSHAPEDONOTDELETE" val="pT4X4m9KDt0ykv35NKgND6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31.875"/>
  <p:tag name="ORIGTOP" val="139.125"/>
  <p:tag name="ORIGHEIGHT" val="22.25"/>
  <p:tag name="ORIGWIDTH" val="22.5"/>
  <p:tag name="THINKCELLSHAPEDONOTDELETE" val="pqyoXwDW.2kqRy4HzPlmzG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60"/>
  <p:tag name="ORIGTOP" val="139.125"/>
  <p:tag name="ORIGHEIGHT" val="22.25"/>
  <p:tag name="ORIGWIDTH" val="22.5"/>
  <p:tag name="THINKCELLSHAPEDONOTDELETE" val="pW7UPELdOmUqDJEFTSyTRe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88.125"/>
  <p:tag name="ORIGTOP" val="139.125"/>
  <p:tag name="ORIGHEIGHT" val="22.25"/>
  <p:tag name="ORIGWIDTH" val="22.5"/>
  <p:tag name="THINKCELLSHAPEDONOTDELETE" val="pK.feDo1h3U2Y1jodpeGTO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416.25"/>
  <p:tag name="ORIGTOP" val="139.125"/>
  <p:tag name="ORIGHEIGHT" val="22.25"/>
  <p:tag name="ORIGWIDTH" val="22.5"/>
  <p:tag name="THINKCELLSHAPEDONOTDELETE" val="pDgQjdHRpHEidRg1tBWNSY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416.25"/>
  <p:tag name="ORIGTOP" val="139.125"/>
  <p:tag name="ORIGHEIGHT" val="22.25"/>
  <p:tag name="ORIGWIDTH" val="22.5"/>
  <p:tag name="THINKCELLSHAPEDONOTDELETE" val="pDgQjdHRpHEidRg1tBWNSY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03.875"/>
  <p:tag name="ORIGTOP" val="139.125"/>
  <p:tag name="ORIGHEIGHT" val="22.25"/>
  <p:tag name="ORIGWIDTH" val="22.5"/>
  <p:tag name="THINKCELLSHAPEDONOTDELETE" val="pT4X4m9KDt0ykv35NKgND6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31.875"/>
  <p:tag name="ORIGTOP" val="139.125"/>
  <p:tag name="ORIGHEIGHT" val="22.25"/>
  <p:tag name="ORIGWIDTH" val="22.5"/>
  <p:tag name="THINKCELLSHAPEDONOTDELETE" val="pqyoXwDW.2kqRy4HzPlmzG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60"/>
  <p:tag name="ORIGTOP" val="139.125"/>
  <p:tag name="ORIGHEIGHT" val="22.25"/>
  <p:tag name="ORIGWIDTH" val="22.5"/>
  <p:tag name="THINKCELLSHAPEDONOTDELETE" val="pW7UPELdOmUqDJEFTSyTRe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FN.z50f79zVkssv_79c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88.125"/>
  <p:tag name="ORIGTOP" val="139.125"/>
  <p:tag name="ORIGHEIGHT" val="22.25"/>
  <p:tag name="ORIGWIDTH" val="22.5"/>
  <p:tag name="THINKCELLSHAPEDONOTDELETE" val="pK.feDo1h3U2Y1jodpeGTO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416.25"/>
  <p:tag name="ORIGTOP" val="139.125"/>
  <p:tag name="ORIGHEIGHT" val="22.25"/>
  <p:tag name="ORIGWIDTH" val="22.5"/>
  <p:tag name="THINKCELLSHAPEDONOTDELETE" val="pDgQjdHRpHEidRg1tBWNSY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K2fQIzDaNCOJLlWERYk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gxBwUHXNoKvmWqspoYh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BCEMnmgRoW.mK.TPU1v4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0CdVsoDggzDT9hR_ZnE6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20094374623194"/>
  <p:tag name="LEFT" val="9.375118"/>
  <p:tag name="WIDTH" val="174.775"/>
  <p:tag name="TOP" val="199.5716"/>
  <p:tag name="HEIGHT" val="41.40893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20094374623194"/>
  <p:tag name="LEFT" val="9.375118"/>
  <p:tag name="WIDTH" val="174.775"/>
  <p:tag name="TOP" val="199.5716"/>
  <p:tag name="HEIGHT" val="41.40893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320094374623194"/>
  <p:tag name="LEFT" val="9.375118"/>
  <p:tag name="WIDTH" val="174.775"/>
  <p:tag name="TOP" val="199.5716"/>
  <p:tag name="HEIGHT" val="41.4089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P-2007-2010-slidepool-light">
  <a:themeElements>
    <a:clrScheme name="Tata Steel">
      <a:dk1>
        <a:srgbClr val="000000"/>
      </a:dk1>
      <a:lt1>
        <a:srgbClr val="FFFFFF"/>
      </a:lt1>
      <a:dk2>
        <a:srgbClr val="3D7EDB"/>
      </a:dk2>
      <a:lt2>
        <a:srgbClr val="999999"/>
      </a:lt2>
      <a:accent1>
        <a:srgbClr val="5A245A"/>
      </a:accent1>
      <a:accent2>
        <a:srgbClr val="ED2939"/>
      </a:accent2>
      <a:accent3>
        <a:srgbClr val="FFA100"/>
      </a:accent3>
      <a:accent4>
        <a:srgbClr val="34B233"/>
      </a:accent4>
      <a:accent5>
        <a:srgbClr val="0083A9"/>
      </a:accent5>
      <a:accent6>
        <a:srgbClr val="002B45"/>
      </a:accent6>
      <a:hlink>
        <a:srgbClr val="000000"/>
      </a:hlink>
      <a:folHlink>
        <a:srgbClr val="000000"/>
      </a:folHlink>
    </a:clrScheme>
    <a:fontScheme name="Tata Steel them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9050" cap="flat" cmpd="sng" algn="ctr">
          <a:solidFill>
            <a:srgbClr val="808080"/>
          </a:solidFill>
          <a:prstDash val="sysDot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9050" cap="flat" cmpd="sng" algn="ctr">
          <a:solidFill>
            <a:srgbClr val="808080"/>
          </a:solidFill>
          <a:prstDash val="sysDot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Tata Steel theme 1">
        <a:dk1>
          <a:srgbClr val="000000"/>
        </a:dk1>
        <a:lt1>
          <a:srgbClr val="FFFFFF"/>
        </a:lt1>
        <a:dk2>
          <a:srgbClr val="3D7EDB"/>
        </a:dk2>
        <a:lt2>
          <a:srgbClr val="999999"/>
        </a:lt2>
        <a:accent1>
          <a:srgbClr val="002B45"/>
        </a:accent1>
        <a:accent2>
          <a:srgbClr val="0083A9"/>
        </a:accent2>
        <a:accent3>
          <a:srgbClr val="FFFFFF"/>
        </a:accent3>
        <a:accent4>
          <a:srgbClr val="000000"/>
        </a:accent4>
        <a:accent5>
          <a:srgbClr val="AAACB0"/>
        </a:accent5>
        <a:accent6>
          <a:srgbClr val="007699"/>
        </a:accent6>
        <a:hlink>
          <a:srgbClr val="34B233"/>
        </a:hlink>
        <a:folHlink>
          <a:srgbClr val="ED293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1_TataSteel_template">
  <a:themeElements>
    <a:clrScheme name="TataSteel_template 2">
      <a:dk1>
        <a:srgbClr val="000000"/>
      </a:dk1>
      <a:lt1>
        <a:srgbClr val="FFFFFF"/>
      </a:lt1>
      <a:dk2>
        <a:srgbClr val="3D7EDB"/>
      </a:dk2>
      <a:lt2>
        <a:srgbClr val="999999"/>
      </a:lt2>
      <a:accent1>
        <a:srgbClr val="002B45"/>
      </a:accent1>
      <a:accent2>
        <a:srgbClr val="0083A9"/>
      </a:accent2>
      <a:accent3>
        <a:srgbClr val="FFFFFF"/>
      </a:accent3>
      <a:accent4>
        <a:srgbClr val="000000"/>
      </a:accent4>
      <a:accent5>
        <a:srgbClr val="AAACB0"/>
      </a:accent5>
      <a:accent6>
        <a:srgbClr val="007699"/>
      </a:accent6>
      <a:hlink>
        <a:srgbClr val="009900"/>
      </a:hlink>
      <a:folHlink>
        <a:srgbClr val="FF0000"/>
      </a:folHlink>
    </a:clrScheme>
    <a:fontScheme name="TataSteel_templat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TataSteel_template 1">
        <a:dk1>
          <a:srgbClr val="000000"/>
        </a:dk1>
        <a:lt1>
          <a:srgbClr val="FFFFFF"/>
        </a:lt1>
        <a:dk2>
          <a:srgbClr val="4C83C3"/>
        </a:dk2>
        <a:lt2>
          <a:srgbClr val="999999"/>
        </a:lt2>
        <a:accent1>
          <a:srgbClr val="002B45"/>
        </a:accent1>
        <a:accent2>
          <a:srgbClr val="0083A9"/>
        </a:accent2>
        <a:accent3>
          <a:srgbClr val="FFFFFF"/>
        </a:accent3>
        <a:accent4>
          <a:srgbClr val="000000"/>
        </a:accent4>
        <a:accent5>
          <a:srgbClr val="AAACB0"/>
        </a:accent5>
        <a:accent6>
          <a:srgbClr val="007699"/>
        </a:accent6>
        <a:hlink>
          <a:srgbClr val="009900"/>
        </a:hlink>
        <a:folHlink>
          <a:srgbClr val="FF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ataSteel_template 2">
        <a:dk1>
          <a:srgbClr val="000000"/>
        </a:dk1>
        <a:lt1>
          <a:srgbClr val="FFFFFF"/>
        </a:lt1>
        <a:dk2>
          <a:srgbClr val="3D7EDB"/>
        </a:dk2>
        <a:lt2>
          <a:srgbClr val="999999"/>
        </a:lt2>
        <a:accent1>
          <a:srgbClr val="002B45"/>
        </a:accent1>
        <a:accent2>
          <a:srgbClr val="0083A9"/>
        </a:accent2>
        <a:accent3>
          <a:srgbClr val="FFFFFF"/>
        </a:accent3>
        <a:accent4>
          <a:srgbClr val="000000"/>
        </a:accent4>
        <a:accent5>
          <a:srgbClr val="AAACB0"/>
        </a:accent5>
        <a:accent6>
          <a:srgbClr val="007699"/>
        </a:accent6>
        <a:hlink>
          <a:srgbClr val="009900"/>
        </a:hlink>
        <a:folHlink>
          <a:srgbClr val="FF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6_PP-2007-2010-slidepool-light">
  <a:themeElements>
    <a:clrScheme name="Tata Steel">
      <a:dk1>
        <a:srgbClr val="000000"/>
      </a:dk1>
      <a:lt1>
        <a:srgbClr val="FFFFFF"/>
      </a:lt1>
      <a:dk2>
        <a:srgbClr val="3D7EDB"/>
      </a:dk2>
      <a:lt2>
        <a:srgbClr val="999999"/>
      </a:lt2>
      <a:accent1>
        <a:srgbClr val="5A245A"/>
      </a:accent1>
      <a:accent2>
        <a:srgbClr val="ED2939"/>
      </a:accent2>
      <a:accent3>
        <a:srgbClr val="FFA100"/>
      </a:accent3>
      <a:accent4>
        <a:srgbClr val="34B233"/>
      </a:accent4>
      <a:accent5>
        <a:srgbClr val="0083A9"/>
      </a:accent5>
      <a:accent6>
        <a:srgbClr val="002B45"/>
      </a:accent6>
      <a:hlink>
        <a:srgbClr val="000000"/>
      </a:hlink>
      <a:folHlink>
        <a:srgbClr val="000000"/>
      </a:folHlink>
    </a:clrScheme>
    <a:fontScheme name="Tata Steel them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9050" cap="flat" cmpd="sng" algn="ctr">
          <a:solidFill>
            <a:srgbClr val="808080"/>
          </a:solidFill>
          <a:prstDash val="sysDot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9050" cap="flat" cmpd="sng" algn="ctr">
          <a:solidFill>
            <a:srgbClr val="808080"/>
          </a:solidFill>
          <a:prstDash val="sysDot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Tata Steel theme 1">
        <a:dk1>
          <a:srgbClr val="000000"/>
        </a:dk1>
        <a:lt1>
          <a:srgbClr val="FFFFFF"/>
        </a:lt1>
        <a:dk2>
          <a:srgbClr val="3D7EDB"/>
        </a:dk2>
        <a:lt2>
          <a:srgbClr val="999999"/>
        </a:lt2>
        <a:accent1>
          <a:srgbClr val="002B45"/>
        </a:accent1>
        <a:accent2>
          <a:srgbClr val="0083A9"/>
        </a:accent2>
        <a:accent3>
          <a:srgbClr val="FFFFFF"/>
        </a:accent3>
        <a:accent4>
          <a:srgbClr val="000000"/>
        </a:accent4>
        <a:accent5>
          <a:srgbClr val="AAACB0"/>
        </a:accent5>
        <a:accent6>
          <a:srgbClr val="007699"/>
        </a:accent6>
        <a:hlink>
          <a:srgbClr val="34B233"/>
        </a:hlink>
        <a:folHlink>
          <a:srgbClr val="ED293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7_PP-2007-2010-slidepool-light">
  <a:themeElements>
    <a:clrScheme name="Tata Steel">
      <a:dk1>
        <a:srgbClr val="000000"/>
      </a:dk1>
      <a:lt1>
        <a:srgbClr val="FFFFFF"/>
      </a:lt1>
      <a:dk2>
        <a:srgbClr val="3D7EDB"/>
      </a:dk2>
      <a:lt2>
        <a:srgbClr val="999999"/>
      </a:lt2>
      <a:accent1>
        <a:srgbClr val="5A245A"/>
      </a:accent1>
      <a:accent2>
        <a:srgbClr val="ED2939"/>
      </a:accent2>
      <a:accent3>
        <a:srgbClr val="FFA100"/>
      </a:accent3>
      <a:accent4>
        <a:srgbClr val="34B233"/>
      </a:accent4>
      <a:accent5>
        <a:srgbClr val="0083A9"/>
      </a:accent5>
      <a:accent6>
        <a:srgbClr val="002B45"/>
      </a:accent6>
      <a:hlink>
        <a:srgbClr val="000000"/>
      </a:hlink>
      <a:folHlink>
        <a:srgbClr val="000000"/>
      </a:folHlink>
    </a:clrScheme>
    <a:fontScheme name="Tata Steel them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9050" cap="flat" cmpd="sng" algn="ctr">
          <a:solidFill>
            <a:srgbClr val="808080"/>
          </a:solidFill>
          <a:prstDash val="sysDot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9050" cap="flat" cmpd="sng" algn="ctr">
          <a:solidFill>
            <a:srgbClr val="808080"/>
          </a:solidFill>
          <a:prstDash val="sysDot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Tata Steel theme 1">
        <a:dk1>
          <a:srgbClr val="000000"/>
        </a:dk1>
        <a:lt1>
          <a:srgbClr val="FFFFFF"/>
        </a:lt1>
        <a:dk2>
          <a:srgbClr val="3D7EDB"/>
        </a:dk2>
        <a:lt2>
          <a:srgbClr val="999999"/>
        </a:lt2>
        <a:accent1>
          <a:srgbClr val="002B45"/>
        </a:accent1>
        <a:accent2>
          <a:srgbClr val="0083A9"/>
        </a:accent2>
        <a:accent3>
          <a:srgbClr val="FFFFFF"/>
        </a:accent3>
        <a:accent4>
          <a:srgbClr val="000000"/>
        </a:accent4>
        <a:accent5>
          <a:srgbClr val="AAACB0"/>
        </a:accent5>
        <a:accent6>
          <a:srgbClr val="007699"/>
        </a:accent6>
        <a:hlink>
          <a:srgbClr val="34B233"/>
        </a:hlink>
        <a:folHlink>
          <a:srgbClr val="ED293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2_TataSteel_template">
  <a:themeElements>
    <a:clrScheme name="TataSteel_template 2">
      <a:dk1>
        <a:srgbClr val="000000"/>
      </a:dk1>
      <a:lt1>
        <a:srgbClr val="FFFFFF"/>
      </a:lt1>
      <a:dk2>
        <a:srgbClr val="3D7EDB"/>
      </a:dk2>
      <a:lt2>
        <a:srgbClr val="999999"/>
      </a:lt2>
      <a:accent1>
        <a:srgbClr val="002B45"/>
      </a:accent1>
      <a:accent2>
        <a:srgbClr val="0083A9"/>
      </a:accent2>
      <a:accent3>
        <a:srgbClr val="FFFFFF"/>
      </a:accent3>
      <a:accent4>
        <a:srgbClr val="000000"/>
      </a:accent4>
      <a:accent5>
        <a:srgbClr val="AAACB0"/>
      </a:accent5>
      <a:accent6>
        <a:srgbClr val="007699"/>
      </a:accent6>
      <a:hlink>
        <a:srgbClr val="009900"/>
      </a:hlink>
      <a:folHlink>
        <a:srgbClr val="FF0000"/>
      </a:folHlink>
    </a:clrScheme>
    <a:fontScheme name="TataSteel_templat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TataSteel_template 1">
        <a:dk1>
          <a:srgbClr val="000000"/>
        </a:dk1>
        <a:lt1>
          <a:srgbClr val="FFFFFF"/>
        </a:lt1>
        <a:dk2>
          <a:srgbClr val="4C83C3"/>
        </a:dk2>
        <a:lt2>
          <a:srgbClr val="999999"/>
        </a:lt2>
        <a:accent1>
          <a:srgbClr val="002B45"/>
        </a:accent1>
        <a:accent2>
          <a:srgbClr val="0083A9"/>
        </a:accent2>
        <a:accent3>
          <a:srgbClr val="FFFFFF"/>
        </a:accent3>
        <a:accent4>
          <a:srgbClr val="000000"/>
        </a:accent4>
        <a:accent5>
          <a:srgbClr val="AAACB0"/>
        </a:accent5>
        <a:accent6>
          <a:srgbClr val="007699"/>
        </a:accent6>
        <a:hlink>
          <a:srgbClr val="009900"/>
        </a:hlink>
        <a:folHlink>
          <a:srgbClr val="FF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ataSteel_template 2">
        <a:dk1>
          <a:srgbClr val="000000"/>
        </a:dk1>
        <a:lt1>
          <a:srgbClr val="FFFFFF"/>
        </a:lt1>
        <a:dk2>
          <a:srgbClr val="3D7EDB"/>
        </a:dk2>
        <a:lt2>
          <a:srgbClr val="999999"/>
        </a:lt2>
        <a:accent1>
          <a:srgbClr val="002B45"/>
        </a:accent1>
        <a:accent2>
          <a:srgbClr val="0083A9"/>
        </a:accent2>
        <a:accent3>
          <a:srgbClr val="FFFFFF"/>
        </a:accent3>
        <a:accent4>
          <a:srgbClr val="000000"/>
        </a:accent4>
        <a:accent5>
          <a:srgbClr val="AAACB0"/>
        </a:accent5>
        <a:accent6>
          <a:srgbClr val="007699"/>
        </a:accent6>
        <a:hlink>
          <a:srgbClr val="009900"/>
        </a:hlink>
        <a:folHlink>
          <a:srgbClr val="FF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Office-them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5.xml><?xml version="1.0" encoding="utf-8"?>
<a:theme xmlns:a="http://schemas.openxmlformats.org/drawingml/2006/main" name="Office-them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3_PP-2007-2010-slidepool-light">
  <a:themeElements>
    <a:clrScheme name="Tata Steel">
      <a:dk1>
        <a:srgbClr val="000000"/>
      </a:dk1>
      <a:lt1>
        <a:srgbClr val="FFFFFF"/>
      </a:lt1>
      <a:dk2>
        <a:srgbClr val="3D7EDB"/>
      </a:dk2>
      <a:lt2>
        <a:srgbClr val="999999"/>
      </a:lt2>
      <a:accent1>
        <a:srgbClr val="5A245A"/>
      </a:accent1>
      <a:accent2>
        <a:srgbClr val="ED2939"/>
      </a:accent2>
      <a:accent3>
        <a:srgbClr val="FFA100"/>
      </a:accent3>
      <a:accent4>
        <a:srgbClr val="34B233"/>
      </a:accent4>
      <a:accent5>
        <a:srgbClr val="0083A9"/>
      </a:accent5>
      <a:accent6>
        <a:srgbClr val="002B45"/>
      </a:accent6>
      <a:hlink>
        <a:srgbClr val="000000"/>
      </a:hlink>
      <a:folHlink>
        <a:srgbClr val="000000"/>
      </a:folHlink>
    </a:clrScheme>
    <a:fontScheme name="Tata Steel them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9050" cap="flat" cmpd="sng" algn="ctr">
          <a:solidFill>
            <a:srgbClr val="808080"/>
          </a:solidFill>
          <a:prstDash val="sysDot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9050" cap="flat" cmpd="sng" algn="ctr">
          <a:solidFill>
            <a:srgbClr val="808080"/>
          </a:solidFill>
          <a:prstDash val="sysDot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Tata Steel theme 1">
        <a:dk1>
          <a:srgbClr val="000000"/>
        </a:dk1>
        <a:lt1>
          <a:srgbClr val="FFFFFF"/>
        </a:lt1>
        <a:dk2>
          <a:srgbClr val="3D7EDB"/>
        </a:dk2>
        <a:lt2>
          <a:srgbClr val="999999"/>
        </a:lt2>
        <a:accent1>
          <a:srgbClr val="002B45"/>
        </a:accent1>
        <a:accent2>
          <a:srgbClr val="0083A9"/>
        </a:accent2>
        <a:accent3>
          <a:srgbClr val="FFFFFF"/>
        </a:accent3>
        <a:accent4>
          <a:srgbClr val="000000"/>
        </a:accent4>
        <a:accent5>
          <a:srgbClr val="AAACB0"/>
        </a:accent5>
        <a:accent6>
          <a:srgbClr val="007699"/>
        </a:accent6>
        <a:hlink>
          <a:srgbClr val="34B233"/>
        </a:hlink>
        <a:folHlink>
          <a:srgbClr val="ED293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PP-2007-2010-slidepool-light">
  <a:themeElements>
    <a:clrScheme name="Tata Steel">
      <a:dk1>
        <a:srgbClr val="000000"/>
      </a:dk1>
      <a:lt1>
        <a:srgbClr val="FFFFFF"/>
      </a:lt1>
      <a:dk2>
        <a:srgbClr val="3D7EDB"/>
      </a:dk2>
      <a:lt2>
        <a:srgbClr val="999999"/>
      </a:lt2>
      <a:accent1>
        <a:srgbClr val="5A245A"/>
      </a:accent1>
      <a:accent2>
        <a:srgbClr val="ED2939"/>
      </a:accent2>
      <a:accent3>
        <a:srgbClr val="FFA100"/>
      </a:accent3>
      <a:accent4>
        <a:srgbClr val="34B233"/>
      </a:accent4>
      <a:accent5>
        <a:srgbClr val="0083A9"/>
      </a:accent5>
      <a:accent6>
        <a:srgbClr val="002B45"/>
      </a:accent6>
      <a:hlink>
        <a:srgbClr val="000000"/>
      </a:hlink>
      <a:folHlink>
        <a:srgbClr val="000000"/>
      </a:folHlink>
    </a:clrScheme>
    <a:fontScheme name="Tata Steel them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9050" cap="flat" cmpd="sng" algn="ctr">
          <a:solidFill>
            <a:srgbClr val="808080"/>
          </a:solidFill>
          <a:prstDash val="sysDot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9050" cap="flat" cmpd="sng" algn="ctr">
          <a:solidFill>
            <a:srgbClr val="808080"/>
          </a:solidFill>
          <a:prstDash val="sysDot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Tata Steel theme 1">
        <a:dk1>
          <a:srgbClr val="000000"/>
        </a:dk1>
        <a:lt1>
          <a:srgbClr val="FFFFFF"/>
        </a:lt1>
        <a:dk2>
          <a:srgbClr val="3D7EDB"/>
        </a:dk2>
        <a:lt2>
          <a:srgbClr val="999999"/>
        </a:lt2>
        <a:accent1>
          <a:srgbClr val="002B45"/>
        </a:accent1>
        <a:accent2>
          <a:srgbClr val="0083A9"/>
        </a:accent2>
        <a:accent3>
          <a:srgbClr val="FFFFFF"/>
        </a:accent3>
        <a:accent4>
          <a:srgbClr val="000000"/>
        </a:accent4>
        <a:accent5>
          <a:srgbClr val="AAACB0"/>
        </a:accent5>
        <a:accent6>
          <a:srgbClr val="007699"/>
        </a:accent6>
        <a:hlink>
          <a:srgbClr val="34B233"/>
        </a:hlink>
        <a:folHlink>
          <a:srgbClr val="ED293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2_PP-2007-2010-slidepool-light">
  <a:themeElements>
    <a:clrScheme name="Tata Steel">
      <a:dk1>
        <a:srgbClr val="000000"/>
      </a:dk1>
      <a:lt1>
        <a:srgbClr val="FFFFFF"/>
      </a:lt1>
      <a:dk2>
        <a:srgbClr val="3D7EDB"/>
      </a:dk2>
      <a:lt2>
        <a:srgbClr val="999999"/>
      </a:lt2>
      <a:accent1>
        <a:srgbClr val="5A245A"/>
      </a:accent1>
      <a:accent2>
        <a:srgbClr val="ED2939"/>
      </a:accent2>
      <a:accent3>
        <a:srgbClr val="FFA100"/>
      </a:accent3>
      <a:accent4>
        <a:srgbClr val="34B233"/>
      </a:accent4>
      <a:accent5>
        <a:srgbClr val="0083A9"/>
      </a:accent5>
      <a:accent6>
        <a:srgbClr val="002B45"/>
      </a:accent6>
      <a:hlink>
        <a:srgbClr val="000000"/>
      </a:hlink>
      <a:folHlink>
        <a:srgbClr val="000000"/>
      </a:folHlink>
    </a:clrScheme>
    <a:fontScheme name="Tata Steel them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9050" cap="flat" cmpd="sng" algn="ctr">
          <a:solidFill>
            <a:srgbClr val="808080"/>
          </a:solidFill>
          <a:prstDash val="sysDot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9050" cap="flat" cmpd="sng" algn="ctr">
          <a:solidFill>
            <a:srgbClr val="808080"/>
          </a:solidFill>
          <a:prstDash val="sysDot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Tata Steel theme 1">
        <a:dk1>
          <a:srgbClr val="000000"/>
        </a:dk1>
        <a:lt1>
          <a:srgbClr val="FFFFFF"/>
        </a:lt1>
        <a:dk2>
          <a:srgbClr val="3D7EDB"/>
        </a:dk2>
        <a:lt2>
          <a:srgbClr val="999999"/>
        </a:lt2>
        <a:accent1>
          <a:srgbClr val="002B45"/>
        </a:accent1>
        <a:accent2>
          <a:srgbClr val="0083A9"/>
        </a:accent2>
        <a:accent3>
          <a:srgbClr val="FFFFFF"/>
        </a:accent3>
        <a:accent4>
          <a:srgbClr val="000000"/>
        </a:accent4>
        <a:accent5>
          <a:srgbClr val="AAACB0"/>
        </a:accent5>
        <a:accent6>
          <a:srgbClr val="007699"/>
        </a:accent6>
        <a:hlink>
          <a:srgbClr val="34B233"/>
        </a:hlink>
        <a:folHlink>
          <a:srgbClr val="ED293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39_PP-2007-2010-slidepool-light">
  <a:themeElements>
    <a:clrScheme name="Tata Steel">
      <a:dk1>
        <a:srgbClr val="000000"/>
      </a:dk1>
      <a:lt1>
        <a:srgbClr val="FFFFFF"/>
      </a:lt1>
      <a:dk2>
        <a:srgbClr val="3D7EDB"/>
      </a:dk2>
      <a:lt2>
        <a:srgbClr val="999999"/>
      </a:lt2>
      <a:accent1>
        <a:srgbClr val="5A245A"/>
      </a:accent1>
      <a:accent2>
        <a:srgbClr val="ED2939"/>
      </a:accent2>
      <a:accent3>
        <a:srgbClr val="FFA100"/>
      </a:accent3>
      <a:accent4>
        <a:srgbClr val="34B233"/>
      </a:accent4>
      <a:accent5>
        <a:srgbClr val="0083A9"/>
      </a:accent5>
      <a:accent6>
        <a:srgbClr val="002B45"/>
      </a:accent6>
      <a:hlink>
        <a:srgbClr val="000000"/>
      </a:hlink>
      <a:folHlink>
        <a:srgbClr val="000000"/>
      </a:folHlink>
    </a:clrScheme>
    <a:fontScheme name="Tata Steel them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9050" cap="flat" cmpd="sng" algn="ctr">
          <a:solidFill>
            <a:srgbClr val="808080"/>
          </a:solidFill>
          <a:prstDash val="sysDot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9050" cap="flat" cmpd="sng" algn="ctr">
          <a:solidFill>
            <a:srgbClr val="808080"/>
          </a:solidFill>
          <a:prstDash val="sysDot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Tata Steel theme 1">
        <a:dk1>
          <a:srgbClr val="000000"/>
        </a:dk1>
        <a:lt1>
          <a:srgbClr val="FFFFFF"/>
        </a:lt1>
        <a:dk2>
          <a:srgbClr val="3D7EDB"/>
        </a:dk2>
        <a:lt2>
          <a:srgbClr val="999999"/>
        </a:lt2>
        <a:accent1>
          <a:srgbClr val="002B45"/>
        </a:accent1>
        <a:accent2>
          <a:srgbClr val="0083A9"/>
        </a:accent2>
        <a:accent3>
          <a:srgbClr val="FFFFFF"/>
        </a:accent3>
        <a:accent4>
          <a:srgbClr val="000000"/>
        </a:accent4>
        <a:accent5>
          <a:srgbClr val="AAACB0"/>
        </a:accent5>
        <a:accent6>
          <a:srgbClr val="007699"/>
        </a:accent6>
        <a:hlink>
          <a:srgbClr val="34B233"/>
        </a:hlink>
        <a:folHlink>
          <a:srgbClr val="ED293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3_PP-2007-2010-slidepool-light">
  <a:themeElements>
    <a:clrScheme name="Tata Steel">
      <a:dk1>
        <a:srgbClr val="000000"/>
      </a:dk1>
      <a:lt1>
        <a:srgbClr val="FFFFFF"/>
      </a:lt1>
      <a:dk2>
        <a:srgbClr val="3D7EDB"/>
      </a:dk2>
      <a:lt2>
        <a:srgbClr val="999999"/>
      </a:lt2>
      <a:accent1>
        <a:srgbClr val="5A245A"/>
      </a:accent1>
      <a:accent2>
        <a:srgbClr val="ED2939"/>
      </a:accent2>
      <a:accent3>
        <a:srgbClr val="FFA100"/>
      </a:accent3>
      <a:accent4>
        <a:srgbClr val="34B233"/>
      </a:accent4>
      <a:accent5>
        <a:srgbClr val="0083A9"/>
      </a:accent5>
      <a:accent6>
        <a:srgbClr val="002B45"/>
      </a:accent6>
      <a:hlink>
        <a:srgbClr val="00000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9050" cap="flat" cmpd="sng" algn="ctr">
          <a:solidFill>
            <a:srgbClr val="808080"/>
          </a:solidFill>
          <a:prstDash val="sysDot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9050" cap="flat" cmpd="sng" algn="ctr">
          <a:solidFill>
            <a:srgbClr val="808080"/>
          </a:solidFill>
          <a:prstDash val="sysDot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Tata Steel theme 1">
        <a:dk1>
          <a:srgbClr val="000000"/>
        </a:dk1>
        <a:lt1>
          <a:srgbClr val="FFFFFF"/>
        </a:lt1>
        <a:dk2>
          <a:srgbClr val="3D7EDB"/>
        </a:dk2>
        <a:lt2>
          <a:srgbClr val="999999"/>
        </a:lt2>
        <a:accent1>
          <a:srgbClr val="002B45"/>
        </a:accent1>
        <a:accent2>
          <a:srgbClr val="0083A9"/>
        </a:accent2>
        <a:accent3>
          <a:srgbClr val="FFFFFF"/>
        </a:accent3>
        <a:accent4>
          <a:srgbClr val="000000"/>
        </a:accent4>
        <a:accent5>
          <a:srgbClr val="AAACB0"/>
        </a:accent5>
        <a:accent6>
          <a:srgbClr val="007699"/>
        </a:accent6>
        <a:hlink>
          <a:srgbClr val="34B233"/>
        </a:hlink>
        <a:folHlink>
          <a:srgbClr val="ED293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4_PP-2007-2010-slidepool-light">
  <a:themeElements>
    <a:clrScheme name="Tata Steel theme 1">
      <a:dk1>
        <a:srgbClr val="000000"/>
      </a:dk1>
      <a:lt1>
        <a:srgbClr val="FFFFFF"/>
      </a:lt1>
      <a:dk2>
        <a:srgbClr val="3D7EDB"/>
      </a:dk2>
      <a:lt2>
        <a:srgbClr val="999999"/>
      </a:lt2>
      <a:accent1>
        <a:srgbClr val="002B45"/>
      </a:accent1>
      <a:accent2>
        <a:srgbClr val="0083A9"/>
      </a:accent2>
      <a:accent3>
        <a:srgbClr val="FFFFFF"/>
      </a:accent3>
      <a:accent4>
        <a:srgbClr val="000000"/>
      </a:accent4>
      <a:accent5>
        <a:srgbClr val="AAACB0"/>
      </a:accent5>
      <a:accent6>
        <a:srgbClr val="007699"/>
      </a:accent6>
      <a:hlink>
        <a:srgbClr val="34B233"/>
      </a:hlink>
      <a:folHlink>
        <a:srgbClr val="ED2939"/>
      </a:folHlink>
    </a:clrScheme>
    <a:fontScheme name="Tata Steel them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9050" cap="flat" cmpd="sng" algn="ctr">
          <a:solidFill>
            <a:srgbClr val="808080"/>
          </a:solidFill>
          <a:prstDash val="sysDot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9050" cap="flat" cmpd="sng" algn="ctr">
          <a:solidFill>
            <a:srgbClr val="808080"/>
          </a:solidFill>
          <a:prstDash val="sysDot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Tata Steel theme 1">
        <a:dk1>
          <a:srgbClr val="000000"/>
        </a:dk1>
        <a:lt1>
          <a:srgbClr val="FFFFFF"/>
        </a:lt1>
        <a:dk2>
          <a:srgbClr val="3D7EDB"/>
        </a:dk2>
        <a:lt2>
          <a:srgbClr val="999999"/>
        </a:lt2>
        <a:accent1>
          <a:srgbClr val="002B45"/>
        </a:accent1>
        <a:accent2>
          <a:srgbClr val="0083A9"/>
        </a:accent2>
        <a:accent3>
          <a:srgbClr val="FFFFFF"/>
        </a:accent3>
        <a:accent4>
          <a:srgbClr val="000000"/>
        </a:accent4>
        <a:accent5>
          <a:srgbClr val="AAACB0"/>
        </a:accent5>
        <a:accent6>
          <a:srgbClr val="007699"/>
        </a:accent6>
        <a:hlink>
          <a:srgbClr val="34B233"/>
        </a:hlink>
        <a:folHlink>
          <a:srgbClr val="ED293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5_PP-2007-2010-slidepool-light">
  <a:themeElements>
    <a:clrScheme name="Tata Steel">
      <a:dk1>
        <a:srgbClr val="000000"/>
      </a:dk1>
      <a:lt1>
        <a:srgbClr val="FFFFFF"/>
      </a:lt1>
      <a:dk2>
        <a:srgbClr val="3D7EDB"/>
      </a:dk2>
      <a:lt2>
        <a:srgbClr val="999999"/>
      </a:lt2>
      <a:accent1>
        <a:srgbClr val="5A245A"/>
      </a:accent1>
      <a:accent2>
        <a:srgbClr val="ED2939"/>
      </a:accent2>
      <a:accent3>
        <a:srgbClr val="FFA100"/>
      </a:accent3>
      <a:accent4>
        <a:srgbClr val="34B233"/>
      </a:accent4>
      <a:accent5>
        <a:srgbClr val="0083A9"/>
      </a:accent5>
      <a:accent6>
        <a:srgbClr val="002B45"/>
      </a:accent6>
      <a:hlink>
        <a:srgbClr val="000000"/>
      </a:hlink>
      <a:folHlink>
        <a:srgbClr val="000000"/>
      </a:folHlink>
    </a:clrScheme>
    <a:fontScheme name="Tata Steel them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9050" cap="flat" cmpd="sng" algn="ctr">
          <a:solidFill>
            <a:srgbClr val="808080"/>
          </a:solidFill>
          <a:prstDash val="sysDot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9050" cap="flat" cmpd="sng" algn="ctr">
          <a:solidFill>
            <a:srgbClr val="808080"/>
          </a:solidFill>
          <a:prstDash val="sysDot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Tata Steel theme 1">
        <a:dk1>
          <a:srgbClr val="000000"/>
        </a:dk1>
        <a:lt1>
          <a:srgbClr val="FFFFFF"/>
        </a:lt1>
        <a:dk2>
          <a:srgbClr val="3D7EDB"/>
        </a:dk2>
        <a:lt2>
          <a:srgbClr val="999999"/>
        </a:lt2>
        <a:accent1>
          <a:srgbClr val="002B45"/>
        </a:accent1>
        <a:accent2>
          <a:srgbClr val="0083A9"/>
        </a:accent2>
        <a:accent3>
          <a:srgbClr val="FFFFFF"/>
        </a:accent3>
        <a:accent4>
          <a:srgbClr val="000000"/>
        </a:accent4>
        <a:accent5>
          <a:srgbClr val="AAACB0"/>
        </a:accent5>
        <a:accent6>
          <a:srgbClr val="007699"/>
        </a:accent6>
        <a:hlink>
          <a:srgbClr val="34B233"/>
        </a:hlink>
        <a:folHlink>
          <a:srgbClr val="ED293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4_TataSteel_template">
  <a:themeElements>
    <a:clrScheme name="Elemental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629DD1"/>
      </a:accent1>
      <a:accent2>
        <a:srgbClr val="297FD5"/>
      </a:accent2>
      <a:accent3>
        <a:srgbClr val="7F8FA9"/>
      </a:accent3>
      <a:accent4>
        <a:srgbClr val="4A66AC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TataSteel_templat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TataSteel_template 1">
        <a:dk1>
          <a:srgbClr val="000000"/>
        </a:dk1>
        <a:lt1>
          <a:srgbClr val="FFFFFF"/>
        </a:lt1>
        <a:dk2>
          <a:srgbClr val="4C83C3"/>
        </a:dk2>
        <a:lt2>
          <a:srgbClr val="999999"/>
        </a:lt2>
        <a:accent1>
          <a:srgbClr val="002B45"/>
        </a:accent1>
        <a:accent2>
          <a:srgbClr val="0083A9"/>
        </a:accent2>
        <a:accent3>
          <a:srgbClr val="FFFFFF"/>
        </a:accent3>
        <a:accent4>
          <a:srgbClr val="000000"/>
        </a:accent4>
        <a:accent5>
          <a:srgbClr val="AAACB0"/>
        </a:accent5>
        <a:accent6>
          <a:srgbClr val="007699"/>
        </a:accent6>
        <a:hlink>
          <a:srgbClr val="009900"/>
        </a:hlink>
        <a:folHlink>
          <a:srgbClr val="FF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ataSteel_template 2">
        <a:dk1>
          <a:srgbClr val="000000"/>
        </a:dk1>
        <a:lt1>
          <a:srgbClr val="FFFFFF"/>
        </a:lt1>
        <a:dk2>
          <a:srgbClr val="3D7EDB"/>
        </a:dk2>
        <a:lt2>
          <a:srgbClr val="999999"/>
        </a:lt2>
        <a:accent1>
          <a:srgbClr val="002B45"/>
        </a:accent1>
        <a:accent2>
          <a:srgbClr val="0083A9"/>
        </a:accent2>
        <a:accent3>
          <a:srgbClr val="FFFFFF"/>
        </a:accent3>
        <a:accent4>
          <a:srgbClr val="000000"/>
        </a:accent4>
        <a:accent5>
          <a:srgbClr val="AAACB0"/>
        </a:accent5>
        <a:accent6>
          <a:srgbClr val="007699"/>
        </a:accent6>
        <a:hlink>
          <a:srgbClr val="009900"/>
        </a:hlink>
        <a:folHlink>
          <a:srgbClr val="FF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9BBB0C5050A68469DDA46E52AE238D5" ma:contentTypeVersion="14" ma:contentTypeDescription="Create a new document." ma:contentTypeScope="" ma:versionID="387ea0d79bb4673d3f7eafad13980f7c">
  <xsd:schema xmlns:xsd="http://www.w3.org/2001/XMLSchema" xmlns:xs="http://www.w3.org/2001/XMLSchema" xmlns:p="http://schemas.microsoft.com/office/2006/metadata/properties" xmlns:ns3="521bff8b-1af0-488c-aa03-5032595e5c6d" xmlns:ns4="9df16639-f6bd-4b1a-9a34-400c01ce45c5" targetNamespace="http://schemas.microsoft.com/office/2006/metadata/properties" ma:root="true" ma:fieldsID="7dc1d2ab74ea4fec252146cfdee34f3d" ns3:_="" ns4:_="">
    <xsd:import namespace="521bff8b-1af0-488c-aa03-5032595e5c6d"/>
    <xsd:import namespace="9df16639-f6bd-4b1a-9a34-400c01ce45c5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21bff8b-1af0-488c-aa03-5032595e5c6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df16639-f6bd-4b1a-9a34-400c01ce45c5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>
  <documentManagement/>
</p:properties>
</file>

<file path=customXml/itemProps1.xml><?xml version="1.0" encoding="utf-8"?>
<ds:datastoreItem xmlns:ds="http://schemas.openxmlformats.org/officeDocument/2006/customXml" ds:itemID="{AEBE94A6-E06F-4055-AC9E-F0686D360E0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EDBDEAD-C864-44C4-BC01-B562F73A504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21bff8b-1af0-488c-aa03-5032595e5c6d"/>
    <ds:schemaRef ds:uri="9df16639-f6bd-4b1a-9a34-400c01ce45c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5F79AD0D-F9B4-4E11-9EDB-B35D926DA36E}">
  <ds:schemaRefs>
    <ds:schemaRef ds:uri="http://www.w3.org/XML/1998/namespace"/>
    <ds:schemaRef ds:uri="http://purl.org/dc/elements/1.1/"/>
    <ds:schemaRef ds:uri="9df16639-f6bd-4b1a-9a34-400c01ce45c5"/>
    <ds:schemaRef ds:uri="http://schemas.microsoft.com/office/2006/metadata/properties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http://schemas.microsoft.com/office/infopath/2007/PartnerControls"/>
    <ds:schemaRef ds:uri="521bff8b-1af0-488c-aa03-5032595e5c6d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-2007-2010-slidepool-light</Template>
  <TotalTime>55388</TotalTime>
  <Words>1362</Words>
  <Application>Microsoft Office PowerPoint</Application>
  <PresentationFormat>Custom</PresentationFormat>
  <Paragraphs>305</Paragraphs>
  <Slides>9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1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34" baseType="lpstr">
      <vt:lpstr>ＭＳ Ｐゴシック</vt:lpstr>
      <vt:lpstr>Arial</vt:lpstr>
      <vt:lpstr>Arial MT</vt:lpstr>
      <vt:lpstr>Arial Narrow</vt:lpstr>
      <vt:lpstr>Arial Unicode MS</vt:lpstr>
      <vt:lpstr>Calibri</vt:lpstr>
      <vt:lpstr>Cambria</vt:lpstr>
      <vt:lpstr>Courier New</vt:lpstr>
      <vt:lpstr>Times New Roman</vt:lpstr>
      <vt:lpstr>Wingdings</vt:lpstr>
      <vt:lpstr>Wingdings 2</vt:lpstr>
      <vt:lpstr>PP-2007-2010-slidepool-light</vt:lpstr>
      <vt:lpstr>13_PP-2007-2010-slidepool-light</vt:lpstr>
      <vt:lpstr>1_PP-2007-2010-slidepool-light</vt:lpstr>
      <vt:lpstr>2_PP-2007-2010-slidepool-light</vt:lpstr>
      <vt:lpstr>39_PP-2007-2010-slidepool-light</vt:lpstr>
      <vt:lpstr>3_PP-2007-2010-slidepool-light</vt:lpstr>
      <vt:lpstr>4_PP-2007-2010-slidepool-light</vt:lpstr>
      <vt:lpstr>5_PP-2007-2010-slidepool-light</vt:lpstr>
      <vt:lpstr>4_TataSteel_template</vt:lpstr>
      <vt:lpstr>1_TataSteel_template</vt:lpstr>
      <vt:lpstr>6_PP-2007-2010-slidepool-light</vt:lpstr>
      <vt:lpstr>7_PP-2007-2010-slidepool-light</vt:lpstr>
      <vt:lpstr>2_TataSteel_template</vt:lpstr>
      <vt:lpstr>think-cell Slide</vt:lpstr>
      <vt:lpstr>PowerPoint Presentation</vt:lpstr>
      <vt:lpstr>PowerPoint Presentation</vt:lpstr>
      <vt:lpstr>Our carbon footprint is best in class in the geographies we operate in, and our long term  decarbonization roadmap is aligned with national commitments</vt:lpstr>
      <vt:lpstr>TSL has developed a low carbon transition strategy, spread over three horizons which progressively reduces reliance on fossil fuel, yet allows for growth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Corus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nual Plan 2014/15 Review</dc:title>
  <dc:creator>ANOOP SRIVASTAVA</dc:creator>
  <cp:lastModifiedBy>Himanshu</cp:lastModifiedBy>
  <cp:revision>2873</cp:revision>
  <cp:lastPrinted>2018-01-19T03:48:30Z</cp:lastPrinted>
  <dcterms:created xsi:type="dcterms:W3CDTF">2013-11-08T10:34:40Z</dcterms:created>
  <dcterms:modified xsi:type="dcterms:W3CDTF">2023-02-23T04:37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9BBB0C5050A68469DDA46E52AE238D5</vt:lpwstr>
  </property>
  <property fmtid="{D5CDD505-2E9C-101B-9397-08002B2CF9AE}" pid="3" name="MSIP_Label_2f50afb6-ab6e-4e8b-96b5-6e00ab52e29e_Enabled">
    <vt:lpwstr>true</vt:lpwstr>
  </property>
  <property fmtid="{D5CDD505-2E9C-101B-9397-08002B2CF9AE}" pid="4" name="MSIP_Label_2f50afb6-ab6e-4e8b-96b5-6e00ab52e29e_SetDate">
    <vt:lpwstr>2022-12-12T04:39:57Z</vt:lpwstr>
  </property>
  <property fmtid="{D5CDD505-2E9C-101B-9397-08002B2CF9AE}" pid="5" name="MSIP_Label_2f50afb6-ab6e-4e8b-96b5-6e00ab52e29e_Method">
    <vt:lpwstr>Standard</vt:lpwstr>
  </property>
  <property fmtid="{D5CDD505-2E9C-101B-9397-08002B2CF9AE}" pid="6" name="MSIP_Label_2f50afb6-ab6e-4e8b-96b5-6e00ab52e29e_Name">
    <vt:lpwstr>2f50afb6-ab6e-4e8b-96b5-6e00ab52e29e</vt:lpwstr>
  </property>
  <property fmtid="{D5CDD505-2E9C-101B-9397-08002B2CF9AE}" pid="7" name="MSIP_Label_2f50afb6-ab6e-4e8b-96b5-6e00ab52e29e_SiteId">
    <vt:lpwstr>f35425af-4755-4e0c-b1bb-b3cb9f1c6afd</vt:lpwstr>
  </property>
  <property fmtid="{D5CDD505-2E9C-101B-9397-08002B2CF9AE}" pid="8" name="MSIP_Label_2f50afb6-ab6e-4e8b-96b5-6e00ab52e29e_ActionId">
    <vt:lpwstr>69f10d42-2cc3-4b40-81ea-f91598b72d79</vt:lpwstr>
  </property>
  <property fmtid="{D5CDD505-2E9C-101B-9397-08002B2CF9AE}" pid="9" name="MSIP_Label_2f50afb6-ab6e-4e8b-96b5-6e00ab52e29e_ContentBits">
    <vt:lpwstr>0</vt:lpwstr>
  </property>
</Properties>
</file>